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6.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7.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9.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10.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1.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12.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3.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4.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5.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16.xml" ContentType="application/vnd.openxmlformats-officedocument.theme+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theme/theme17.xml" ContentType="application/vnd.openxmlformats-officedocument.theme+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18.xml" ContentType="application/vnd.openxmlformats-officedocument.theme+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theme/theme19.xml" ContentType="application/vnd.openxmlformats-officedocument.theme+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theme/theme20.xml" ContentType="application/vnd.openxmlformats-officedocument.theme+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theme/theme21.xml" ContentType="application/vnd.openxmlformats-officedocument.theme+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theme/theme22.xml" ContentType="application/vnd.openxmlformats-officedocument.theme+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theme/theme23.xml" ContentType="application/vnd.openxmlformats-officedocument.theme+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theme/theme24.xml" ContentType="application/vnd.openxmlformats-officedocument.theme+xml"/>
  <Override PartName="/ppt/tags/tag1.xml" ContentType="application/vnd.openxmlformats-officedocument.presentationml.tags+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theme/theme2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Override1.xml" ContentType="application/vnd.openxmlformats-officedocument.themeOverride+xml"/>
  <Override PartName="/ppt/tags/tag11.xml" ContentType="application/vnd.openxmlformats-officedocument.presentationml.tags+xml"/>
  <Override PartName="/ppt/theme/theme2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3.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tags/tag28.xml" ContentType="application/vnd.openxmlformats-officedocument.presentationml.tags+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theme/themeOverride2.xml" ContentType="application/vnd.openxmlformats-officedocument.themeOverr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8" r:id="rId2"/>
    <p:sldMasterId id="2147483680" r:id="rId3"/>
    <p:sldMasterId id="2147483726" r:id="rId4"/>
    <p:sldMasterId id="2147483746" r:id="rId5"/>
    <p:sldMasterId id="2147483758" r:id="rId6"/>
    <p:sldMasterId id="2147483778" r:id="rId7"/>
    <p:sldMasterId id="2147483790" r:id="rId8"/>
    <p:sldMasterId id="2147483839" r:id="rId9"/>
    <p:sldMasterId id="2147483850" r:id="rId10"/>
    <p:sldMasterId id="2147483862" r:id="rId11"/>
    <p:sldMasterId id="2147483884" r:id="rId12"/>
    <p:sldMasterId id="2147483908" r:id="rId13"/>
    <p:sldMasterId id="2147483927" r:id="rId14"/>
    <p:sldMasterId id="2147483964" r:id="rId15"/>
    <p:sldMasterId id="2147483986" r:id="rId16"/>
    <p:sldMasterId id="2147483998" r:id="rId17"/>
    <p:sldMasterId id="2147484010" r:id="rId18"/>
    <p:sldMasterId id="2147484032" r:id="rId19"/>
    <p:sldMasterId id="2147484064" r:id="rId20"/>
    <p:sldMasterId id="2147484083" r:id="rId21"/>
    <p:sldMasterId id="2147484102" r:id="rId22"/>
    <p:sldMasterId id="2147484126" r:id="rId23"/>
    <p:sldMasterId id="2147484147" r:id="rId24"/>
    <p:sldMasterId id="2147484173" r:id="rId25"/>
  </p:sldMasterIdLst>
  <p:notesMasterIdLst>
    <p:notesMasterId r:id="rId169"/>
  </p:notesMasterIdLst>
  <p:sldIdLst>
    <p:sldId id="550" r:id="rId26"/>
    <p:sldId id="551" r:id="rId27"/>
    <p:sldId id="552" r:id="rId28"/>
    <p:sldId id="553" r:id="rId29"/>
    <p:sldId id="554" r:id="rId30"/>
    <p:sldId id="555" r:id="rId31"/>
    <p:sldId id="556" r:id="rId32"/>
    <p:sldId id="557" r:id="rId33"/>
    <p:sldId id="536" r:id="rId34"/>
    <p:sldId id="472" r:id="rId35"/>
    <p:sldId id="388" r:id="rId36"/>
    <p:sldId id="537" r:id="rId37"/>
    <p:sldId id="530" r:id="rId38"/>
    <p:sldId id="390" r:id="rId39"/>
    <p:sldId id="470" r:id="rId40"/>
    <p:sldId id="471" r:id="rId41"/>
    <p:sldId id="528" r:id="rId42"/>
    <p:sldId id="538" r:id="rId43"/>
    <p:sldId id="539" r:id="rId44"/>
    <p:sldId id="433" r:id="rId45"/>
    <p:sldId id="434" r:id="rId46"/>
    <p:sldId id="532" r:id="rId47"/>
    <p:sldId id="541" r:id="rId48"/>
    <p:sldId id="542" r:id="rId49"/>
    <p:sldId id="543" r:id="rId50"/>
    <p:sldId id="435" r:id="rId51"/>
    <p:sldId id="540" r:id="rId52"/>
    <p:sldId id="437" r:id="rId53"/>
    <p:sldId id="475" r:id="rId54"/>
    <p:sldId id="476" r:id="rId55"/>
    <p:sldId id="438" r:id="rId56"/>
    <p:sldId id="477" r:id="rId57"/>
    <p:sldId id="478" r:id="rId58"/>
    <p:sldId id="523" r:id="rId59"/>
    <p:sldId id="524" r:id="rId60"/>
    <p:sldId id="525" r:id="rId61"/>
    <p:sldId id="526" r:id="rId62"/>
    <p:sldId id="527" r:id="rId63"/>
    <p:sldId id="480" r:id="rId64"/>
    <p:sldId id="481" r:id="rId65"/>
    <p:sldId id="482" r:id="rId66"/>
    <p:sldId id="483" r:id="rId67"/>
    <p:sldId id="484" r:id="rId68"/>
    <p:sldId id="487" r:id="rId69"/>
    <p:sldId id="488" r:id="rId70"/>
    <p:sldId id="485" r:id="rId71"/>
    <p:sldId id="486" r:id="rId72"/>
    <p:sldId id="440" r:id="rId73"/>
    <p:sldId id="441" r:id="rId74"/>
    <p:sldId id="442" r:id="rId75"/>
    <p:sldId id="443" r:id="rId76"/>
    <p:sldId id="444" r:id="rId77"/>
    <p:sldId id="544" r:id="rId78"/>
    <p:sldId id="545" r:id="rId79"/>
    <p:sldId id="546" r:id="rId80"/>
    <p:sldId id="547" r:id="rId81"/>
    <p:sldId id="548" r:id="rId82"/>
    <p:sldId id="549" r:id="rId83"/>
    <p:sldId id="393" r:id="rId84"/>
    <p:sldId id="489" r:id="rId85"/>
    <p:sldId id="505" r:id="rId86"/>
    <p:sldId id="506" r:id="rId87"/>
    <p:sldId id="507" r:id="rId88"/>
    <p:sldId id="508" r:id="rId89"/>
    <p:sldId id="509" r:id="rId90"/>
    <p:sldId id="510" r:id="rId91"/>
    <p:sldId id="511" r:id="rId92"/>
    <p:sldId id="512" r:id="rId93"/>
    <p:sldId id="513" r:id="rId94"/>
    <p:sldId id="514" r:id="rId95"/>
    <p:sldId id="515" r:id="rId96"/>
    <p:sldId id="516" r:id="rId97"/>
    <p:sldId id="517" r:id="rId98"/>
    <p:sldId id="446" r:id="rId99"/>
    <p:sldId id="518" r:id="rId100"/>
    <p:sldId id="520" r:id="rId101"/>
    <p:sldId id="391" r:id="rId102"/>
    <p:sldId id="447" r:id="rId103"/>
    <p:sldId id="490" r:id="rId104"/>
    <p:sldId id="521" r:id="rId105"/>
    <p:sldId id="522" r:id="rId106"/>
    <p:sldId id="449" r:id="rId107"/>
    <p:sldId id="450" r:id="rId108"/>
    <p:sldId id="451" r:id="rId109"/>
    <p:sldId id="392" r:id="rId110"/>
    <p:sldId id="503" r:id="rId111"/>
    <p:sldId id="452" r:id="rId112"/>
    <p:sldId id="429" r:id="rId113"/>
    <p:sldId id="430" r:id="rId114"/>
    <p:sldId id="431" r:id="rId115"/>
    <p:sldId id="432" r:id="rId116"/>
    <p:sldId id="491" r:id="rId117"/>
    <p:sldId id="504" r:id="rId118"/>
    <p:sldId id="492" r:id="rId119"/>
    <p:sldId id="493" r:id="rId120"/>
    <p:sldId id="494" r:id="rId121"/>
    <p:sldId id="495" r:id="rId122"/>
    <p:sldId id="496" r:id="rId123"/>
    <p:sldId id="497" r:id="rId124"/>
    <p:sldId id="498" r:id="rId125"/>
    <p:sldId id="499" r:id="rId126"/>
    <p:sldId id="500" r:id="rId127"/>
    <p:sldId id="501" r:id="rId128"/>
    <p:sldId id="502" r:id="rId129"/>
    <p:sldId id="529" r:id="rId130"/>
    <p:sldId id="455" r:id="rId131"/>
    <p:sldId id="534" r:id="rId132"/>
    <p:sldId id="535" r:id="rId133"/>
    <p:sldId id="291" r:id="rId134"/>
    <p:sldId id="292" r:id="rId135"/>
    <p:sldId id="375" r:id="rId136"/>
    <p:sldId id="372" r:id="rId137"/>
    <p:sldId id="300" r:id="rId138"/>
    <p:sldId id="302" r:id="rId139"/>
    <p:sldId id="342" r:id="rId140"/>
    <p:sldId id="306" r:id="rId141"/>
    <p:sldId id="381" r:id="rId142"/>
    <p:sldId id="382" r:id="rId143"/>
    <p:sldId id="320" r:id="rId144"/>
    <p:sldId id="308" r:id="rId145"/>
    <p:sldId id="307" r:id="rId146"/>
    <p:sldId id="387" r:id="rId147"/>
    <p:sldId id="314" r:id="rId148"/>
    <p:sldId id="364" r:id="rId149"/>
    <p:sldId id="311" r:id="rId150"/>
    <p:sldId id="309" r:id="rId151"/>
    <p:sldId id="319" r:id="rId152"/>
    <p:sldId id="316" r:id="rId153"/>
    <p:sldId id="321" r:id="rId154"/>
    <p:sldId id="323" r:id="rId155"/>
    <p:sldId id="324" r:id="rId156"/>
    <p:sldId id="325" r:id="rId157"/>
    <p:sldId id="383" r:id="rId158"/>
    <p:sldId id="322" r:id="rId159"/>
    <p:sldId id="326" r:id="rId160"/>
    <p:sldId id="327" r:id="rId161"/>
    <p:sldId id="341" r:id="rId162"/>
    <p:sldId id="329" r:id="rId163"/>
    <p:sldId id="330" r:id="rId164"/>
    <p:sldId id="370" r:id="rId165"/>
    <p:sldId id="331" r:id="rId166"/>
    <p:sldId id="332" r:id="rId167"/>
    <p:sldId id="334" r:id="rId168"/>
  </p:sldIdLst>
  <p:sldSz cx="12192000" cy="6858000"/>
  <p:notesSz cx="6858000" cy="9144000"/>
  <p:defaultText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ochay Kiriaty" initials="YK" lastIdx="1" clrIdx="0"/>
  <p:cmAuthor id="1" name="Jeremy Thake" initials="JT"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606" autoAdjust="0"/>
    <p:restoredTop sz="78965" autoAdjust="0"/>
  </p:normalViewPr>
  <p:slideViewPr>
    <p:cSldViewPr snapToGrid="0">
      <p:cViewPr varScale="1">
        <p:scale>
          <a:sx n="77" d="100"/>
          <a:sy n="77" d="100"/>
        </p:scale>
        <p:origin x="1114" y="67"/>
      </p:cViewPr>
      <p:guideLst>
        <p:guide orient="horz" pos="2160"/>
        <p:guide pos="3840"/>
      </p:guideLst>
    </p:cSldViewPr>
  </p:slideViewPr>
  <p:outlineViewPr>
    <p:cViewPr>
      <p:scale>
        <a:sx n="33" d="100"/>
        <a:sy n="33" d="100"/>
      </p:scale>
      <p:origin x="0" y="-8952"/>
    </p:cViewPr>
  </p:outlineViewPr>
  <p:notesTextViewPr>
    <p:cViewPr>
      <p:scale>
        <a:sx n="125" d="100"/>
        <a:sy n="125" d="100"/>
      </p:scale>
      <p:origin x="0" y="0"/>
    </p:cViewPr>
  </p:notesTextViewPr>
  <p:sorterViewPr>
    <p:cViewPr>
      <p:scale>
        <a:sx n="70" d="100"/>
        <a:sy n="70" d="100"/>
      </p:scale>
      <p:origin x="0" y="-398"/>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2.xml"/><Relationship Id="rId21" Type="http://schemas.openxmlformats.org/officeDocument/2006/relationships/slideMaster" Target="slideMasters/slideMaster21.xml"/><Relationship Id="rId42" Type="http://schemas.openxmlformats.org/officeDocument/2006/relationships/slide" Target="slides/slide17.xml"/><Relationship Id="rId63" Type="http://schemas.openxmlformats.org/officeDocument/2006/relationships/slide" Target="slides/slide38.xml"/><Relationship Id="rId84" Type="http://schemas.openxmlformats.org/officeDocument/2006/relationships/slide" Target="slides/slide59.xml"/><Relationship Id="rId138" Type="http://schemas.openxmlformats.org/officeDocument/2006/relationships/slide" Target="slides/slide113.xml"/><Relationship Id="rId159" Type="http://schemas.openxmlformats.org/officeDocument/2006/relationships/slide" Target="slides/slide134.xml"/><Relationship Id="rId170" Type="http://schemas.openxmlformats.org/officeDocument/2006/relationships/commentAuthors" Target="commentAuthors.xml"/><Relationship Id="rId107" Type="http://schemas.openxmlformats.org/officeDocument/2006/relationships/slide" Target="slides/slide82.xml"/><Relationship Id="rId11" Type="http://schemas.openxmlformats.org/officeDocument/2006/relationships/slideMaster" Target="slideMasters/slideMaster11.xml"/><Relationship Id="rId32" Type="http://schemas.openxmlformats.org/officeDocument/2006/relationships/slide" Target="slides/slide7.xml"/><Relationship Id="rId53" Type="http://schemas.openxmlformats.org/officeDocument/2006/relationships/slide" Target="slides/slide28.xml"/><Relationship Id="rId74" Type="http://schemas.openxmlformats.org/officeDocument/2006/relationships/slide" Target="slides/slide49.xml"/><Relationship Id="rId128" Type="http://schemas.openxmlformats.org/officeDocument/2006/relationships/slide" Target="slides/slide103.xml"/><Relationship Id="rId149" Type="http://schemas.openxmlformats.org/officeDocument/2006/relationships/slide" Target="slides/slide124.xml"/><Relationship Id="rId5" Type="http://schemas.openxmlformats.org/officeDocument/2006/relationships/slideMaster" Target="slideMasters/slideMaster5.xml"/><Relationship Id="rId95" Type="http://schemas.openxmlformats.org/officeDocument/2006/relationships/slide" Target="slides/slide70.xml"/><Relationship Id="rId160" Type="http://schemas.openxmlformats.org/officeDocument/2006/relationships/slide" Target="slides/slide135.xml"/><Relationship Id="rId22" Type="http://schemas.openxmlformats.org/officeDocument/2006/relationships/slideMaster" Target="slideMasters/slideMaster22.xml"/><Relationship Id="rId43" Type="http://schemas.openxmlformats.org/officeDocument/2006/relationships/slide" Target="slides/slide18.xml"/><Relationship Id="rId64" Type="http://schemas.openxmlformats.org/officeDocument/2006/relationships/slide" Target="slides/slide39.xml"/><Relationship Id="rId118" Type="http://schemas.openxmlformats.org/officeDocument/2006/relationships/slide" Target="slides/slide93.xml"/><Relationship Id="rId139" Type="http://schemas.openxmlformats.org/officeDocument/2006/relationships/slide" Target="slides/slide114.xml"/><Relationship Id="rId85" Type="http://schemas.openxmlformats.org/officeDocument/2006/relationships/slide" Target="slides/slide60.xml"/><Relationship Id="rId150" Type="http://schemas.openxmlformats.org/officeDocument/2006/relationships/slide" Target="slides/slide125.xml"/><Relationship Id="rId171" Type="http://schemas.openxmlformats.org/officeDocument/2006/relationships/presProps" Target="presProps.xml"/><Relationship Id="rId12" Type="http://schemas.openxmlformats.org/officeDocument/2006/relationships/slideMaster" Target="slideMasters/slideMaster12.xml"/><Relationship Id="rId33" Type="http://schemas.openxmlformats.org/officeDocument/2006/relationships/slide" Target="slides/slide8.xml"/><Relationship Id="rId108" Type="http://schemas.openxmlformats.org/officeDocument/2006/relationships/slide" Target="slides/slide83.xml"/><Relationship Id="rId129" Type="http://schemas.openxmlformats.org/officeDocument/2006/relationships/slide" Target="slides/slide104.xml"/><Relationship Id="rId54" Type="http://schemas.openxmlformats.org/officeDocument/2006/relationships/slide" Target="slides/slide29.xml"/><Relationship Id="rId75" Type="http://schemas.openxmlformats.org/officeDocument/2006/relationships/slide" Target="slides/slide50.xml"/><Relationship Id="rId96" Type="http://schemas.openxmlformats.org/officeDocument/2006/relationships/slide" Target="slides/slide71.xml"/><Relationship Id="rId140" Type="http://schemas.openxmlformats.org/officeDocument/2006/relationships/slide" Target="slides/slide115.xml"/><Relationship Id="rId161" Type="http://schemas.openxmlformats.org/officeDocument/2006/relationships/slide" Target="slides/slide136.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Master" Target="slideMasters/slideMaster23.xml"/><Relationship Id="rId28" Type="http://schemas.openxmlformats.org/officeDocument/2006/relationships/slide" Target="slides/slide3.xml"/><Relationship Id="rId49" Type="http://schemas.openxmlformats.org/officeDocument/2006/relationships/slide" Target="slides/slide24.xml"/><Relationship Id="rId114" Type="http://schemas.openxmlformats.org/officeDocument/2006/relationships/slide" Target="slides/slide89.xml"/><Relationship Id="rId119" Type="http://schemas.openxmlformats.org/officeDocument/2006/relationships/slide" Target="slides/slide94.xml"/><Relationship Id="rId44" Type="http://schemas.openxmlformats.org/officeDocument/2006/relationships/slide" Target="slides/slide19.xml"/><Relationship Id="rId60" Type="http://schemas.openxmlformats.org/officeDocument/2006/relationships/slide" Target="slides/slide35.xml"/><Relationship Id="rId65" Type="http://schemas.openxmlformats.org/officeDocument/2006/relationships/slide" Target="slides/slide40.xml"/><Relationship Id="rId81" Type="http://schemas.openxmlformats.org/officeDocument/2006/relationships/slide" Target="slides/slide56.xml"/><Relationship Id="rId86" Type="http://schemas.openxmlformats.org/officeDocument/2006/relationships/slide" Target="slides/slide61.xml"/><Relationship Id="rId130" Type="http://schemas.openxmlformats.org/officeDocument/2006/relationships/slide" Target="slides/slide105.xml"/><Relationship Id="rId135" Type="http://schemas.openxmlformats.org/officeDocument/2006/relationships/slide" Target="slides/slide110.xml"/><Relationship Id="rId151" Type="http://schemas.openxmlformats.org/officeDocument/2006/relationships/slide" Target="slides/slide126.xml"/><Relationship Id="rId156" Type="http://schemas.openxmlformats.org/officeDocument/2006/relationships/slide" Target="slides/slide131.xml"/><Relationship Id="rId172" Type="http://schemas.openxmlformats.org/officeDocument/2006/relationships/viewProps" Target="viewProps.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4.xml"/><Relationship Id="rId109" Type="http://schemas.openxmlformats.org/officeDocument/2006/relationships/slide" Target="slides/slide84.xml"/><Relationship Id="rId34" Type="http://schemas.openxmlformats.org/officeDocument/2006/relationships/slide" Target="slides/slide9.xml"/><Relationship Id="rId50" Type="http://schemas.openxmlformats.org/officeDocument/2006/relationships/slide" Target="slides/slide25.xml"/><Relationship Id="rId55" Type="http://schemas.openxmlformats.org/officeDocument/2006/relationships/slide" Target="slides/slide30.xml"/><Relationship Id="rId76" Type="http://schemas.openxmlformats.org/officeDocument/2006/relationships/slide" Target="slides/slide51.xml"/><Relationship Id="rId97" Type="http://schemas.openxmlformats.org/officeDocument/2006/relationships/slide" Target="slides/slide72.xml"/><Relationship Id="rId104" Type="http://schemas.openxmlformats.org/officeDocument/2006/relationships/slide" Target="slides/slide79.xml"/><Relationship Id="rId120" Type="http://schemas.openxmlformats.org/officeDocument/2006/relationships/slide" Target="slides/slide95.xml"/><Relationship Id="rId125" Type="http://schemas.openxmlformats.org/officeDocument/2006/relationships/slide" Target="slides/slide100.xml"/><Relationship Id="rId141" Type="http://schemas.openxmlformats.org/officeDocument/2006/relationships/slide" Target="slides/slide116.xml"/><Relationship Id="rId146" Type="http://schemas.openxmlformats.org/officeDocument/2006/relationships/slide" Target="slides/slide121.xml"/><Relationship Id="rId167" Type="http://schemas.openxmlformats.org/officeDocument/2006/relationships/slide" Target="slides/slide142.xml"/><Relationship Id="rId7" Type="http://schemas.openxmlformats.org/officeDocument/2006/relationships/slideMaster" Target="slideMasters/slideMaster7.xml"/><Relationship Id="rId71" Type="http://schemas.openxmlformats.org/officeDocument/2006/relationships/slide" Target="slides/slide46.xml"/><Relationship Id="rId92" Type="http://schemas.openxmlformats.org/officeDocument/2006/relationships/slide" Target="slides/slide67.xml"/><Relationship Id="rId162" Type="http://schemas.openxmlformats.org/officeDocument/2006/relationships/slide" Target="slides/slide137.xml"/><Relationship Id="rId2" Type="http://schemas.openxmlformats.org/officeDocument/2006/relationships/slideMaster" Target="slideMasters/slideMaster2.xml"/><Relationship Id="rId29" Type="http://schemas.openxmlformats.org/officeDocument/2006/relationships/slide" Target="slides/slide4.xml"/><Relationship Id="rId24" Type="http://schemas.openxmlformats.org/officeDocument/2006/relationships/slideMaster" Target="slideMasters/slideMaster24.xml"/><Relationship Id="rId40" Type="http://schemas.openxmlformats.org/officeDocument/2006/relationships/slide" Target="slides/slide15.xml"/><Relationship Id="rId45" Type="http://schemas.openxmlformats.org/officeDocument/2006/relationships/slide" Target="slides/slide20.xml"/><Relationship Id="rId66" Type="http://schemas.openxmlformats.org/officeDocument/2006/relationships/slide" Target="slides/slide41.xml"/><Relationship Id="rId87" Type="http://schemas.openxmlformats.org/officeDocument/2006/relationships/slide" Target="slides/slide62.xml"/><Relationship Id="rId110" Type="http://schemas.openxmlformats.org/officeDocument/2006/relationships/slide" Target="slides/slide85.xml"/><Relationship Id="rId115" Type="http://schemas.openxmlformats.org/officeDocument/2006/relationships/slide" Target="slides/slide90.xml"/><Relationship Id="rId131" Type="http://schemas.openxmlformats.org/officeDocument/2006/relationships/slide" Target="slides/slide106.xml"/><Relationship Id="rId136" Type="http://schemas.openxmlformats.org/officeDocument/2006/relationships/slide" Target="slides/slide111.xml"/><Relationship Id="rId157" Type="http://schemas.openxmlformats.org/officeDocument/2006/relationships/slide" Target="slides/slide132.xml"/><Relationship Id="rId61" Type="http://schemas.openxmlformats.org/officeDocument/2006/relationships/slide" Target="slides/slide36.xml"/><Relationship Id="rId82" Type="http://schemas.openxmlformats.org/officeDocument/2006/relationships/slide" Target="slides/slide57.xml"/><Relationship Id="rId152" Type="http://schemas.openxmlformats.org/officeDocument/2006/relationships/slide" Target="slides/slide127.xml"/><Relationship Id="rId173" Type="http://schemas.openxmlformats.org/officeDocument/2006/relationships/theme" Target="theme/theme1.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5.xml"/><Relationship Id="rId35" Type="http://schemas.openxmlformats.org/officeDocument/2006/relationships/slide" Target="slides/slide10.xml"/><Relationship Id="rId56" Type="http://schemas.openxmlformats.org/officeDocument/2006/relationships/slide" Target="slides/slide31.xml"/><Relationship Id="rId77" Type="http://schemas.openxmlformats.org/officeDocument/2006/relationships/slide" Target="slides/slide52.xml"/><Relationship Id="rId100" Type="http://schemas.openxmlformats.org/officeDocument/2006/relationships/slide" Target="slides/slide75.xml"/><Relationship Id="rId105" Type="http://schemas.openxmlformats.org/officeDocument/2006/relationships/slide" Target="slides/slide80.xml"/><Relationship Id="rId126" Type="http://schemas.openxmlformats.org/officeDocument/2006/relationships/slide" Target="slides/slide101.xml"/><Relationship Id="rId147" Type="http://schemas.openxmlformats.org/officeDocument/2006/relationships/slide" Target="slides/slide122.xml"/><Relationship Id="rId168" Type="http://schemas.openxmlformats.org/officeDocument/2006/relationships/slide" Target="slides/slide143.xml"/><Relationship Id="rId8" Type="http://schemas.openxmlformats.org/officeDocument/2006/relationships/slideMaster" Target="slideMasters/slideMaster8.xml"/><Relationship Id="rId51" Type="http://schemas.openxmlformats.org/officeDocument/2006/relationships/slide" Target="slides/slide26.xml"/><Relationship Id="rId72" Type="http://schemas.openxmlformats.org/officeDocument/2006/relationships/slide" Target="slides/slide47.xml"/><Relationship Id="rId93" Type="http://schemas.openxmlformats.org/officeDocument/2006/relationships/slide" Target="slides/slide68.xml"/><Relationship Id="rId98" Type="http://schemas.openxmlformats.org/officeDocument/2006/relationships/slide" Target="slides/slide73.xml"/><Relationship Id="rId121" Type="http://schemas.openxmlformats.org/officeDocument/2006/relationships/slide" Target="slides/slide96.xml"/><Relationship Id="rId142" Type="http://schemas.openxmlformats.org/officeDocument/2006/relationships/slide" Target="slides/slide117.xml"/><Relationship Id="rId163" Type="http://schemas.openxmlformats.org/officeDocument/2006/relationships/slide" Target="slides/slide138.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 Target="slides/slide21.xml"/><Relationship Id="rId67" Type="http://schemas.openxmlformats.org/officeDocument/2006/relationships/slide" Target="slides/slide42.xml"/><Relationship Id="rId116" Type="http://schemas.openxmlformats.org/officeDocument/2006/relationships/slide" Target="slides/slide91.xml"/><Relationship Id="rId137" Type="http://schemas.openxmlformats.org/officeDocument/2006/relationships/slide" Target="slides/slide112.xml"/><Relationship Id="rId158" Type="http://schemas.openxmlformats.org/officeDocument/2006/relationships/slide" Target="slides/slide133.xml"/><Relationship Id="rId20" Type="http://schemas.openxmlformats.org/officeDocument/2006/relationships/slideMaster" Target="slideMasters/slideMaster20.xml"/><Relationship Id="rId41" Type="http://schemas.openxmlformats.org/officeDocument/2006/relationships/slide" Target="slides/slide16.xml"/><Relationship Id="rId62" Type="http://schemas.openxmlformats.org/officeDocument/2006/relationships/slide" Target="slides/slide37.xml"/><Relationship Id="rId83" Type="http://schemas.openxmlformats.org/officeDocument/2006/relationships/slide" Target="slides/slide58.xml"/><Relationship Id="rId88" Type="http://schemas.openxmlformats.org/officeDocument/2006/relationships/slide" Target="slides/slide63.xml"/><Relationship Id="rId111" Type="http://schemas.openxmlformats.org/officeDocument/2006/relationships/slide" Target="slides/slide86.xml"/><Relationship Id="rId132" Type="http://schemas.openxmlformats.org/officeDocument/2006/relationships/slide" Target="slides/slide107.xml"/><Relationship Id="rId153" Type="http://schemas.openxmlformats.org/officeDocument/2006/relationships/slide" Target="slides/slide128.xml"/><Relationship Id="rId174" Type="http://schemas.openxmlformats.org/officeDocument/2006/relationships/tableStyles" Target="tableStyles.xml"/><Relationship Id="rId15" Type="http://schemas.openxmlformats.org/officeDocument/2006/relationships/slideMaster" Target="slideMasters/slideMaster15.xml"/><Relationship Id="rId36" Type="http://schemas.openxmlformats.org/officeDocument/2006/relationships/slide" Target="slides/slide11.xml"/><Relationship Id="rId57" Type="http://schemas.openxmlformats.org/officeDocument/2006/relationships/slide" Target="slides/slide32.xml"/><Relationship Id="rId106" Type="http://schemas.openxmlformats.org/officeDocument/2006/relationships/slide" Target="slides/slide81.xml"/><Relationship Id="rId127" Type="http://schemas.openxmlformats.org/officeDocument/2006/relationships/slide" Target="slides/slide102.xml"/><Relationship Id="rId10" Type="http://schemas.openxmlformats.org/officeDocument/2006/relationships/slideMaster" Target="slideMasters/slideMaster10.xml"/><Relationship Id="rId31" Type="http://schemas.openxmlformats.org/officeDocument/2006/relationships/slide" Target="slides/slide6.xml"/><Relationship Id="rId52" Type="http://schemas.openxmlformats.org/officeDocument/2006/relationships/slide" Target="slides/slide27.xml"/><Relationship Id="rId73" Type="http://schemas.openxmlformats.org/officeDocument/2006/relationships/slide" Target="slides/slide48.xml"/><Relationship Id="rId78" Type="http://schemas.openxmlformats.org/officeDocument/2006/relationships/slide" Target="slides/slide53.xml"/><Relationship Id="rId94" Type="http://schemas.openxmlformats.org/officeDocument/2006/relationships/slide" Target="slides/slide69.xml"/><Relationship Id="rId99" Type="http://schemas.openxmlformats.org/officeDocument/2006/relationships/slide" Target="slides/slide74.xml"/><Relationship Id="rId101" Type="http://schemas.openxmlformats.org/officeDocument/2006/relationships/slide" Target="slides/slide76.xml"/><Relationship Id="rId122" Type="http://schemas.openxmlformats.org/officeDocument/2006/relationships/slide" Target="slides/slide97.xml"/><Relationship Id="rId143" Type="http://schemas.openxmlformats.org/officeDocument/2006/relationships/slide" Target="slides/slide118.xml"/><Relationship Id="rId148" Type="http://schemas.openxmlformats.org/officeDocument/2006/relationships/slide" Target="slides/slide123.xml"/><Relationship Id="rId164" Type="http://schemas.openxmlformats.org/officeDocument/2006/relationships/slide" Target="slides/slide139.xml"/><Relationship Id="rId16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1.xml"/><Relationship Id="rId47" Type="http://schemas.openxmlformats.org/officeDocument/2006/relationships/slide" Target="slides/slide22.xml"/><Relationship Id="rId68" Type="http://schemas.openxmlformats.org/officeDocument/2006/relationships/slide" Target="slides/slide43.xml"/><Relationship Id="rId89" Type="http://schemas.openxmlformats.org/officeDocument/2006/relationships/slide" Target="slides/slide64.xml"/><Relationship Id="rId112" Type="http://schemas.openxmlformats.org/officeDocument/2006/relationships/slide" Target="slides/slide87.xml"/><Relationship Id="rId133" Type="http://schemas.openxmlformats.org/officeDocument/2006/relationships/slide" Target="slides/slide108.xml"/><Relationship Id="rId154" Type="http://schemas.openxmlformats.org/officeDocument/2006/relationships/slide" Target="slides/slide129.xml"/><Relationship Id="rId175" Type="http://schemas.microsoft.com/office/2016/11/relationships/changesInfo" Target="changesInfos/changesInfo1.xml"/><Relationship Id="rId16" Type="http://schemas.openxmlformats.org/officeDocument/2006/relationships/slideMaster" Target="slideMasters/slideMaster16.xml"/><Relationship Id="rId37" Type="http://schemas.openxmlformats.org/officeDocument/2006/relationships/slide" Target="slides/slide12.xml"/><Relationship Id="rId58" Type="http://schemas.openxmlformats.org/officeDocument/2006/relationships/slide" Target="slides/slide33.xml"/><Relationship Id="rId79" Type="http://schemas.openxmlformats.org/officeDocument/2006/relationships/slide" Target="slides/slide54.xml"/><Relationship Id="rId102" Type="http://schemas.openxmlformats.org/officeDocument/2006/relationships/slide" Target="slides/slide77.xml"/><Relationship Id="rId123" Type="http://schemas.openxmlformats.org/officeDocument/2006/relationships/slide" Target="slides/slide98.xml"/><Relationship Id="rId144" Type="http://schemas.openxmlformats.org/officeDocument/2006/relationships/slide" Target="slides/slide119.xml"/><Relationship Id="rId90" Type="http://schemas.openxmlformats.org/officeDocument/2006/relationships/slide" Target="slides/slide65.xml"/><Relationship Id="rId165" Type="http://schemas.openxmlformats.org/officeDocument/2006/relationships/slide" Target="slides/slide140.xml"/><Relationship Id="rId27" Type="http://schemas.openxmlformats.org/officeDocument/2006/relationships/slide" Target="slides/slide2.xml"/><Relationship Id="rId48" Type="http://schemas.openxmlformats.org/officeDocument/2006/relationships/slide" Target="slides/slide23.xml"/><Relationship Id="rId69" Type="http://schemas.openxmlformats.org/officeDocument/2006/relationships/slide" Target="slides/slide44.xml"/><Relationship Id="rId113" Type="http://schemas.openxmlformats.org/officeDocument/2006/relationships/slide" Target="slides/slide88.xml"/><Relationship Id="rId134" Type="http://schemas.openxmlformats.org/officeDocument/2006/relationships/slide" Target="slides/slide109.xml"/><Relationship Id="rId80" Type="http://schemas.openxmlformats.org/officeDocument/2006/relationships/slide" Target="slides/slide55.xml"/><Relationship Id="rId155" Type="http://schemas.openxmlformats.org/officeDocument/2006/relationships/slide" Target="slides/slide130.xml"/><Relationship Id="rId176" Type="http://schemas.microsoft.com/office/2015/10/relationships/revisionInfo" Target="revisionInfo.xml"/><Relationship Id="rId17" Type="http://schemas.openxmlformats.org/officeDocument/2006/relationships/slideMaster" Target="slideMasters/slideMaster17.xml"/><Relationship Id="rId38" Type="http://schemas.openxmlformats.org/officeDocument/2006/relationships/slide" Target="slides/slide13.xml"/><Relationship Id="rId59" Type="http://schemas.openxmlformats.org/officeDocument/2006/relationships/slide" Target="slides/slide34.xml"/><Relationship Id="rId103" Type="http://schemas.openxmlformats.org/officeDocument/2006/relationships/slide" Target="slides/slide78.xml"/><Relationship Id="rId124" Type="http://schemas.openxmlformats.org/officeDocument/2006/relationships/slide" Target="slides/slide99.xml"/><Relationship Id="rId70" Type="http://schemas.openxmlformats.org/officeDocument/2006/relationships/slide" Target="slides/slide45.xml"/><Relationship Id="rId91" Type="http://schemas.openxmlformats.org/officeDocument/2006/relationships/slide" Target="slides/slide66.xml"/><Relationship Id="rId145" Type="http://schemas.openxmlformats.org/officeDocument/2006/relationships/slide" Target="slides/slide120.xml"/><Relationship Id="rId166" Type="http://schemas.openxmlformats.org/officeDocument/2006/relationships/slide" Target="slides/slide14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ve Burnison" userId="562e53b1-e8fd-443e-b247-550baf63da3b" providerId="ADAL" clId="{1D59B728-4A4F-4D28-981D-E810D5D81B03}"/>
    <pc:docChg chg="undo custSel addSld delSld modSld sldOrd">
      <pc:chgData name="Dave Burnison" userId="562e53b1-e8fd-443e-b247-550baf63da3b" providerId="ADAL" clId="{1D59B728-4A4F-4D28-981D-E810D5D81B03}" dt="2018-03-18T23:17:32.922" v="570" actId="2696"/>
      <pc:docMkLst>
        <pc:docMk/>
      </pc:docMkLst>
      <pc:sldChg chg="modTransition">
        <pc:chgData name="Dave Burnison" userId="562e53b1-e8fd-443e-b247-550baf63da3b" providerId="ADAL" clId="{1D59B728-4A4F-4D28-981D-E810D5D81B03}" dt="2018-03-16T22:29:29.136" v="320" actId="478"/>
        <pc:sldMkLst>
          <pc:docMk/>
          <pc:sldMk cId="1609843526" sldId="291"/>
        </pc:sldMkLst>
      </pc:sldChg>
      <pc:sldChg chg="modTransition">
        <pc:chgData name="Dave Burnison" userId="562e53b1-e8fd-443e-b247-550baf63da3b" providerId="ADAL" clId="{1D59B728-4A4F-4D28-981D-E810D5D81B03}" dt="2018-03-16T22:29:29.136" v="320" actId="478"/>
        <pc:sldMkLst>
          <pc:docMk/>
          <pc:sldMk cId="313914456" sldId="292"/>
        </pc:sldMkLst>
      </pc:sldChg>
      <pc:sldChg chg="modTransition">
        <pc:chgData name="Dave Burnison" userId="562e53b1-e8fd-443e-b247-550baf63da3b" providerId="ADAL" clId="{1D59B728-4A4F-4D28-981D-E810D5D81B03}" dt="2018-03-16T22:29:29.136" v="320" actId="478"/>
        <pc:sldMkLst>
          <pc:docMk/>
          <pc:sldMk cId="2774397814" sldId="300"/>
        </pc:sldMkLst>
      </pc:sldChg>
      <pc:sldChg chg="modTransition">
        <pc:chgData name="Dave Burnison" userId="562e53b1-e8fd-443e-b247-550baf63da3b" providerId="ADAL" clId="{1D59B728-4A4F-4D28-981D-E810D5D81B03}" dt="2018-03-16T22:29:29.136" v="320" actId="478"/>
        <pc:sldMkLst>
          <pc:docMk/>
          <pc:sldMk cId="912706852" sldId="302"/>
        </pc:sldMkLst>
      </pc:sldChg>
      <pc:sldChg chg="modTransition">
        <pc:chgData name="Dave Burnison" userId="562e53b1-e8fd-443e-b247-550baf63da3b" providerId="ADAL" clId="{1D59B728-4A4F-4D28-981D-E810D5D81B03}" dt="2018-03-16T22:29:29.136" v="320" actId="478"/>
        <pc:sldMkLst>
          <pc:docMk/>
          <pc:sldMk cId="1176534673" sldId="306"/>
        </pc:sldMkLst>
      </pc:sldChg>
      <pc:sldChg chg="modTransition">
        <pc:chgData name="Dave Burnison" userId="562e53b1-e8fd-443e-b247-550baf63da3b" providerId="ADAL" clId="{1D59B728-4A4F-4D28-981D-E810D5D81B03}" dt="2018-03-16T22:29:29.136" v="320" actId="478"/>
        <pc:sldMkLst>
          <pc:docMk/>
          <pc:sldMk cId="15036105" sldId="307"/>
        </pc:sldMkLst>
      </pc:sldChg>
      <pc:sldChg chg="modTransition">
        <pc:chgData name="Dave Burnison" userId="562e53b1-e8fd-443e-b247-550baf63da3b" providerId="ADAL" clId="{1D59B728-4A4F-4D28-981D-E810D5D81B03}" dt="2018-03-16T22:29:29.136" v="320" actId="478"/>
        <pc:sldMkLst>
          <pc:docMk/>
          <pc:sldMk cId="4220664248" sldId="308"/>
        </pc:sldMkLst>
      </pc:sldChg>
      <pc:sldChg chg="modTransition">
        <pc:chgData name="Dave Burnison" userId="562e53b1-e8fd-443e-b247-550baf63da3b" providerId="ADAL" clId="{1D59B728-4A4F-4D28-981D-E810D5D81B03}" dt="2018-03-16T22:29:29.136" v="320" actId="478"/>
        <pc:sldMkLst>
          <pc:docMk/>
          <pc:sldMk cId="2930880677" sldId="309"/>
        </pc:sldMkLst>
      </pc:sldChg>
      <pc:sldChg chg="modTransition">
        <pc:chgData name="Dave Burnison" userId="562e53b1-e8fd-443e-b247-550baf63da3b" providerId="ADAL" clId="{1D59B728-4A4F-4D28-981D-E810D5D81B03}" dt="2018-03-16T22:29:29.136" v="320" actId="478"/>
        <pc:sldMkLst>
          <pc:docMk/>
          <pc:sldMk cId="1554586589" sldId="311"/>
        </pc:sldMkLst>
      </pc:sldChg>
      <pc:sldChg chg="modTransition">
        <pc:chgData name="Dave Burnison" userId="562e53b1-e8fd-443e-b247-550baf63da3b" providerId="ADAL" clId="{1D59B728-4A4F-4D28-981D-E810D5D81B03}" dt="2018-03-16T22:29:29.136" v="320" actId="478"/>
        <pc:sldMkLst>
          <pc:docMk/>
          <pc:sldMk cId="4272161940" sldId="314"/>
        </pc:sldMkLst>
      </pc:sldChg>
      <pc:sldChg chg="modTransition">
        <pc:chgData name="Dave Burnison" userId="562e53b1-e8fd-443e-b247-550baf63da3b" providerId="ADAL" clId="{1D59B728-4A4F-4D28-981D-E810D5D81B03}" dt="2018-03-16T22:29:29.136" v="320" actId="478"/>
        <pc:sldMkLst>
          <pc:docMk/>
          <pc:sldMk cId="804235718" sldId="316"/>
        </pc:sldMkLst>
      </pc:sldChg>
      <pc:sldChg chg="modTransition">
        <pc:chgData name="Dave Burnison" userId="562e53b1-e8fd-443e-b247-550baf63da3b" providerId="ADAL" clId="{1D59B728-4A4F-4D28-981D-E810D5D81B03}" dt="2018-03-16T22:29:29.136" v="320" actId="478"/>
        <pc:sldMkLst>
          <pc:docMk/>
          <pc:sldMk cId="755755991" sldId="319"/>
        </pc:sldMkLst>
      </pc:sldChg>
      <pc:sldChg chg="modTransition">
        <pc:chgData name="Dave Burnison" userId="562e53b1-e8fd-443e-b247-550baf63da3b" providerId="ADAL" clId="{1D59B728-4A4F-4D28-981D-E810D5D81B03}" dt="2018-03-16T22:29:29.136" v="320" actId="478"/>
        <pc:sldMkLst>
          <pc:docMk/>
          <pc:sldMk cId="3523787349" sldId="320"/>
        </pc:sldMkLst>
      </pc:sldChg>
      <pc:sldChg chg="modTransition">
        <pc:chgData name="Dave Burnison" userId="562e53b1-e8fd-443e-b247-550baf63da3b" providerId="ADAL" clId="{1D59B728-4A4F-4D28-981D-E810D5D81B03}" dt="2018-03-16T22:29:29.136" v="320" actId="478"/>
        <pc:sldMkLst>
          <pc:docMk/>
          <pc:sldMk cId="3120441168" sldId="321"/>
        </pc:sldMkLst>
      </pc:sldChg>
      <pc:sldChg chg="modTransition">
        <pc:chgData name="Dave Burnison" userId="562e53b1-e8fd-443e-b247-550baf63da3b" providerId="ADAL" clId="{1D59B728-4A4F-4D28-981D-E810D5D81B03}" dt="2018-03-16T22:29:29.136" v="320" actId="478"/>
        <pc:sldMkLst>
          <pc:docMk/>
          <pc:sldMk cId="3949952252" sldId="322"/>
        </pc:sldMkLst>
      </pc:sldChg>
      <pc:sldChg chg="modTransition">
        <pc:chgData name="Dave Burnison" userId="562e53b1-e8fd-443e-b247-550baf63da3b" providerId="ADAL" clId="{1D59B728-4A4F-4D28-981D-E810D5D81B03}" dt="2018-03-16T22:29:29.136" v="320" actId="478"/>
        <pc:sldMkLst>
          <pc:docMk/>
          <pc:sldMk cId="1770835703" sldId="323"/>
        </pc:sldMkLst>
      </pc:sldChg>
      <pc:sldChg chg="modTransition">
        <pc:chgData name="Dave Burnison" userId="562e53b1-e8fd-443e-b247-550baf63da3b" providerId="ADAL" clId="{1D59B728-4A4F-4D28-981D-E810D5D81B03}" dt="2018-03-16T22:29:29.136" v="320" actId="478"/>
        <pc:sldMkLst>
          <pc:docMk/>
          <pc:sldMk cId="158221371" sldId="324"/>
        </pc:sldMkLst>
      </pc:sldChg>
      <pc:sldChg chg="modTransition">
        <pc:chgData name="Dave Burnison" userId="562e53b1-e8fd-443e-b247-550baf63da3b" providerId="ADAL" clId="{1D59B728-4A4F-4D28-981D-E810D5D81B03}" dt="2018-03-16T22:29:29.136" v="320" actId="478"/>
        <pc:sldMkLst>
          <pc:docMk/>
          <pc:sldMk cId="2325240643" sldId="325"/>
        </pc:sldMkLst>
      </pc:sldChg>
      <pc:sldChg chg="modTransition">
        <pc:chgData name="Dave Burnison" userId="562e53b1-e8fd-443e-b247-550baf63da3b" providerId="ADAL" clId="{1D59B728-4A4F-4D28-981D-E810D5D81B03}" dt="2018-03-16T22:29:29.136" v="320" actId="478"/>
        <pc:sldMkLst>
          <pc:docMk/>
          <pc:sldMk cId="1101842998" sldId="326"/>
        </pc:sldMkLst>
      </pc:sldChg>
      <pc:sldChg chg="modTransition">
        <pc:chgData name="Dave Burnison" userId="562e53b1-e8fd-443e-b247-550baf63da3b" providerId="ADAL" clId="{1D59B728-4A4F-4D28-981D-E810D5D81B03}" dt="2018-03-16T22:29:29.136" v="320" actId="478"/>
        <pc:sldMkLst>
          <pc:docMk/>
          <pc:sldMk cId="982490495" sldId="327"/>
        </pc:sldMkLst>
      </pc:sldChg>
      <pc:sldChg chg="modTransition">
        <pc:chgData name="Dave Burnison" userId="562e53b1-e8fd-443e-b247-550baf63da3b" providerId="ADAL" clId="{1D59B728-4A4F-4D28-981D-E810D5D81B03}" dt="2018-03-16T22:29:29.136" v="320" actId="478"/>
        <pc:sldMkLst>
          <pc:docMk/>
          <pc:sldMk cId="1712225432" sldId="329"/>
        </pc:sldMkLst>
      </pc:sldChg>
      <pc:sldChg chg="modTransition">
        <pc:chgData name="Dave Burnison" userId="562e53b1-e8fd-443e-b247-550baf63da3b" providerId="ADAL" clId="{1D59B728-4A4F-4D28-981D-E810D5D81B03}" dt="2018-03-16T22:29:29.136" v="320" actId="478"/>
        <pc:sldMkLst>
          <pc:docMk/>
          <pc:sldMk cId="3819584359" sldId="330"/>
        </pc:sldMkLst>
      </pc:sldChg>
      <pc:sldChg chg="modTransition">
        <pc:chgData name="Dave Burnison" userId="562e53b1-e8fd-443e-b247-550baf63da3b" providerId="ADAL" clId="{1D59B728-4A4F-4D28-981D-E810D5D81B03}" dt="2018-03-16T22:29:29.136" v="320" actId="478"/>
        <pc:sldMkLst>
          <pc:docMk/>
          <pc:sldMk cId="3982290345" sldId="331"/>
        </pc:sldMkLst>
      </pc:sldChg>
      <pc:sldChg chg="modTransition">
        <pc:chgData name="Dave Burnison" userId="562e53b1-e8fd-443e-b247-550baf63da3b" providerId="ADAL" clId="{1D59B728-4A4F-4D28-981D-E810D5D81B03}" dt="2018-03-16T22:29:29.136" v="320" actId="478"/>
        <pc:sldMkLst>
          <pc:docMk/>
          <pc:sldMk cId="4193400999" sldId="332"/>
        </pc:sldMkLst>
      </pc:sldChg>
      <pc:sldChg chg="modTransition">
        <pc:chgData name="Dave Burnison" userId="562e53b1-e8fd-443e-b247-550baf63da3b" providerId="ADAL" clId="{1D59B728-4A4F-4D28-981D-E810D5D81B03}" dt="2018-03-16T22:29:29.136" v="320" actId="478"/>
        <pc:sldMkLst>
          <pc:docMk/>
          <pc:sldMk cId="773007964" sldId="334"/>
        </pc:sldMkLst>
      </pc:sldChg>
      <pc:sldChg chg="modTransition">
        <pc:chgData name="Dave Burnison" userId="562e53b1-e8fd-443e-b247-550baf63da3b" providerId="ADAL" clId="{1D59B728-4A4F-4D28-981D-E810D5D81B03}" dt="2018-03-16T22:29:29.136" v="320" actId="478"/>
        <pc:sldMkLst>
          <pc:docMk/>
          <pc:sldMk cId="1413832924" sldId="341"/>
        </pc:sldMkLst>
      </pc:sldChg>
      <pc:sldChg chg="modTransition">
        <pc:chgData name="Dave Burnison" userId="562e53b1-e8fd-443e-b247-550baf63da3b" providerId="ADAL" clId="{1D59B728-4A4F-4D28-981D-E810D5D81B03}" dt="2018-03-16T22:29:29.136" v="320" actId="478"/>
        <pc:sldMkLst>
          <pc:docMk/>
          <pc:sldMk cId="2710173441" sldId="342"/>
        </pc:sldMkLst>
      </pc:sldChg>
      <pc:sldChg chg="modTransition">
        <pc:chgData name="Dave Burnison" userId="562e53b1-e8fd-443e-b247-550baf63da3b" providerId="ADAL" clId="{1D59B728-4A4F-4D28-981D-E810D5D81B03}" dt="2018-03-16T22:29:29.136" v="320" actId="478"/>
        <pc:sldMkLst>
          <pc:docMk/>
          <pc:sldMk cId="3700576750" sldId="364"/>
        </pc:sldMkLst>
      </pc:sldChg>
      <pc:sldChg chg="modTransition">
        <pc:chgData name="Dave Burnison" userId="562e53b1-e8fd-443e-b247-550baf63da3b" providerId="ADAL" clId="{1D59B728-4A4F-4D28-981D-E810D5D81B03}" dt="2018-03-16T22:29:29.136" v="320" actId="478"/>
        <pc:sldMkLst>
          <pc:docMk/>
          <pc:sldMk cId="3984285571" sldId="370"/>
        </pc:sldMkLst>
      </pc:sldChg>
      <pc:sldChg chg="modTransition">
        <pc:chgData name="Dave Burnison" userId="562e53b1-e8fd-443e-b247-550baf63da3b" providerId="ADAL" clId="{1D59B728-4A4F-4D28-981D-E810D5D81B03}" dt="2018-03-16T22:29:29.136" v="320" actId="478"/>
        <pc:sldMkLst>
          <pc:docMk/>
          <pc:sldMk cId="3317877341" sldId="372"/>
        </pc:sldMkLst>
      </pc:sldChg>
      <pc:sldChg chg="modTransition">
        <pc:chgData name="Dave Burnison" userId="562e53b1-e8fd-443e-b247-550baf63da3b" providerId="ADAL" clId="{1D59B728-4A4F-4D28-981D-E810D5D81B03}" dt="2018-03-16T22:29:29.136" v="320" actId="478"/>
        <pc:sldMkLst>
          <pc:docMk/>
          <pc:sldMk cId="2375109034" sldId="375"/>
        </pc:sldMkLst>
      </pc:sldChg>
      <pc:sldChg chg="modTransition">
        <pc:chgData name="Dave Burnison" userId="562e53b1-e8fd-443e-b247-550baf63da3b" providerId="ADAL" clId="{1D59B728-4A4F-4D28-981D-E810D5D81B03}" dt="2018-03-16T22:29:29.136" v="320" actId="478"/>
        <pc:sldMkLst>
          <pc:docMk/>
          <pc:sldMk cId="2600162310" sldId="381"/>
        </pc:sldMkLst>
      </pc:sldChg>
      <pc:sldChg chg="modTransition">
        <pc:chgData name="Dave Burnison" userId="562e53b1-e8fd-443e-b247-550baf63da3b" providerId="ADAL" clId="{1D59B728-4A4F-4D28-981D-E810D5D81B03}" dt="2018-03-16T22:29:29.136" v="320" actId="478"/>
        <pc:sldMkLst>
          <pc:docMk/>
          <pc:sldMk cId="4086836641" sldId="382"/>
        </pc:sldMkLst>
      </pc:sldChg>
      <pc:sldChg chg="modTransition">
        <pc:chgData name="Dave Burnison" userId="562e53b1-e8fd-443e-b247-550baf63da3b" providerId="ADAL" clId="{1D59B728-4A4F-4D28-981D-E810D5D81B03}" dt="2018-03-16T22:29:29.136" v="320" actId="478"/>
        <pc:sldMkLst>
          <pc:docMk/>
          <pc:sldMk cId="2317860277" sldId="383"/>
        </pc:sldMkLst>
      </pc:sldChg>
      <pc:sldChg chg="modTransition">
        <pc:chgData name="Dave Burnison" userId="562e53b1-e8fd-443e-b247-550baf63da3b" providerId="ADAL" clId="{1D59B728-4A4F-4D28-981D-E810D5D81B03}" dt="2018-03-16T22:29:29.136" v="320" actId="478"/>
        <pc:sldMkLst>
          <pc:docMk/>
          <pc:sldMk cId="4170997740" sldId="387"/>
        </pc:sldMkLst>
      </pc:sldChg>
      <pc:sldChg chg="modSp setBg modAnim modNotesTx">
        <pc:chgData name="Dave Burnison" userId="562e53b1-e8fd-443e-b247-550baf63da3b" providerId="ADAL" clId="{1D59B728-4A4F-4D28-981D-E810D5D81B03}" dt="2018-03-17T16:07:15.680" v="484" actId="20577"/>
        <pc:sldMkLst>
          <pc:docMk/>
          <pc:sldMk cId="2015788465" sldId="388"/>
        </pc:sldMkLst>
        <pc:spChg chg="mod">
          <ac:chgData name="Dave Burnison" userId="562e53b1-e8fd-443e-b247-550baf63da3b" providerId="ADAL" clId="{1D59B728-4A4F-4D28-981D-E810D5D81B03}" dt="2018-03-17T16:06:29.066" v="481" actId="20577"/>
          <ac:spMkLst>
            <pc:docMk/>
            <pc:sldMk cId="2015788465" sldId="388"/>
            <ac:spMk id="2" creationId="{00000000-0000-0000-0000-000000000000}"/>
          </ac:spMkLst>
        </pc:spChg>
        <pc:spChg chg="mod">
          <ac:chgData name="Dave Burnison" userId="562e53b1-e8fd-443e-b247-550baf63da3b" providerId="ADAL" clId="{1D59B728-4A4F-4D28-981D-E810D5D81B03}" dt="2018-03-17T16:06:34.361" v="482" actId="20577"/>
          <ac:spMkLst>
            <pc:docMk/>
            <pc:sldMk cId="2015788465" sldId="388"/>
            <ac:spMk id="3" creationId="{00000000-0000-0000-0000-000000000000}"/>
          </ac:spMkLst>
        </pc:spChg>
      </pc:sldChg>
      <pc:sldChg chg="modTransition">
        <pc:chgData name="Dave Burnison" userId="562e53b1-e8fd-443e-b247-550baf63da3b" providerId="ADAL" clId="{1D59B728-4A4F-4D28-981D-E810D5D81B03}" dt="2018-03-16T20:17:34.649" v="138" actId="478"/>
        <pc:sldMkLst>
          <pc:docMk/>
          <pc:sldMk cId="1536675628" sldId="390"/>
        </pc:sldMkLst>
      </pc:sldChg>
      <pc:sldChg chg="modTransition">
        <pc:chgData name="Dave Burnison" userId="562e53b1-e8fd-443e-b247-550baf63da3b" providerId="ADAL" clId="{1D59B728-4A4F-4D28-981D-E810D5D81B03}" dt="2018-03-16T21:56:15.509" v="272" actId="478"/>
        <pc:sldMkLst>
          <pc:docMk/>
          <pc:sldMk cId="3329114188" sldId="392"/>
        </pc:sldMkLst>
      </pc:sldChg>
      <pc:sldChg chg="add del modTransition">
        <pc:chgData name="Dave Burnison" userId="562e53b1-e8fd-443e-b247-550baf63da3b" providerId="ADAL" clId="{1D59B728-4A4F-4D28-981D-E810D5D81B03}" dt="2018-03-16T21:49:46.589" v="271" actId="478"/>
        <pc:sldMkLst>
          <pc:docMk/>
          <pc:sldMk cId="2412934676" sldId="393"/>
        </pc:sldMkLst>
      </pc:sldChg>
      <pc:sldChg chg="del">
        <pc:chgData name="Dave Burnison" userId="562e53b1-e8fd-443e-b247-550baf63da3b" providerId="ADAL" clId="{1D59B728-4A4F-4D28-981D-E810D5D81B03}" dt="2018-03-18T23:17:32.922" v="570" actId="2696"/>
        <pc:sldMkLst>
          <pc:docMk/>
          <pc:sldMk cId="4138334120" sldId="396"/>
        </pc:sldMkLst>
      </pc:sldChg>
      <pc:sldChg chg="del modAnim">
        <pc:chgData name="Dave Burnison" userId="562e53b1-e8fd-443e-b247-550baf63da3b" providerId="ADAL" clId="{1D59B728-4A4F-4D28-981D-E810D5D81B03}" dt="2018-03-18T23:17:32.826" v="566" actId="2696"/>
        <pc:sldMkLst>
          <pc:docMk/>
          <pc:sldMk cId="3258941868" sldId="398"/>
        </pc:sldMkLst>
      </pc:sldChg>
      <pc:sldChg chg="del modAnim">
        <pc:chgData name="Dave Burnison" userId="562e53b1-e8fd-443e-b247-550baf63da3b" providerId="ADAL" clId="{1D59B728-4A4F-4D28-981D-E810D5D81B03}" dt="2018-03-18T23:17:32.810" v="565" actId="2696"/>
        <pc:sldMkLst>
          <pc:docMk/>
          <pc:sldMk cId="935336236" sldId="399"/>
        </pc:sldMkLst>
      </pc:sldChg>
      <pc:sldChg chg="del">
        <pc:chgData name="Dave Burnison" userId="562e53b1-e8fd-443e-b247-550baf63da3b" providerId="ADAL" clId="{1D59B728-4A4F-4D28-981D-E810D5D81B03}" dt="2018-03-18T23:17:32.910" v="569" actId="2696"/>
        <pc:sldMkLst>
          <pc:docMk/>
          <pc:sldMk cId="3275922451" sldId="400"/>
        </pc:sldMkLst>
      </pc:sldChg>
      <pc:sldChg chg="del">
        <pc:chgData name="Dave Burnison" userId="562e53b1-e8fd-443e-b247-550baf63da3b" providerId="ADAL" clId="{1D59B728-4A4F-4D28-981D-E810D5D81B03}" dt="2018-03-18T23:17:32.869" v="568" actId="2696"/>
        <pc:sldMkLst>
          <pc:docMk/>
          <pc:sldMk cId="3959390952" sldId="401"/>
        </pc:sldMkLst>
      </pc:sldChg>
      <pc:sldChg chg="del">
        <pc:chgData name="Dave Burnison" userId="562e53b1-e8fd-443e-b247-550baf63da3b" providerId="ADAL" clId="{1D59B728-4A4F-4D28-981D-E810D5D81B03}" dt="2018-03-18T23:17:32.852" v="567" actId="2696"/>
        <pc:sldMkLst>
          <pc:docMk/>
          <pc:sldMk cId="3100143037" sldId="402"/>
        </pc:sldMkLst>
      </pc:sldChg>
      <pc:sldChg chg="modAnim">
        <pc:chgData name="Dave Burnison" userId="562e53b1-e8fd-443e-b247-550baf63da3b" providerId="ADAL" clId="{1D59B728-4A4F-4D28-981D-E810D5D81B03}" dt="2018-03-16T22:39:11.065" v="326" actId="478"/>
        <pc:sldMkLst>
          <pc:docMk/>
          <pc:sldMk cId="803547789" sldId="433"/>
        </pc:sldMkLst>
      </pc:sldChg>
      <pc:sldChg chg="modAnim">
        <pc:chgData name="Dave Burnison" userId="562e53b1-e8fd-443e-b247-550baf63da3b" providerId="ADAL" clId="{1D59B728-4A4F-4D28-981D-E810D5D81B03}" dt="2018-03-16T20:18:23.436" v="143" actId="478"/>
        <pc:sldMkLst>
          <pc:docMk/>
          <pc:sldMk cId="368140113" sldId="434"/>
        </pc:sldMkLst>
      </pc:sldChg>
      <pc:sldChg chg="modTransition">
        <pc:chgData name="Dave Burnison" userId="562e53b1-e8fd-443e-b247-550baf63da3b" providerId="ADAL" clId="{1D59B728-4A4F-4D28-981D-E810D5D81B03}" dt="2018-03-16T20:28:09.055" v="209" actId="478"/>
        <pc:sldMkLst>
          <pc:docMk/>
          <pc:sldMk cId="4086061408" sldId="435"/>
        </pc:sldMkLst>
      </pc:sldChg>
      <pc:sldChg chg="modAnim">
        <pc:chgData name="Dave Burnison" userId="562e53b1-e8fd-443e-b247-550baf63da3b" providerId="ADAL" clId="{1D59B728-4A4F-4D28-981D-E810D5D81B03}" dt="2018-03-16T21:46:10.838" v="266" actId="478"/>
        <pc:sldMkLst>
          <pc:docMk/>
          <pc:sldMk cId="511772071" sldId="441"/>
        </pc:sldMkLst>
      </pc:sldChg>
      <pc:sldChg chg="modAnim">
        <pc:chgData name="Dave Burnison" userId="562e53b1-e8fd-443e-b247-550baf63da3b" providerId="ADAL" clId="{1D59B728-4A4F-4D28-981D-E810D5D81B03}" dt="2018-03-16T21:47:54.330" v="268" actId="478"/>
        <pc:sldMkLst>
          <pc:docMk/>
          <pc:sldMk cId="1686793262" sldId="442"/>
        </pc:sldMkLst>
      </pc:sldChg>
      <pc:sldChg chg="ord">
        <pc:chgData name="Dave Burnison" userId="562e53b1-e8fd-443e-b247-550baf63da3b" providerId="ADAL" clId="{1D59B728-4A4F-4D28-981D-E810D5D81B03}" dt="2018-03-17T17:00:54.620" v="532" actId="20577"/>
        <pc:sldMkLst>
          <pc:docMk/>
          <pc:sldMk cId="824557701" sldId="446"/>
        </pc:sldMkLst>
      </pc:sldChg>
      <pc:sldChg chg="modNotesTx">
        <pc:chgData name="Dave Burnison" userId="562e53b1-e8fd-443e-b247-550baf63da3b" providerId="ADAL" clId="{1D59B728-4A4F-4D28-981D-E810D5D81B03}" dt="2018-03-17T17:06:10.508" v="533" actId="6549"/>
        <pc:sldMkLst>
          <pc:docMk/>
          <pc:sldMk cId="3576018908" sldId="447"/>
        </pc:sldMkLst>
      </pc:sldChg>
      <pc:sldChg chg="modAnim">
        <pc:chgData name="Dave Burnison" userId="562e53b1-e8fd-443e-b247-550baf63da3b" providerId="ADAL" clId="{1D59B728-4A4F-4D28-981D-E810D5D81B03}" dt="2018-03-16T22:09:35.998" v="301" actId="478"/>
        <pc:sldMkLst>
          <pc:docMk/>
          <pc:sldMk cId="3926336205" sldId="455"/>
        </pc:sldMkLst>
      </pc:sldChg>
      <pc:sldChg chg="modTransition">
        <pc:chgData name="Dave Burnison" userId="562e53b1-e8fd-443e-b247-550baf63da3b" providerId="ADAL" clId="{1D59B728-4A4F-4D28-981D-E810D5D81B03}" dt="2018-03-16T20:17:36.563" v="139" actId="478"/>
        <pc:sldMkLst>
          <pc:docMk/>
          <pc:sldMk cId="3544717808" sldId="470"/>
        </pc:sldMkLst>
      </pc:sldChg>
      <pc:sldChg chg="modTransition">
        <pc:chgData name="Dave Burnison" userId="562e53b1-e8fd-443e-b247-550baf63da3b" providerId="ADAL" clId="{1D59B728-4A4F-4D28-981D-E810D5D81B03}" dt="2018-03-16T20:17:38.248" v="140" actId="478"/>
        <pc:sldMkLst>
          <pc:docMk/>
          <pc:sldMk cId="3124784127" sldId="471"/>
        </pc:sldMkLst>
      </pc:sldChg>
      <pc:sldChg chg="modSp modTransition">
        <pc:chgData name="Dave Burnison" userId="562e53b1-e8fd-443e-b247-550baf63da3b" providerId="ADAL" clId="{1D59B728-4A4F-4D28-981D-E810D5D81B03}" dt="2018-03-16T22:28:40.186" v="319" actId="478"/>
        <pc:sldMkLst>
          <pc:docMk/>
          <pc:sldMk cId="3007711249" sldId="472"/>
        </pc:sldMkLst>
        <pc:spChg chg="mod">
          <ac:chgData name="Dave Burnison" userId="562e53b1-e8fd-443e-b247-550baf63da3b" providerId="ADAL" clId="{1D59B728-4A4F-4D28-981D-E810D5D81B03}" dt="2018-03-14T21:31:58.959" v="49" actId="20577"/>
          <ac:spMkLst>
            <pc:docMk/>
            <pc:sldMk cId="3007711249" sldId="472"/>
            <ac:spMk id="4" creationId="{00000000-0000-0000-0000-000000000000}"/>
          </ac:spMkLst>
        </pc:spChg>
      </pc:sldChg>
      <pc:sldChg chg="modTransition">
        <pc:chgData name="Dave Burnison" userId="562e53b1-e8fd-443e-b247-550baf63da3b" providerId="ADAL" clId="{1D59B728-4A4F-4D28-981D-E810D5D81B03}" dt="2018-03-16T21:29:09.972" v="231" actId="478"/>
        <pc:sldMkLst>
          <pc:docMk/>
          <pc:sldMk cId="2893027076" sldId="476"/>
        </pc:sldMkLst>
      </pc:sldChg>
      <pc:sldChg chg="modTransition">
        <pc:chgData name="Dave Burnison" userId="562e53b1-e8fd-443e-b247-550baf63da3b" providerId="ADAL" clId="{1D59B728-4A4F-4D28-981D-E810D5D81B03}" dt="2018-03-16T21:35:01.405" v="242" actId="478"/>
        <pc:sldMkLst>
          <pc:docMk/>
          <pc:sldMk cId="704963938" sldId="479"/>
        </pc:sldMkLst>
      </pc:sldChg>
      <pc:sldChg chg="modSp modAnim modNotesTx">
        <pc:chgData name="Dave Burnison" userId="562e53b1-e8fd-443e-b247-550baf63da3b" providerId="ADAL" clId="{1D59B728-4A4F-4D28-981D-E810D5D81B03}" dt="2018-03-17T16:43:51.430" v="530" actId="20577"/>
        <pc:sldMkLst>
          <pc:docMk/>
          <pc:sldMk cId="3292078493" sldId="480"/>
        </pc:sldMkLst>
        <pc:spChg chg="mod">
          <ac:chgData name="Dave Burnison" userId="562e53b1-e8fd-443e-b247-550baf63da3b" providerId="ADAL" clId="{1D59B728-4A4F-4D28-981D-E810D5D81B03}" dt="2018-03-17T16:43:51.430" v="530" actId="20577"/>
          <ac:spMkLst>
            <pc:docMk/>
            <pc:sldMk cId="3292078493" sldId="480"/>
            <ac:spMk id="3" creationId="{00000000-0000-0000-0000-000000000000}"/>
          </ac:spMkLst>
        </pc:spChg>
      </pc:sldChg>
      <pc:sldChg chg="modTransition">
        <pc:chgData name="Dave Burnison" userId="562e53b1-e8fd-443e-b247-550baf63da3b" providerId="ADAL" clId="{1D59B728-4A4F-4D28-981D-E810D5D81B03}" dt="2018-03-16T22:48:58.297" v="330" actId="478"/>
        <pc:sldMkLst>
          <pc:docMk/>
          <pc:sldMk cId="4251465227" sldId="482"/>
        </pc:sldMkLst>
      </pc:sldChg>
      <pc:sldChg chg="modAnim">
        <pc:chgData name="Dave Burnison" userId="562e53b1-e8fd-443e-b247-550baf63da3b" providerId="ADAL" clId="{1D59B728-4A4F-4D28-981D-E810D5D81B03}" dt="2018-03-16T21:41:12.824" v="250" actId="478"/>
        <pc:sldMkLst>
          <pc:docMk/>
          <pc:sldMk cId="3220867725" sldId="483"/>
        </pc:sldMkLst>
      </pc:sldChg>
      <pc:sldChg chg="modAnim">
        <pc:chgData name="Dave Burnison" userId="562e53b1-e8fd-443e-b247-550baf63da3b" providerId="ADAL" clId="{1D59B728-4A4F-4D28-981D-E810D5D81B03}" dt="2018-03-16T21:42:04.136" v="254" actId="478"/>
        <pc:sldMkLst>
          <pc:docMk/>
          <pc:sldMk cId="1860429655" sldId="484"/>
        </pc:sldMkLst>
      </pc:sldChg>
      <pc:sldChg chg="modAnim">
        <pc:chgData name="Dave Burnison" userId="562e53b1-e8fd-443e-b247-550baf63da3b" providerId="ADAL" clId="{1D59B728-4A4F-4D28-981D-E810D5D81B03}" dt="2018-03-16T21:43:02.401" v="256" actId="478"/>
        <pc:sldMkLst>
          <pc:docMk/>
          <pc:sldMk cId="142960099" sldId="488"/>
        </pc:sldMkLst>
      </pc:sldChg>
      <pc:sldChg chg="modAnim modNotesTx">
        <pc:chgData name="Dave Burnison" userId="562e53b1-e8fd-443e-b247-550baf63da3b" providerId="ADAL" clId="{1D59B728-4A4F-4D28-981D-E810D5D81B03}" dt="2018-03-17T17:07:31.167" v="535" actId="6549"/>
        <pc:sldMkLst>
          <pc:docMk/>
          <pc:sldMk cId="2284893771" sldId="489"/>
        </pc:sldMkLst>
      </pc:sldChg>
      <pc:sldChg chg="modAnim modNotesTx">
        <pc:chgData name="Dave Burnison" userId="562e53b1-e8fd-443e-b247-550baf63da3b" providerId="ADAL" clId="{1D59B728-4A4F-4D28-981D-E810D5D81B03}" dt="2018-03-17T17:07:39.998" v="536" actId="6549"/>
        <pc:sldMkLst>
          <pc:docMk/>
          <pc:sldMk cId="3783300293" sldId="490"/>
        </pc:sldMkLst>
      </pc:sldChg>
      <pc:sldChg chg="modAnim">
        <pc:chgData name="Dave Burnison" userId="562e53b1-e8fd-443e-b247-550baf63da3b" providerId="ADAL" clId="{1D59B728-4A4F-4D28-981D-E810D5D81B03}" dt="2018-03-16T22:05:32.415" v="286" actId="478"/>
        <pc:sldMkLst>
          <pc:docMk/>
          <pc:sldMk cId="529282496" sldId="492"/>
        </pc:sldMkLst>
      </pc:sldChg>
      <pc:sldChg chg="modAnim">
        <pc:chgData name="Dave Burnison" userId="562e53b1-e8fd-443e-b247-550baf63da3b" providerId="ADAL" clId="{1D59B728-4A4F-4D28-981D-E810D5D81B03}" dt="2018-03-16T22:05:41.368" v="287" actId="478"/>
        <pc:sldMkLst>
          <pc:docMk/>
          <pc:sldMk cId="2528226122" sldId="493"/>
        </pc:sldMkLst>
      </pc:sldChg>
      <pc:sldChg chg="modAnim">
        <pc:chgData name="Dave Burnison" userId="562e53b1-e8fd-443e-b247-550baf63da3b" providerId="ADAL" clId="{1D59B728-4A4F-4D28-981D-E810D5D81B03}" dt="2018-03-16T22:06:07.079" v="288" actId="478"/>
        <pc:sldMkLst>
          <pc:docMk/>
          <pc:sldMk cId="4290154251" sldId="494"/>
        </pc:sldMkLst>
      </pc:sldChg>
      <pc:sldChg chg="modAnim">
        <pc:chgData name="Dave Burnison" userId="562e53b1-e8fd-443e-b247-550baf63da3b" providerId="ADAL" clId="{1D59B728-4A4F-4D28-981D-E810D5D81B03}" dt="2018-03-16T22:06:24.031" v="289" actId="478"/>
        <pc:sldMkLst>
          <pc:docMk/>
          <pc:sldMk cId="3190291755" sldId="495"/>
        </pc:sldMkLst>
      </pc:sldChg>
      <pc:sldChg chg="modAnim">
        <pc:chgData name="Dave Burnison" userId="562e53b1-e8fd-443e-b247-550baf63da3b" providerId="ADAL" clId="{1D59B728-4A4F-4D28-981D-E810D5D81B03}" dt="2018-03-16T22:06:39.691" v="290" actId="478"/>
        <pc:sldMkLst>
          <pc:docMk/>
          <pc:sldMk cId="3340268204" sldId="496"/>
        </pc:sldMkLst>
      </pc:sldChg>
      <pc:sldChg chg="modAnim">
        <pc:chgData name="Dave Burnison" userId="562e53b1-e8fd-443e-b247-550baf63da3b" providerId="ADAL" clId="{1D59B728-4A4F-4D28-981D-E810D5D81B03}" dt="2018-03-16T22:06:49.834" v="291" actId="478"/>
        <pc:sldMkLst>
          <pc:docMk/>
          <pc:sldMk cId="3412768752" sldId="497"/>
        </pc:sldMkLst>
      </pc:sldChg>
      <pc:sldChg chg="modAnim">
        <pc:chgData name="Dave Burnison" userId="562e53b1-e8fd-443e-b247-550baf63da3b" providerId="ADAL" clId="{1D59B728-4A4F-4D28-981D-E810D5D81B03}" dt="2018-03-16T22:07:04.581" v="292" actId="478"/>
        <pc:sldMkLst>
          <pc:docMk/>
          <pc:sldMk cId="1020867823" sldId="498"/>
        </pc:sldMkLst>
      </pc:sldChg>
      <pc:sldChg chg="modAnim">
        <pc:chgData name="Dave Burnison" userId="562e53b1-e8fd-443e-b247-550baf63da3b" providerId="ADAL" clId="{1D59B728-4A4F-4D28-981D-E810D5D81B03}" dt="2018-03-16T22:07:27.190" v="293" actId="478"/>
        <pc:sldMkLst>
          <pc:docMk/>
          <pc:sldMk cId="861751947" sldId="499"/>
        </pc:sldMkLst>
      </pc:sldChg>
      <pc:sldChg chg="modAnim modNotesTx">
        <pc:chgData name="Dave Burnison" userId="562e53b1-e8fd-443e-b247-550baf63da3b" providerId="ADAL" clId="{1D59B728-4A4F-4D28-981D-E810D5D81B03}" dt="2018-03-17T17:07:49.931" v="537" actId="6549"/>
        <pc:sldMkLst>
          <pc:docMk/>
          <pc:sldMk cId="164591482" sldId="503"/>
        </pc:sldMkLst>
      </pc:sldChg>
      <pc:sldChg chg="modAnim modNotesTx">
        <pc:chgData name="Dave Burnison" userId="562e53b1-e8fd-443e-b247-550baf63da3b" providerId="ADAL" clId="{1D59B728-4A4F-4D28-981D-E810D5D81B03}" dt="2018-03-17T17:07:57.027" v="538" actId="6549"/>
        <pc:sldMkLst>
          <pc:docMk/>
          <pc:sldMk cId="4018631164" sldId="504"/>
        </pc:sldMkLst>
      </pc:sldChg>
      <pc:sldChg chg="modNotesTx">
        <pc:chgData name="Dave Burnison" userId="562e53b1-e8fd-443e-b247-550baf63da3b" providerId="ADAL" clId="{1D59B728-4A4F-4D28-981D-E810D5D81B03}" dt="2018-03-17T17:00:22.705" v="531" actId="6549"/>
        <pc:sldMkLst>
          <pc:docMk/>
          <pc:sldMk cId="3306823202" sldId="520"/>
        </pc:sldMkLst>
      </pc:sldChg>
      <pc:sldChg chg="modNotesTx">
        <pc:chgData name="Dave Burnison" userId="562e53b1-e8fd-443e-b247-550baf63da3b" providerId="ADAL" clId="{1D59B728-4A4F-4D28-981D-E810D5D81B03}" dt="2018-03-17T17:09:15.210" v="546" actId="20577"/>
        <pc:sldMkLst>
          <pc:docMk/>
          <pc:sldMk cId="3595232561" sldId="521"/>
        </pc:sldMkLst>
      </pc:sldChg>
      <pc:sldChg chg="modTransition">
        <pc:chgData name="Dave Burnison" userId="562e53b1-e8fd-443e-b247-550baf63da3b" providerId="ADAL" clId="{1D59B728-4A4F-4D28-981D-E810D5D81B03}" dt="2018-03-16T21:31:40.081" v="232" actId="478"/>
        <pc:sldMkLst>
          <pc:docMk/>
          <pc:sldMk cId="3097633187" sldId="523"/>
        </pc:sldMkLst>
      </pc:sldChg>
      <pc:sldChg chg="modTransition">
        <pc:chgData name="Dave Burnison" userId="562e53b1-e8fd-443e-b247-550baf63da3b" providerId="ADAL" clId="{1D59B728-4A4F-4D28-981D-E810D5D81B03}" dt="2018-03-16T21:31:40.081" v="232" actId="478"/>
        <pc:sldMkLst>
          <pc:docMk/>
          <pc:sldMk cId="3667100558" sldId="524"/>
        </pc:sldMkLst>
      </pc:sldChg>
      <pc:sldChg chg="modSp modAnim">
        <pc:chgData name="Dave Burnison" userId="562e53b1-e8fd-443e-b247-550baf63da3b" providerId="ADAL" clId="{1D59B728-4A4F-4D28-981D-E810D5D81B03}" dt="2018-03-16T22:44:40.080" v="329" actId="478"/>
        <pc:sldMkLst>
          <pc:docMk/>
          <pc:sldMk cId="2867879967" sldId="525"/>
        </pc:sldMkLst>
        <pc:spChg chg="mod">
          <ac:chgData name="Dave Burnison" userId="562e53b1-e8fd-443e-b247-550baf63da3b" providerId="ADAL" clId="{1D59B728-4A4F-4D28-981D-E810D5D81B03}" dt="2018-03-16T21:32:51.809" v="238" actId="14100"/>
          <ac:spMkLst>
            <pc:docMk/>
            <pc:sldMk cId="2867879967" sldId="525"/>
            <ac:spMk id="3" creationId="{00000000-0000-0000-0000-000000000000}"/>
          </ac:spMkLst>
        </pc:spChg>
      </pc:sldChg>
      <pc:sldChg chg="modTransition modAnim">
        <pc:chgData name="Dave Burnison" userId="562e53b1-e8fd-443e-b247-550baf63da3b" providerId="ADAL" clId="{1D59B728-4A4F-4D28-981D-E810D5D81B03}" dt="2018-03-16T21:34:17.978" v="240" actId="478"/>
        <pc:sldMkLst>
          <pc:docMk/>
          <pc:sldMk cId="3154947607" sldId="527"/>
        </pc:sldMkLst>
      </pc:sldChg>
      <pc:sldChg chg="modTransition">
        <pc:chgData name="Dave Burnison" userId="562e53b1-e8fd-443e-b247-550baf63da3b" providerId="ADAL" clId="{1D59B728-4A4F-4D28-981D-E810D5D81B03}" dt="2018-03-16T20:17:44.181" v="141" actId="478"/>
        <pc:sldMkLst>
          <pc:docMk/>
          <pc:sldMk cId="3841515758" sldId="528"/>
        </pc:sldMkLst>
      </pc:sldChg>
      <pc:sldChg chg="modAnim">
        <pc:chgData name="Dave Burnison" userId="562e53b1-e8fd-443e-b247-550baf63da3b" providerId="ADAL" clId="{1D59B728-4A4F-4D28-981D-E810D5D81B03}" dt="2018-03-16T22:08:57.854" v="295" actId="478"/>
        <pc:sldMkLst>
          <pc:docMk/>
          <pc:sldMk cId="2235148632" sldId="529"/>
        </pc:sldMkLst>
      </pc:sldChg>
      <pc:sldChg chg="addSp delSp modSp add mod setBg">
        <pc:chgData name="Dave Burnison" userId="562e53b1-e8fd-443e-b247-550baf63da3b" providerId="ADAL" clId="{1D59B728-4A4F-4D28-981D-E810D5D81B03}" dt="2018-03-16T20:17:13.065" v="137" actId="1036"/>
        <pc:sldMkLst>
          <pc:docMk/>
          <pc:sldMk cId="3725707632" sldId="530"/>
        </pc:sldMkLst>
        <pc:spChg chg="del">
          <ac:chgData name="Dave Burnison" userId="562e53b1-e8fd-443e-b247-550baf63da3b" providerId="ADAL" clId="{1D59B728-4A4F-4D28-981D-E810D5D81B03}" dt="2018-03-16T20:15:00.598" v="95" actId="1036"/>
          <ac:spMkLst>
            <pc:docMk/>
            <pc:sldMk cId="3725707632" sldId="530"/>
            <ac:spMk id="2" creationId="{6476C4D1-C565-4EB4-8830-DB256F327738}"/>
          </ac:spMkLst>
        </pc:spChg>
        <pc:spChg chg="del">
          <ac:chgData name="Dave Burnison" userId="562e53b1-e8fd-443e-b247-550baf63da3b" providerId="ADAL" clId="{1D59B728-4A4F-4D28-981D-E810D5D81B03}" dt="2018-03-16T20:15:00.598" v="95" actId="1036"/>
          <ac:spMkLst>
            <pc:docMk/>
            <pc:sldMk cId="3725707632" sldId="530"/>
            <ac:spMk id="3" creationId="{0B64CB8C-9EF0-44A7-8ECE-C9D3C340669A}"/>
          </ac:spMkLst>
        </pc:spChg>
        <pc:spChg chg="add mod">
          <ac:chgData name="Dave Burnison" userId="562e53b1-e8fd-443e-b247-550baf63da3b" providerId="ADAL" clId="{1D59B728-4A4F-4D28-981D-E810D5D81B03}" dt="2018-03-16T20:16:08.426" v="126" actId="20577"/>
          <ac:spMkLst>
            <pc:docMk/>
            <pc:sldMk cId="3725707632" sldId="530"/>
            <ac:spMk id="4" creationId="{6C74FAB7-89EE-4C74-B759-1B8D676D29EF}"/>
          </ac:spMkLst>
        </pc:spChg>
        <pc:spChg chg="add del mod">
          <ac:chgData name="Dave Burnison" userId="562e53b1-e8fd-443e-b247-550baf63da3b" providerId="ADAL" clId="{1D59B728-4A4F-4D28-981D-E810D5D81B03}" dt="2018-03-16T20:15:33.930" v="97" actId="26606"/>
          <ac:spMkLst>
            <pc:docMk/>
            <pc:sldMk cId="3725707632" sldId="530"/>
            <ac:spMk id="5" creationId="{88AEEFA3-5849-40EC-B126-EDF4D37E4187}"/>
          </ac:spMkLst>
        </pc:spChg>
        <pc:spChg chg="add mod">
          <ac:chgData name="Dave Burnison" userId="562e53b1-e8fd-443e-b247-550baf63da3b" providerId="ADAL" clId="{1D59B728-4A4F-4D28-981D-E810D5D81B03}" dt="2018-03-16T20:17:13.065" v="137" actId="1036"/>
          <ac:spMkLst>
            <pc:docMk/>
            <pc:sldMk cId="3725707632" sldId="530"/>
            <ac:spMk id="6" creationId="{7F1A107D-A2A1-488F-8FBD-64FEEF1C35F7}"/>
          </ac:spMkLst>
        </pc:spChg>
        <pc:spChg chg="add">
          <ac:chgData name="Dave Burnison" userId="562e53b1-e8fd-443e-b247-550baf63da3b" providerId="ADAL" clId="{1D59B728-4A4F-4D28-981D-E810D5D81B03}" dt="2018-03-16T20:15:33.930" v="97" actId="26606"/>
          <ac:spMkLst>
            <pc:docMk/>
            <pc:sldMk cId="3725707632" sldId="530"/>
            <ac:spMk id="72" creationId="{047C8CCB-F95D-4249-92DD-651249D3535A}"/>
          </ac:spMkLst>
        </pc:spChg>
        <pc:picChg chg="add del">
          <ac:chgData name="Dave Burnison" userId="562e53b1-e8fd-443e-b247-550baf63da3b" providerId="ADAL" clId="{1D59B728-4A4F-4D28-981D-E810D5D81B03}" dt="2018-03-16T20:15:33.930" v="97" actId="26606"/>
          <ac:picMkLst>
            <pc:docMk/>
            <pc:sldMk cId="3725707632" sldId="530"/>
            <ac:picMk id="1026" creationId="{59BACD19-A463-4157-8D98-273F8B8A5271}"/>
          </ac:picMkLst>
        </pc:picChg>
        <pc:picChg chg="add mod">
          <ac:chgData name="Dave Burnison" userId="562e53b1-e8fd-443e-b247-550baf63da3b" providerId="ADAL" clId="{1D59B728-4A4F-4D28-981D-E810D5D81B03}" dt="2018-03-16T20:16:24.139" v="128" actId="1076"/>
          <ac:picMkLst>
            <pc:docMk/>
            <pc:sldMk cId="3725707632" sldId="530"/>
            <ac:picMk id="1029" creationId="{59BACD19-A463-4157-8D98-273F8B8A5271}"/>
          </ac:picMkLst>
        </pc:picChg>
      </pc:sldChg>
      <pc:sldChg chg="addSp delSp modSp add ord">
        <pc:chgData name="Dave Burnison" userId="562e53b1-e8fd-443e-b247-550baf63da3b" providerId="ADAL" clId="{1D59B728-4A4F-4D28-981D-E810D5D81B03}" dt="2018-03-16T20:27:48.321" v="208" actId="14100"/>
        <pc:sldMkLst>
          <pc:docMk/>
          <pc:sldMk cId="3212010401" sldId="532"/>
        </pc:sldMkLst>
        <pc:spChg chg="mod">
          <ac:chgData name="Dave Burnison" userId="562e53b1-e8fd-443e-b247-550baf63da3b" providerId="ADAL" clId="{1D59B728-4A4F-4D28-981D-E810D5D81B03}" dt="2018-03-16T20:26:37.731" v="199" actId="20577"/>
          <ac:spMkLst>
            <pc:docMk/>
            <pc:sldMk cId="3212010401" sldId="532"/>
            <ac:spMk id="4" creationId="{6C74FAB7-89EE-4C74-B759-1B8D676D29EF}"/>
          </ac:spMkLst>
        </pc:spChg>
        <pc:spChg chg="mod">
          <ac:chgData name="Dave Burnison" userId="562e53b1-e8fd-443e-b247-550baf63da3b" providerId="ADAL" clId="{1D59B728-4A4F-4D28-981D-E810D5D81B03}" dt="2018-03-16T20:27:48.321" v="208" actId="14100"/>
          <ac:spMkLst>
            <pc:docMk/>
            <pc:sldMk cId="3212010401" sldId="532"/>
            <ac:spMk id="6" creationId="{7F1A107D-A2A1-488F-8FBD-64FEEF1C35F7}"/>
          </ac:spMkLst>
        </pc:spChg>
        <pc:picChg chg="add mod">
          <ac:chgData name="Dave Burnison" userId="562e53b1-e8fd-443e-b247-550baf63da3b" providerId="ADAL" clId="{1D59B728-4A4F-4D28-981D-E810D5D81B03}" dt="2018-03-16T20:27:02.141" v="204" actId="1076"/>
          <ac:picMkLst>
            <pc:docMk/>
            <pc:sldMk cId="3212010401" sldId="532"/>
            <ac:picMk id="2" creationId="{FBDC7E51-071B-4A3E-8659-6C1532043956}"/>
          </ac:picMkLst>
        </pc:picChg>
        <pc:picChg chg="del">
          <ac:chgData name="Dave Burnison" userId="562e53b1-e8fd-443e-b247-550baf63da3b" providerId="ADAL" clId="{1D59B728-4A4F-4D28-981D-E810D5D81B03}" dt="2018-03-16T20:26:43.153" v="200" actId="478"/>
          <ac:picMkLst>
            <pc:docMk/>
            <pc:sldMk cId="3212010401" sldId="532"/>
            <ac:picMk id="2050" creationId="{57474C77-FAE9-4023-B937-7ADE6DB2F328}"/>
          </ac:picMkLst>
        </pc:picChg>
      </pc:sldChg>
      <pc:sldChg chg="setBg">
        <pc:chgData name="Dave Burnison" userId="562e53b1-e8fd-443e-b247-550baf63da3b" providerId="ADAL" clId="{1D59B728-4A4F-4D28-981D-E810D5D81B03}" dt="2018-03-16T22:20:26.468" v="311" actId="478"/>
        <pc:sldMkLst>
          <pc:docMk/>
          <pc:sldMk cId="3778318542" sldId="534"/>
        </pc:sldMkLst>
      </pc:sldChg>
      <pc:sldChg chg="setBg">
        <pc:chgData name="Dave Burnison" userId="562e53b1-e8fd-443e-b247-550baf63da3b" providerId="ADAL" clId="{1D59B728-4A4F-4D28-981D-E810D5D81B03}" dt="2018-03-16T22:20:41.875" v="312" actId="478"/>
        <pc:sldMkLst>
          <pc:docMk/>
          <pc:sldMk cId="3915388931" sldId="535"/>
        </pc:sldMkLst>
      </pc:sldChg>
      <pc:sldChg chg="modSp ord">
        <pc:chgData name="Dave Burnison" userId="562e53b1-e8fd-443e-b247-550baf63da3b" providerId="ADAL" clId="{1D59B728-4A4F-4D28-981D-E810D5D81B03}" dt="2018-03-16T22:26:46.313" v="318" actId="6549"/>
        <pc:sldMkLst>
          <pc:docMk/>
          <pc:sldMk cId="2132868321" sldId="536"/>
        </pc:sldMkLst>
        <pc:spChg chg="mod">
          <ac:chgData name="Dave Burnison" userId="562e53b1-e8fd-443e-b247-550baf63da3b" providerId="ADAL" clId="{1D59B728-4A4F-4D28-981D-E810D5D81B03}" dt="2018-03-16T22:26:46.313" v="318" actId="6549"/>
          <ac:spMkLst>
            <pc:docMk/>
            <pc:sldMk cId="2132868321" sldId="536"/>
            <ac:spMk id="2" creationId="{00000000-0000-0000-0000-000000000000}"/>
          </ac:spMkLst>
        </pc:spChg>
        <pc:spChg chg="mod">
          <ac:chgData name="Dave Burnison" userId="562e53b1-e8fd-443e-b247-550baf63da3b" providerId="ADAL" clId="{1D59B728-4A4F-4D28-981D-E810D5D81B03}" dt="2018-03-16T22:26:26.672" v="315" actId="6549"/>
          <ac:spMkLst>
            <pc:docMk/>
            <pc:sldMk cId="2132868321" sldId="536"/>
            <ac:spMk id="113" creationId="{00000000-0000-0000-0000-000000000000}"/>
          </ac:spMkLst>
        </pc:spChg>
      </pc:sldChg>
      <pc:sldChg chg="ord">
        <pc:chgData name="Dave Burnison" userId="562e53b1-e8fd-443e-b247-550baf63da3b" providerId="ADAL" clId="{1D59B728-4A4F-4D28-981D-E810D5D81B03}" dt="2018-03-17T16:09:34.520" v="485" actId="20577"/>
        <pc:sldMkLst>
          <pc:docMk/>
          <pc:sldMk cId="3196754090" sldId="537"/>
        </pc:sldMkLst>
      </pc:sldChg>
      <pc:sldChg chg="delSp delAnim modNotesTx">
        <pc:chgData name="Dave Burnison" userId="562e53b1-e8fd-443e-b247-550baf63da3b" providerId="ADAL" clId="{1D59B728-4A4F-4D28-981D-E810D5D81B03}" dt="2018-03-17T17:07:19.262" v="534" actId="6549"/>
        <pc:sldMkLst>
          <pc:docMk/>
          <pc:sldMk cId="3143931080" sldId="540"/>
        </pc:sldMkLst>
        <pc:grpChg chg="del">
          <ac:chgData name="Dave Burnison" userId="562e53b1-e8fd-443e-b247-550baf63da3b" providerId="ADAL" clId="{1D59B728-4A4F-4D28-981D-E810D5D81B03}" dt="2018-03-16T23:09:01.748" v="334" actId="478"/>
          <ac:grpSpMkLst>
            <pc:docMk/>
            <pc:sldMk cId="3143931080" sldId="540"/>
            <ac:grpSpMk id="23" creationId="{00000000-0000-0000-0000-000000000000}"/>
          </ac:grpSpMkLst>
        </pc:grpChg>
      </pc:sldChg>
      <pc:sldChg chg="addSp add">
        <pc:chgData name="Dave Burnison" userId="562e53b1-e8fd-443e-b247-550baf63da3b" providerId="ADAL" clId="{1D59B728-4A4F-4D28-981D-E810D5D81B03}" dt="2018-03-17T16:19:48.370" v="487" actId="20577"/>
        <pc:sldMkLst>
          <pc:docMk/>
          <pc:sldMk cId="1762739278" sldId="541"/>
        </pc:sldMkLst>
        <pc:picChg chg="add">
          <ac:chgData name="Dave Burnison" userId="562e53b1-e8fd-443e-b247-550baf63da3b" providerId="ADAL" clId="{1D59B728-4A4F-4D28-981D-E810D5D81B03}" dt="2018-03-17T16:19:48.370" v="487" actId="20577"/>
          <ac:picMkLst>
            <pc:docMk/>
            <pc:sldMk cId="1762739278" sldId="541"/>
            <ac:picMk id="4" creationId="{655C7C33-59D1-4501-800B-BD3B52649C70}"/>
          </ac:picMkLst>
        </pc:picChg>
      </pc:sldChg>
      <pc:sldChg chg="addSp add">
        <pc:chgData name="Dave Burnison" userId="562e53b1-e8fd-443e-b247-550baf63da3b" providerId="ADAL" clId="{1D59B728-4A4F-4D28-981D-E810D5D81B03}" dt="2018-03-17T16:22:29.510" v="489" actId="20577"/>
        <pc:sldMkLst>
          <pc:docMk/>
          <pc:sldMk cId="4108493812" sldId="542"/>
        </pc:sldMkLst>
        <pc:picChg chg="add">
          <ac:chgData name="Dave Burnison" userId="562e53b1-e8fd-443e-b247-550baf63da3b" providerId="ADAL" clId="{1D59B728-4A4F-4D28-981D-E810D5D81B03}" dt="2018-03-17T16:22:29.510" v="489" actId="20577"/>
          <ac:picMkLst>
            <pc:docMk/>
            <pc:sldMk cId="4108493812" sldId="542"/>
            <ac:picMk id="4" creationId="{364EE72F-02A3-46F4-9BA9-A78A72234841}"/>
          </ac:picMkLst>
        </pc:picChg>
      </pc:sldChg>
      <pc:sldChg chg="addSp add">
        <pc:chgData name="Dave Burnison" userId="562e53b1-e8fd-443e-b247-550baf63da3b" providerId="ADAL" clId="{1D59B728-4A4F-4D28-981D-E810D5D81B03}" dt="2018-03-17T16:25:01.128" v="491" actId="20577"/>
        <pc:sldMkLst>
          <pc:docMk/>
          <pc:sldMk cId="596394897" sldId="543"/>
        </pc:sldMkLst>
        <pc:picChg chg="add">
          <ac:chgData name="Dave Burnison" userId="562e53b1-e8fd-443e-b247-550baf63da3b" providerId="ADAL" clId="{1D59B728-4A4F-4D28-981D-E810D5D81B03}" dt="2018-03-17T16:25:01.128" v="491" actId="20577"/>
          <ac:picMkLst>
            <pc:docMk/>
            <pc:sldMk cId="596394897" sldId="543"/>
            <ac:picMk id="4" creationId="{20638958-CB6A-4A1A-928E-36AC4B92766A}"/>
          </ac:picMkLst>
        </pc:picChg>
      </pc:sldChg>
      <pc:sldChg chg="modTransition">
        <pc:chgData name="Dave Burnison" userId="562e53b1-e8fd-443e-b247-550baf63da3b" providerId="ADAL" clId="{1D59B728-4A4F-4D28-981D-E810D5D81B03}" dt="2018-03-17T17:34:15.441" v="547" actId="20577"/>
        <pc:sldMkLst>
          <pc:docMk/>
          <pc:sldMk cId="3902064623" sldId="544"/>
        </pc:sldMkLst>
      </pc:sldChg>
      <pc:sldChg chg="modSp">
        <pc:chgData name="Dave Burnison" userId="562e53b1-e8fd-443e-b247-550baf63da3b" providerId="ADAL" clId="{1D59B728-4A4F-4D28-981D-E810D5D81B03}" dt="2018-03-17T17:39:00.371" v="564" actId="20577"/>
        <pc:sldMkLst>
          <pc:docMk/>
          <pc:sldMk cId="3379888945" sldId="548"/>
        </pc:sldMkLst>
        <pc:spChg chg="mod">
          <ac:chgData name="Dave Burnison" userId="562e53b1-e8fd-443e-b247-550baf63da3b" providerId="ADAL" clId="{1D59B728-4A4F-4D28-981D-E810D5D81B03}" dt="2018-03-17T17:39:00.371" v="564" actId="20577"/>
          <ac:spMkLst>
            <pc:docMk/>
            <pc:sldMk cId="3379888945" sldId="548"/>
            <ac:spMk id="8" creationId="{00000000-0000-0000-0000-000000000000}"/>
          </ac:spMkLst>
        </pc:spChg>
      </pc:sldChg>
      <pc:sldChg chg="modSp">
        <pc:chgData name="Dave Burnison" userId="562e53b1-e8fd-443e-b247-550baf63da3b" providerId="ADAL" clId="{1D59B728-4A4F-4D28-981D-E810D5D81B03}" dt="2018-03-17T17:38:34.600" v="559" actId="6549"/>
        <pc:sldMkLst>
          <pc:docMk/>
          <pc:sldMk cId="3129814602" sldId="549"/>
        </pc:sldMkLst>
        <pc:spChg chg="mod">
          <ac:chgData name="Dave Burnison" userId="562e53b1-e8fd-443e-b247-550baf63da3b" providerId="ADAL" clId="{1D59B728-4A4F-4D28-981D-E810D5D81B03}" dt="2018-03-17T17:38:34.600" v="559" actId="6549"/>
          <ac:spMkLst>
            <pc:docMk/>
            <pc:sldMk cId="3129814602" sldId="549"/>
            <ac:spMk id="8"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313D065-3E46-423B-B0AB-95B709A4BA9C}"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93446BC6-14F8-4F0F-8E90-2AB4E54A691D}">
      <dgm:prSet/>
      <dgm:spPr/>
      <dgm:t>
        <a:bodyPr/>
        <a:lstStyle/>
        <a:p>
          <a:r>
            <a:rPr lang="en-US"/>
            <a:t>IaaS</a:t>
          </a:r>
          <a:br>
            <a:rPr lang="en-US"/>
          </a:br>
          <a:r>
            <a:rPr lang="en-US"/>
            <a:t>VMs</a:t>
          </a:r>
        </a:p>
      </dgm:t>
    </dgm:pt>
    <dgm:pt modelId="{37B4CBEC-A8A9-4E8C-A043-3C63415939CB}" type="parTrans" cxnId="{0D37718F-1061-4212-8490-F7F8F73EB09A}">
      <dgm:prSet/>
      <dgm:spPr/>
      <dgm:t>
        <a:bodyPr/>
        <a:lstStyle/>
        <a:p>
          <a:endParaRPr lang="en-US"/>
        </a:p>
      </dgm:t>
    </dgm:pt>
    <dgm:pt modelId="{B8B640D3-3D8A-415C-82D6-C5A19AA791D1}" type="sibTrans" cxnId="{0D37718F-1061-4212-8490-F7F8F73EB09A}">
      <dgm:prSet/>
      <dgm:spPr/>
      <dgm:t>
        <a:bodyPr/>
        <a:lstStyle/>
        <a:p>
          <a:endParaRPr lang="en-US"/>
        </a:p>
      </dgm:t>
    </dgm:pt>
    <dgm:pt modelId="{D8FA6B2F-CEE9-4C05-AA3D-26432E102867}">
      <dgm:prSet/>
      <dgm:spPr/>
      <dgm:t>
        <a:bodyPr/>
        <a:lstStyle/>
        <a:p>
          <a:r>
            <a:rPr lang="en-US"/>
            <a:t>VM Scale Sets</a:t>
          </a:r>
        </a:p>
      </dgm:t>
    </dgm:pt>
    <dgm:pt modelId="{1173D26D-B999-4A78-8169-0E234065A748}" type="parTrans" cxnId="{203CF54F-874D-4BA6-AD8D-9A35164F273C}">
      <dgm:prSet/>
      <dgm:spPr/>
      <dgm:t>
        <a:bodyPr/>
        <a:lstStyle/>
        <a:p>
          <a:endParaRPr lang="en-US"/>
        </a:p>
      </dgm:t>
    </dgm:pt>
    <dgm:pt modelId="{35C53E8F-C2E2-4E00-8D75-19D606FA31AF}" type="sibTrans" cxnId="{203CF54F-874D-4BA6-AD8D-9A35164F273C}">
      <dgm:prSet/>
      <dgm:spPr/>
      <dgm:t>
        <a:bodyPr/>
        <a:lstStyle/>
        <a:p>
          <a:endParaRPr lang="en-US"/>
        </a:p>
      </dgm:t>
    </dgm:pt>
    <dgm:pt modelId="{260A285B-3648-478D-9802-F027B29B168D}">
      <dgm:prSet/>
      <dgm:spPr/>
      <dgm:t>
        <a:bodyPr/>
        <a:lstStyle/>
        <a:p>
          <a:r>
            <a:rPr lang="en-US"/>
            <a:t>Batch</a:t>
          </a:r>
        </a:p>
      </dgm:t>
    </dgm:pt>
    <dgm:pt modelId="{AA4EF500-79C6-44D1-A4E7-F782B0C39777}" type="parTrans" cxnId="{2BE6A643-783C-4222-8426-67D52DCAC878}">
      <dgm:prSet/>
      <dgm:spPr/>
      <dgm:t>
        <a:bodyPr/>
        <a:lstStyle/>
        <a:p>
          <a:endParaRPr lang="en-US"/>
        </a:p>
      </dgm:t>
    </dgm:pt>
    <dgm:pt modelId="{3726A3EC-FFF0-42D1-96DF-AD05882F0A2A}" type="sibTrans" cxnId="{2BE6A643-783C-4222-8426-67D52DCAC878}">
      <dgm:prSet/>
      <dgm:spPr/>
      <dgm:t>
        <a:bodyPr/>
        <a:lstStyle/>
        <a:p>
          <a:endParaRPr lang="en-US"/>
        </a:p>
      </dgm:t>
    </dgm:pt>
    <dgm:pt modelId="{13E820B6-6DA0-4699-B22E-2A8A851C6BB9}">
      <dgm:prSet/>
      <dgm:spPr/>
      <dgm:t>
        <a:bodyPr/>
        <a:lstStyle/>
        <a:p>
          <a:r>
            <a:rPr lang="en-US"/>
            <a:t>Logic Apps</a:t>
          </a:r>
        </a:p>
      </dgm:t>
    </dgm:pt>
    <dgm:pt modelId="{99E5C416-7EC4-43F8-B198-9562303D73BA}" type="parTrans" cxnId="{E6BA7A12-3E2D-4125-A56D-16F94305DFE8}">
      <dgm:prSet/>
      <dgm:spPr/>
      <dgm:t>
        <a:bodyPr/>
        <a:lstStyle/>
        <a:p>
          <a:endParaRPr lang="en-US"/>
        </a:p>
      </dgm:t>
    </dgm:pt>
    <dgm:pt modelId="{C596189A-6BF9-4ADB-8873-8D7EFA3A76C8}" type="sibTrans" cxnId="{E6BA7A12-3E2D-4125-A56D-16F94305DFE8}">
      <dgm:prSet/>
      <dgm:spPr/>
      <dgm:t>
        <a:bodyPr/>
        <a:lstStyle/>
        <a:p>
          <a:endParaRPr lang="en-US"/>
        </a:p>
      </dgm:t>
    </dgm:pt>
    <dgm:pt modelId="{134030C6-EB8F-45A2-9108-ECAF265DD6FC}">
      <dgm:prSet/>
      <dgm:spPr/>
      <dgm:t>
        <a:bodyPr/>
        <a:lstStyle/>
        <a:p>
          <a:r>
            <a:rPr lang="en-US"/>
            <a:t>Functions</a:t>
          </a:r>
        </a:p>
      </dgm:t>
    </dgm:pt>
    <dgm:pt modelId="{08BA5118-D0AC-4879-9051-5C3320724865}" type="parTrans" cxnId="{79A5208D-1AC0-4D23-BC74-37D1C8F6F4EB}">
      <dgm:prSet/>
      <dgm:spPr/>
      <dgm:t>
        <a:bodyPr/>
        <a:lstStyle/>
        <a:p>
          <a:endParaRPr lang="en-US"/>
        </a:p>
      </dgm:t>
    </dgm:pt>
    <dgm:pt modelId="{328153E6-29A8-4E0B-8B1C-C76C14CE45B1}" type="sibTrans" cxnId="{79A5208D-1AC0-4D23-BC74-37D1C8F6F4EB}">
      <dgm:prSet/>
      <dgm:spPr/>
      <dgm:t>
        <a:bodyPr/>
        <a:lstStyle/>
        <a:p>
          <a:endParaRPr lang="en-US"/>
        </a:p>
      </dgm:t>
    </dgm:pt>
    <dgm:pt modelId="{FB72B8E0-7F31-46E8-B303-B9D124E3D5AF}">
      <dgm:prSet/>
      <dgm:spPr/>
      <dgm:t>
        <a:bodyPr/>
        <a:lstStyle/>
        <a:p>
          <a:r>
            <a:rPr lang="en-US"/>
            <a:t>App Service</a:t>
          </a:r>
        </a:p>
      </dgm:t>
    </dgm:pt>
    <dgm:pt modelId="{CA9C9184-B1A5-42A4-8AA0-DCF70F75E56E}" type="parTrans" cxnId="{C871C3CF-E3B0-4FE5-9181-8B638A0F245C}">
      <dgm:prSet/>
      <dgm:spPr/>
      <dgm:t>
        <a:bodyPr/>
        <a:lstStyle/>
        <a:p>
          <a:endParaRPr lang="en-US"/>
        </a:p>
      </dgm:t>
    </dgm:pt>
    <dgm:pt modelId="{98ECAC23-ACDB-49A8-84CF-430A01FE0C46}" type="sibTrans" cxnId="{C871C3CF-E3B0-4FE5-9181-8B638A0F245C}">
      <dgm:prSet/>
      <dgm:spPr/>
      <dgm:t>
        <a:bodyPr/>
        <a:lstStyle/>
        <a:p>
          <a:endParaRPr lang="en-US"/>
        </a:p>
      </dgm:t>
    </dgm:pt>
    <dgm:pt modelId="{9E4F25BD-828A-45F9-8549-1BDA3CB94343}">
      <dgm:prSet/>
      <dgm:spPr/>
      <dgm:t>
        <a:bodyPr/>
        <a:lstStyle/>
        <a:p>
          <a:r>
            <a:rPr lang="en-US"/>
            <a:t>Azure Container Service</a:t>
          </a:r>
        </a:p>
      </dgm:t>
    </dgm:pt>
    <dgm:pt modelId="{2A06C36F-6133-43E5-99C1-21ADCCB75CBF}" type="parTrans" cxnId="{71B1A857-C9AC-42BA-B55E-464D271A6433}">
      <dgm:prSet/>
      <dgm:spPr/>
      <dgm:t>
        <a:bodyPr/>
        <a:lstStyle/>
        <a:p>
          <a:endParaRPr lang="en-US"/>
        </a:p>
      </dgm:t>
    </dgm:pt>
    <dgm:pt modelId="{216D9BAB-AE59-4635-8D6E-A0FFCB0A0846}" type="sibTrans" cxnId="{71B1A857-C9AC-42BA-B55E-464D271A6433}">
      <dgm:prSet/>
      <dgm:spPr/>
      <dgm:t>
        <a:bodyPr/>
        <a:lstStyle/>
        <a:p>
          <a:endParaRPr lang="en-US"/>
        </a:p>
      </dgm:t>
    </dgm:pt>
    <dgm:pt modelId="{E4CDF590-9F7F-46D7-A84E-F32316D74145}">
      <dgm:prSet/>
      <dgm:spPr/>
      <dgm:t>
        <a:bodyPr/>
        <a:lstStyle/>
        <a:p>
          <a:r>
            <a:rPr lang="en-US"/>
            <a:t>Azure Container Instances</a:t>
          </a:r>
        </a:p>
      </dgm:t>
    </dgm:pt>
    <dgm:pt modelId="{446265B6-3375-47DE-939A-918E4804EF16}" type="parTrans" cxnId="{A165BBBC-F5F8-4218-AB39-C4543631D7EA}">
      <dgm:prSet/>
      <dgm:spPr/>
      <dgm:t>
        <a:bodyPr/>
        <a:lstStyle/>
        <a:p>
          <a:endParaRPr lang="en-US"/>
        </a:p>
      </dgm:t>
    </dgm:pt>
    <dgm:pt modelId="{CB8ECA1D-D53F-46BC-AC25-4AEE4B82C183}" type="sibTrans" cxnId="{A165BBBC-F5F8-4218-AB39-C4543631D7EA}">
      <dgm:prSet/>
      <dgm:spPr/>
      <dgm:t>
        <a:bodyPr/>
        <a:lstStyle/>
        <a:p>
          <a:endParaRPr lang="en-US"/>
        </a:p>
      </dgm:t>
    </dgm:pt>
    <dgm:pt modelId="{35F61476-33C8-49D1-943B-4E985E4A0C31}">
      <dgm:prSet/>
      <dgm:spPr/>
      <dgm:t>
        <a:bodyPr/>
        <a:lstStyle/>
        <a:p>
          <a:r>
            <a:rPr lang="en-US"/>
            <a:t>Service Fabric</a:t>
          </a:r>
        </a:p>
      </dgm:t>
    </dgm:pt>
    <dgm:pt modelId="{D2F002CB-1AF5-49E3-85A5-5982928377B9}" type="parTrans" cxnId="{DBAAE53C-784C-426F-9385-506AB02FF4A5}">
      <dgm:prSet/>
      <dgm:spPr/>
      <dgm:t>
        <a:bodyPr/>
        <a:lstStyle/>
        <a:p>
          <a:endParaRPr lang="en-US"/>
        </a:p>
      </dgm:t>
    </dgm:pt>
    <dgm:pt modelId="{0BE281AB-5EB9-40A0-B2AF-2957C7BC9965}" type="sibTrans" cxnId="{DBAAE53C-784C-426F-9385-506AB02FF4A5}">
      <dgm:prSet/>
      <dgm:spPr/>
      <dgm:t>
        <a:bodyPr/>
        <a:lstStyle/>
        <a:p>
          <a:endParaRPr lang="en-US"/>
        </a:p>
      </dgm:t>
    </dgm:pt>
    <dgm:pt modelId="{1411FA44-3D98-4CDE-9367-624F7D7989C1}">
      <dgm:prSet/>
      <dgm:spPr/>
      <dgm:t>
        <a:bodyPr/>
        <a:lstStyle/>
        <a:p>
          <a:r>
            <a:rPr lang="en-US"/>
            <a:t>Cloud Services</a:t>
          </a:r>
        </a:p>
      </dgm:t>
    </dgm:pt>
    <dgm:pt modelId="{185C32F3-0FD3-4283-874D-F3967080D9BC}" type="parTrans" cxnId="{3A6AA946-7C45-4E7E-8BEF-7254FCF0CAEA}">
      <dgm:prSet/>
      <dgm:spPr/>
      <dgm:t>
        <a:bodyPr/>
        <a:lstStyle/>
        <a:p>
          <a:endParaRPr lang="en-US"/>
        </a:p>
      </dgm:t>
    </dgm:pt>
    <dgm:pt modelId="{4EDE1395-F128-4FA8-B625-869099876945}" type="sibTrans" cxnId="{3A6AA946-7C45-4E7E-8BEF-7254FCF0CAEA}">
      <dgm:prSet/>
      <dgm:spPr/>
      <dgm:t>
        <a:bodyPr/>
        <a:lstStyle/>
        <a:p>
          <a:endParaRPr lang="en-US"/>
        </a:p>
      </dgm:t>
    </dgm:pt>
    <dgm:pt modelId="{A7DC98CC-EABF-45CB-9F2B-34C76DEA45AF}" type="pres">
      <dgm:prSet presAssocID="{A313D065-3E46-423B-B0AB-95B709A4BA9C}" presName="theList" presStyleCnt="0">
        <dgm:presLayoutVars>
          <dgm:dir/>
          <dgm:animLvl val="lvl"/>
          <dgm:resizeHandles val="exact"/>
        </dgm:presLayoutVars>
      </dgm:prSet>
      <dgm:spPr/>
    </dgm:pt>
    <dgm:pt modelId="{29EFC1B9-ECFD-408D-8B8E-CA1F4F800D05}" type="pres">
      <dgm:prSet presAssocID="{93446BC6-14F8-4F0F-8E90-2AB4E54A691D}" presName="compNode" presStyleCnt="0"/>
      <dgm:spPr/>
    </dgm:pt>
    <dgm:pt modelId="{00513B5F-D8F5-4888-AC70-1398C1B0E8A7}" type="pres">
      <dgm:prSet presAssocID="{93446BC6-14F8-4F0F-8E90-2AB4E54A691D}" presName="aNode" presStyleLbl="bgShp" presStyleIdx="0" presStyleCnt="10"/>
      <dgm:spPr/>
    </dgm:pt>
    <dgm:pt modelId="{077D33EA-5620-4973-89B4-1BE56D75312E}" type="pres">
      <dgm:prSet presAssocID="{93446BC6-14F8-4F0F-8E90-2AB4E54A691D}" presName="textNode" presStyleLbl="bgShp" presStyleIdx="0" presStyleCnt="10"/>
      <dgm:spPr/>
    </dgm:pt>
    <dgm:pt modelId="{19C18CF4-AD51-40BC-A42E-92F406E4B2DE}" type="pres">
      <dgm:prSet presAssocID="{93446BC6-14F8-4F0F-8E90-2AB4E54A691D}" presName="compChildNode" presStyleCnt="0"/>
      <dgm:spPr/>
    </dgm:pt>
    <dgm:pt modelId="{B2C97605-E8BA-413D-8F82-2F81A2437630}" type="pres">
      <dgm:prSet presAssocID="{93446BC6-14F8-4F0F-8E90-2AB4E54A691D}" presName="theInnerList" presStyleCnt="0"/>
      <dgm:spPr/>
    </dgm:pt>
    <dgm:pt modelId="{640E7B71-1BA1-4FB5-9136-7A867A8C1B40}" type="pres">
      <dgm:prSet presAssocID="{93446BC6-14F8-4F0F-8E90-2AB4E54A691D}" presName="aSpace" presStyleCnt="0"/>
      <dgm:spPr/>
    </dgm:pt>
    <dgm:pt modelId="{F8A3B5EF-8030-42D7-AB6A-940D5F5A9A46}" type="pres">
      <dgm:prSet presAssocID="{D8FA6B2F-CEE9-4C05-AA3D-26432E102867}" presName="compNode" presStyleCnt="0"/>
      <dgm:spPr/>
    </dgm:pt>
    <dgm:pt modelId="{C2EA3FFF-2417-40D9-89CC-F1A35699285C}" type="pres">
      <dgm:prSet presAssocID="{D8FA6B2F-CEE9-4C05-AA3D-26432E102867}" presName="aNode" presStyleLbl="bgShp" presStyleIdx="1" presStyleCnt="10"/>
      <dgm:spPr/>
    </dgm:pt>
    <dgm:pt modelId="{82C66525-4B37-41E1-908F-A04C5D2DE991}" type="pres">
      <dgm:prSet presAssocID="{D8FA6B2F-CEE9-4C05-AA3D-26432E102867}" presName="textNode" presStyleLbl="bgShp" presStyleIdx="1" presStyleCnt="10"/>
      <dgm:spPr/>
    </dgm:pt>
    <dgm:pt modelId="{3ED50058-6437-4188-802A-1C8D9E5FCE37}" type="pres">
      <dgm:prSet presAssocID="{D8FA6B2F-CEE9-4C05-AA3D-26432E102867}" presName="compChildNode" presStyleCnt="0"/>
      <dgm:spPr/>
    </dgm:pt>
    <dgm:pt modelId="{78EB7194-A449-4EDD-87F6-C930956318E0}" type="pres">
      <dgm:prSet presAssocID="{D8FA6B2F-CEE9-4C05-AA3D-26432E102867}" presName="theInnerList" presStyleCnt="0"/>
      <dgm:spPr/>
    </dgm:pt>
    <dgm:pt modelId="{14F00E8E-C030-4279-94EE-5671C2222ECB}" type="pres">
      <dgm:prSet presAssocID="{D8FA6B2F-CEE9-4C05-AA3D-26432E102867}" presName="aSpace" presStyleCnt="0"/>
      <dgm:spPr/>
    </dgm:pt>
    <dgm:pt modelId="{0B560C3B-72B5-44D0-A3D2-BB4FC0EA61C4}" type="pres">
      <dgm:prSet presAssocID="{9E4F25BD-828A-45F9-8549-1BDA3CB94343}" presName="compNode" presStyleCnt="0"/>
      <dgm:spPr/>
    </dgm:pt>
    <dgm:pt modelId="{BFE7EF33-35B6-4364-AFAA-13DD712E922D}" type="pres">
      <dgm:prSet presAssocID="{9E4F25BD-828A-45F9-8549-1BDA3CB94343}" presName="aNode" presStyleLbl="bgShp" presStyleIdx="2" presStyleCnt="10"/>
      <dgm:spPr/>
    </dgm:pt>
    <dgm:pt modelId="{BBBC3871-D759-4885-A3C2-9D7E0294E6DA}" type="pres">
      <dgm:prSet presAssocID="{9E4F25BD-828A-45F9-8549-1BDA3CB94343}" presName="textNode" presStyleLbl="bgShp" presStyleIdx="2" presStyleCnt="10"/>
      <dgm:spPr/>
    </dgm:pt>
    <dgm:pt modelId="{08005495-41CA-445D-ACC5-3ABB1B5930F3}" type="pres">
      <dgm:prSet presAssocID="{9E4F25BD-828A-45F9-8549-1BDA3CB94343}" presName="compChildNode" presStyleCnt="0"/>
      <dgm:spPr/>
    </dgm:pt>
    <dgm:pt modelId="{DD6E6036-BACB-4E41-9337-9774781939EF}" type="pres">
      <dgm:prSet presAssocID="{9E4F25BD-828A-45F9-8549-1BDA3CB94343}" presName="theInnerList" presStyleCnt="0"/>
      <dgm:spPr/>
    </dgm:pt>
    <dgm:pt modelId="{5B97ECE4-8505-4789-9075-D24EE41AE6C9}" type="pres">
      <dgm:prSet presAssocID="{9E4F25BD-828A-45F9-8549-1BDA3CB94343}" presName="aSpace" presStyleCnt="0"/>
      <dgm:spPr/>
    </dgm:pt>
    <dgm:pt modelId="{88537D65-C3AE-4418-8C5C-4BF819ABB47A}" type="pres">
      <dgm:prSet presAssocID="{35F61476-33C8-49D1-943B-4E985E4A0C31}" presName="compNode" presStyleCnt="0"/>
      <dgm:spPr/>
    </dgm:pt>
    <dgm:pt modelId="{1F953C0C-DFA5-4C6B-83A0-ACBD75296A7D}" type="pres">
      <dgm:prSet presAssocID="{35F61476-33C8-49D1-943B-4E985E4A0C31}" presName="aNode" presStyleLbl="bgShp" presStyleIdx="3" presStyleCnt="10"/>
      <dgm:spPr/>
    </dgm:pt>
    <dgm:pt modelId="{E71CCD11-9F0B-4C63-9D55-78BD49FC7749}" type="pres">
      <dgm:prSet presAssocID="{35F61476-33C8-49D1-943B-4E985E4A0C31}" presName="textNode" presStyleLbl="bgShp" presStyleIdx="3" presStyleCnt="10"/>
      <dgm:spPr/>
    </dgm:pt>
    <dgm:pt modelId="{54C8BE8F-174B-4481-A981-8E87BC68EF91}" type="pres">
      <dgm:prSet presAssocID="{35F61476-33C8-49D1-943B-4E985E4A0C31}" presName="compChildNode" presStyleCnt="0"/>
      <dgm:spPr/>
    </dgm:pt>
    <dgm:pt modelId="{505E5531-3D04-478B-8063-A6A46BC8471B}" type="pres">
      <dgm:prSet presAssocID="{35F61476-33C8-49D1-943B-4E985E4A0C31}" presName="theInnerList" presStyleCnt="0"/>
      <dgm:spPr/>
    </dgm:pt>
    <dgm:pt modelId="{4CE6379B-4FF4-4699-88E5-2C115D1E2D06}" type="pres">
      <dgm:prSet presAssocID="{35F61476-33C8-49D1-943B-4E985E4A0C31}" presName="aSpace" presStyleCnt="0"/>
      <dgm:spPr/>
    </dgm:pt>
    <dgm:pt modelId="{996FE46A-814B-42DB-A028-24614A85C29C}" type="pres">
      <dgm:prSet presAssocID="{1411FA44-3D98-4CDE-9367-624F7D7989C1}" presName="compNode" presStyleCnt="0"/>
      <dgm:spPr/>
    </dgm:pt>
    <dgm:pt modelId="{8745C436-B72B-4380-85A2-3799EB53BE32}" type="pres">
      <dgm:prSet presAssocID="{1411FA44-3D98-4CDE-9367-624F7D7989C1}" presName="aNode" presStyleLbl="bgShp" presStyleIdx="4" presStyleCnt="10"/>
      <dgm:spPr/>
    </dgm:pt>
    <dgm:pt modelId="{B530458D-5929-4A06-A607-72D6639AE003}" type="pres">
      <dgm:prSet presAssocID="{1411FA44-3D98-4CDE-9367-624F7D7989C1}" presName="textNode" presStyleLbl="bgShp" presStyleIdx="4" presStyleCnt="10"/>
      <dgm:spPr/>
    </dgm:pt>
    <dgm:pt modelId="{2004F63E-B3AB-4C6D-9066-25D245C14132}" type="pres">
      <dgm:prSet presAssocID="{1411FA44-3D98-4CDE-9367-624F7D7989C1}" presName="compChildNode" presStyleCnt="0"/>
      <dgm:spPr/>
    </dgm:pt>
    <dgm:pt modelId="{8B2C8FEB-899F-482B-A7D1-14403C1CD0F9}" type="pres">
      <dgm:prSet presAssocID="{1411FA44-3D98-4CDE-9367-624F7D7989C1}" presName="theInnerList" presStyleCnt="0"/>
      <dgm:spPr/>
    </dgm:pt>
    <dgm:pt modelId="{A789A354-50C8-404B-8091-3A3A33B30388}" type="pres">
      <dgm:prSet presAssocID="{1411FA44-3D98-4CDE-9367-624F7D7989C1}" presName="aSpace" presStyleCnt="0"/>
      <dgm:spPr/>
    </dgm:pt>
    <dgm:pt modelId="{49BA6D37-A62F-4CED-A753-F0AC8A0BC028}" type="pres">
      <dgm:prSet presAssocID="{260A285B-3648-478D-9802-F027B29B168D}" presName="compNode" presStyleCnt="0"/>
      <dgm:spPr/>
    </dgm:pt>
    <dgm:pt modelId="{64A8B82D-DA79-48E6-87F5-69BF25233F6D}" type="pres">
      <dgm:prSet presAssocID="{260A285B-3648-478D-9802-F027B29B168D}" presName="aNode" presStyleLbl="bgShp" presStyleIdx="5" presStyleCnt="10"/>
      <dgm:spPr/>
    </dgm:pt>
    <dgm:pt modelId="{49CF4575-8BA8-44F3-BD2B-58BD4856D482}" type="pres">
      <dgm:prSet presAssocID="{260A285B-3648-478D-9802-F027B29B168D}" presName="textNode" presStyleLbl="bgShp" presStyleIdx="5" presStyleCnt="10"/>
      <dgm:spPr/>
    </dgm:pt>
    <dgm:pt modelId="{809FB8AD-28AD-4BBE-90E2-0C2E87E4895B}" type="pres">
      <dgm:prSet presAssocID="{260A285B-3648-478D-9802-F027B29B168D}" presName="compChildNode" presStyleCnt="0"/>
      <dgm:spPr/>
    </dgm:pt>
    <dgm:pt modelId="{FB7119E6-291F-4D5A-97F5-06649442001C}" type="pres">
      <dgm:prSet presAssocID="{260A285B-3648-478D-9802-F027B29B168D}" presName="theInnerList" presStyleCnt="0"/>
      <dgm:spPr/>
    </dgm:pt>
    <dgm:pt modelId="{F2AB3549-15DF-4F61-B333-9246BD57F23B}" type="pres">
      <dgm:prSet presAssocID="{260A285B-3648-478D-9802-F027B29B168D}" presName="aSpace" presStyleCnt="0"/>
      <dgm:spPr/>
    </dgm:pt>
    <dgm:pt modelId="{77ED7814-E24A-4AC8-B476-85AFE17E563A}" type="pres">
      <dgm:prSet presAssocID="{FB72B8E0-7F31-46E8-B303-B9D124E3D5AF}" presName="compNode" presStyleCnt="0"/>
      <dgm:spPr/>
    </dgm:pt>
    <dgm:pt modelId="{CD4671D1-87D7-4E8D-B019-EE7552F468A0}" type="pres">
      <dgm:prSet presAssocID="{FB72B8E0-7F31-46E8-B303-B9D124E3D5AF}" presName="aNode" presStyleLbl="bgShp" presStyleIdx="6" presStyleCnt="10"/>
      <dgm:spPr/>
    </dgm:pt>
    <dgm:pt modelId="{4AAC13E1-205B-4231-9D6D-006212104C0F}" type="pres">
      <dgm:prSet presAssocID="{FB72B8E0-7F31-46E8-B303-B9D124E3D5AF}" presName="textNode" presStyleLbl="bgShp" presStyleIdx="6" presStyleCnt="10"/>
      <dgm:spPr/>
    </dgm:pt>
    <dgm:pt modelId="{D281FD8D-8EC6-4231-9B13-955E724F9824}" type="pres">
      <dgm:prSet presAssocID="{FB72B8E0-7F31-46E8-B303-B9D124E3D5AF}" presName="compChildNode" presStyleCnt="0"/>
      <dgm:spPr/>
    </dgm:pt>
    <dgm:pt modelId="{56C33FAA-0FB6-4C80-B214-6FCBA9674C76}" type="pres">
      <dgm:prSet presAssocID="{FB72B8E0-7F31-46E8-B303-B9D124E3D5AF}" presName="theInnerList" presStyleCnt="0"/>
      <dgm:spPr/>
    </dgm:pt>
    <dgm:pt modelId="{34C8DC27-E6BA-495A-A3A2-728D2FDA4A65}" type="pres">
      <dgm:prSet presAssocID="{FB72B8E0-7F31-46E8-B303-B9D124E3D5AF}" presName="aSpace" presStyleCnt="0"/>
      <dgm:spPr/>
    </dgm:pt>
    <dgm:pt modelId="{828D59C2-37BA-44F6-B1EC-B839D8EEDFE0}" type="pres">
      <dgm:prSet presAssocID="{E4CDF590-9F7F-46D7-A84E-F32316D74145}" presName="compNode" presStyleCnt="0"/>
      <dgm:spPr/>
    </dgm:pt>
    <dgm:pt modelId="{FF659824-D556-4A81-ABEF-EF16B01F56EA}" type="pres">
      <dgm:prSet presAssocID="{E4CDF590-9F7F-46D7-A84E-F32316D74145}" presName="aNode" presStyleLbl="bgShp" presStyleIdx="7" presStyleCnt="10"/>
      <dgm:spPr/>
    </dgm:pt>
    <dgm:pt modelId="{1DBC7FD5-FC4E-4F84-8F30-2EA9BC5F02A1}" type="pres">
      <dgm:prSet presAssocID="{E4CDF590-9F7F-46D7-A84E-F32316D74145}" presName="textNode" presStyleLbl="bgShp" presStyleIdx="7" presStyleCnt="10"/>
      <dgm:spPr/>
    </dgm:pt>
    <dgm:pt modelId="{14D29613-8F80-4CA6-A9AB-B55B0E6E7FB6}" type="pres">
      <dgm:prSet presAssocID="{E4CDF590-9F7F-46D7-A84E-F32316D74145}" presName="compChildNode" presStyleCnt="0"/>
      <dgm:spPr/>
    </dgm:pt>
    <dgm:pt modelId="{451262CB-98C2-4FAD-A47F-DF29B63C9655}" type="pres">
      <dgm:prSet presAssocID="{E4CDF590-9F7F-46D7-A84E-F32316D74145}" presName="theInnerList" presStyleCnt="0"/>
      <dgm:spPr/>
    </dgm:pt>
    <dgm:pt modelId="{FEC3006D-4B01-4543-BC1E-778D4DFA0346}" type="pres">
      <dgm:prSet presAssocID="{E4CDF590-9F7F-46D7-A84E-F32316D74145}" presName="aSpace" presStyleCnt="0"/>
      <dgm:spPr/>
    </dgm:pt>
    <dgm:pt modelId="{9641013A-8731-49AD-B4B3-1F4A4A0C1EC7}" type="pres">
      <dgm:prSet presAssocID="{13E820B6-6DA0-4699-B22E-2A8A851C6BB9}" presName="compNode" presStyleCnt="0"/>
      <dgm:spPr/>
    </dgm:pt>
    <dgm:pt modelId="{9E91217D-00DC-45CB-806F-2C7759A51E62}" type="pres">
      <dgm:prSet presAssocID="{13E820B6-6DA0-4699-B22E-2A8A851C6BB9}" presName="aNode" presStyleLbl="bgShp" presStyleIdx="8" presStyleCnt="10"/>
      <dgm:spPr/>
    </dgm:pt>
    <dgm:pt modelId="{9EC501CB-0B27-4C5C-A25A-6C7C63FD7199}" type="pres">
      <dgm:prSet presAssocID="{13E820B6-6DA0-4699-B22E-2A8A851C6BB9}" presName="textNode" presStyleLbl="bgShp" presStyleIdx="8" presStyleCnt="10"/>
      <dgm:spPr/>
    </dgm:pt>
    <dgm:pt modelId="{D54B94C1-EC27-4112-ACD0-A82F4017660C}" type="pres">
      <dgm:prSet presAssocID="{13E820B6-6DA0-4699-B22E-2A8A851C6BB9}" presName="compChildNode" presStyleCnt="0"/>
      <dgm:spPr/>
    </dgm:pt>
    <dgm:pt modelId="{D96A9874-1911-4BDE-B627-B6BF00E2C2C0}" type="pres">
      <dgm:prSet presAssocID="{13E820B6-6DA0-4699-B22E-2A8A851C6BB9}" presName="theInnerList" presStyleCnt="0"/>
      <dgm:spPr/>
    </dgm:pt>
    <dgm:pt modelId="{87350131-EC32-4739-8C0C-5E72FA88FDA7}" type="pres">
      <dgm:prSet presAssocID="{13E820B6-6DA0-4699-B22E-2A8A851C6BB9}" presName="aSpace" presStyleCnt="0"/>
      <dgm:spPr/>
    </dgm:pt>
    <dgm:pt modelId="{A2543163-855C-4169-9C38-7C1B6227BDF6}" type="pres">
      <dgm:prSet presAssocID="{134030C6-EB8F-45A2-9108-ECAF265DD6FC}" presName="compNode" presStyleCnt="0"/>
      <dgm:spPr/>
    </dgm:pt>
    <dgm:pt modelId="{5AD177F0-BF42-4829-9DE1-29554A64BCF6}" type="pres">
      <dgm:prSet presAssocID="{134030C6-EB8F-45A2-9108-ECAF265DD6FC}" presName="aNode" presStyleLbl="bgShp" presStyleIdx="9" presStyleCnt="10"/>
      <dgm:spPr/>
    </dgm:pt>
    <dgm:pt modelId="{94E6B8A4-9651-453A-BD59-B4BE9CC93701}" type="pres">
      <dgm:prSet presAssocID="{134030C6-EB8F-45A2-9108-ECAF265DD6FC}" presName="textNode" presStyleLbl="bgShp" presStyleIdx="9" presStyleCnt="10"/>
      <dgm:spPr/>
    </dgm:pt>
    <dgm:pt modelId="{20578E55-DFFB-485C-B02B-F38A012096C3}" type="pres">
      <dgm:prSet presAssocID="{134030C6-EB8F-45A2-9108-ECAF265DD6FC}" presName="compChildNode" presStyleCnt="0"/>
      <dgm:spPr/>
    </dgm:pt>
    <dgm:pt modelId="{F70C7BEF-6025-416A-B6B9-CE2AF0BA9A28}" type="pres">
      <dgm:prSet presAssocID="{134030C6-EB8F-45A2-9108-ECAF265DD6FC}" presName="theInnerList" presStyleCnt="0"/>
      <dgm:spPr/>
    </dgm:pt>
  </dgm:ptLst>
  <dgm:cxnLst>
    <dgm:cxn modelId="{318F8305-9E86-44AF-9314-17105406F04A}" type="presOf" srcId="{D8FA6B2F-CEE9-4C05-AA3D-26432E102867}" destId="{82C66525-4B37-41E1-908F-A04C5D2DE991}" srcOrd="1" destOrd="0" presId="urn:microsoft.com/office/officeart/2005/8/layout/lProcess2"/>
    <dgm:cxn modelId="{FBA1AE09-0F0A-426D-8B46-186009110898}" type="presOf" srcId="{9E4F25BD-828A-45F9-8549-1BDA3CB94343}" destId="{BBBC3871-D759-4885-A3C2-9D7E0294E6DA}" srcOrd="1" destOrd="0" presId="urn:microsoft.com/office/officeart/2005/8/layout/lProcess2"/>
    <dgm:cxn modelId="{E6BA7A12-3E2D-4125-A56D-16F94305DFE8}" srcId="{A313D065-3E46-423B-B0AB-95B709A4BA9C}" destId="{13E820B6-6DA0-4699-B22E-2A8A851C6BB9}" srcOrd="8" destOrd="0" parTransId="{99E5C416-7EC4-43F8-B198-9562303D73BA}" sibTransId="{C596189A-6BF9-4ADB-8873-8D7EFA3A76C8}"/>
    <dgm:cxn modelId="{8FB80A19-11BC-4ABE-A627-2782D5512B38}" type="presOf" srcId="{134030C6-EB8F-45A2-9108-ECAF265DD6FC}" destId="{5AD177F0-BF42-4829-9DE1-29554A64BCF6}" srcOrd="0" destOrd="0" presId="urn:microsoft.com/office/officeart/2005/8/layout/lProcess2"/>
    <dgm:cxn modelId="{D9AFD91E-2B4B-42E9-88D9-2E394A5365B9}" type="presOf" srcId="{1411FA44-3D98-4CDE-9367-624F7D7989C1}" destId="{B530458D-5929-4A06-A607-72D6639AE003}" srcOrd="1" destOrd="0" presId="urn:microsoft.com/office/officeart/2005/8/layout/lProcess2"/>
    <dgm:cxn modelId="{5CFA6E2A-C622-4D0A-834B-8296B5C11C84}" type="presOf" srcId="{E4CDF590-9F7F-46D7-A84E-F32316D74145}" destId="{FF659824-D556-4A81-ABEF-EF16B01F56EA}" srcOrd="0" destOrd="0" presId="urn:microsoft.com/office/officeart/2005/8/layout/lProcess2"/>
    <dgm:cxn modelId="{CF1D282F-EAA5-49A7-A95E-A8FABB43BAAF}" type="presOf" srcId="{E4CDF590-9F7F-46D7-A84E-F32316D74145}" destId="{1DBC7FD5-FC4E-4F84-8F30-2EA9BC5F02A1}" srcOrd="1" destOrd="0" presId="urn:microsoft.com/office/officeart/2005/8/layout/lProcess2"/>
    <dgm:cxn modelId="{DBAAE53C-784C-426F-9385-506AB02FF4A5}" srcId="{A313D065-3E46-423B-B0AB-95B709A4BA9C}" destId="{35F61476-33C8-49D1-943B-4E985E4A0C31}" srcOrd="3" destOrd="0" parTransId="{D2F002CB-1AF5-49E3-85A5-5982928377B9}" sibTransId="{0BE281AB-5EB9-40A0-B2AF-2957C7BC9965}"/>
    <dgm:cxn modelId="{B9A4B65B-C2FB-44CB-83EA-7A35F79E7A20}" type="presOf" srcId="{FB72B8E0-7F31-46E8-B303-B9D124E3D5AF}" destId="{4AAC13E1-205B-4231-9D6D-006212104C0F}" srcOrd="1" destOrd="0" presId="urn:microsoft.com/office/officeart/2005/8/layout/lProcess2"/>
    <dgm:cxn modelId="{D791B85E-1197-4127-8D6C-B17E06FD39BF}" type="presOf" srcId="{93446BC6-14F8-4F0F-8E90-2AB4E54A691D}" destId="{077D33EA-5620-4973-89B4-1BE56D75312E}" srcOrd="1" destOrd="0" presId="urn:microsoft.com/office/officeart/2005/8/layout/lProcess2"/>
    <dgm:cxn modelId="{65B74543-2FF1-4441-B281-AA8E2244758A}" type="presOf" srcId="{134030C6-EB8F-45A2-9108-ECAF265DD6FC}" destId="{94E6B8A4-9651-453A-BD59-B4BE9CC93701}" srcOrd="1" destOrd="0" presId="urn:microsoft.com/office/officeart/2005/8/layout/lProcess2"/>
    <dgm:cxn modelId="{2BE6A643-783C-4222-8426-67D52DCAC878}" srcId="{A313D065-3E46-423B-B0AB-95B709A4BA9C}" destId="{260A285B-3648-478D-9802-F027B29B168D}" srcOrd="5" destOrd="0" parTransId="{AA4EF500-79C6-44D1-A4E7-F782B0C39777}" sibTransId="{3726A3EC-FFF0-42D1-96DF-AD05882F0A2A}"/>
    <dgm:cxn modelId="{90741044-829D-448E-94EE-42C243ADCF26}" type="presOf" srcId="{9E4F25BD-828A-45F9-8549-1BDA3CB94343}" destId="{BFE7EF33-35B6-4364-AFAA-13DD712E922D}" srcOrd="0" destOrd="0" presId="urn:microsoft.com/office/officeart/2005/8/layout/lProcess2"/>
    <dgm:cxn modelId="{3A6AA946-7C45-4E7E-8BEF-7254FCF0CAEA}" srcId="{A313D065-3E46-423B-B0AB-95B709A4BA9C}" destId="{1411FA44-3D98-4CDE-9367-624F7D7989C1}" srcOrd="4" destOrd="0" parTransId="{185C32F3-0FD3-4283-874D-F3967080D9BC}" sibTransId="{4EDE1395-F128-4FA8-B625-869099876945}"/>
    <dgm:cxn modelId="{E3033E68-5773-44B8-96F4-7E7C7022EC6C}" type="presOf" srcId="{93446BC6-14F8-4F0F-8E90-2AB4E54A691D}" destId="{00513B5F-D8F5-4888-AC70-1398C1B0E8A7}" srcOrd="0" destOrd="0" presId="urn:microsoft.com/office/officeart/2005/8/layout/lProcess2"/>
    <dgm:cxn modelId="{203CF54F-874D-4BA6-AD8D-9A35164F273C}" srcId="{A313D065-3E46-423B-B0AB-95B709A4BA9C}" destId="{D8FA6B2F-CEE9-4C05-AA3D-26432E102867}" srcOrd="1" destOrd="0" parTransId="{1173D26D-B999-4A78-8169-0E234065A748}" sibTransId="{35C53E8F-C2E2-4E00-8D75-19D606FA31AF}"/>
    <dgm:cxn modelId="{49E8BA53-09EF-42DB-A0A3-774117B9DE0C}" type="presOf" srcId="{35F61476-33C8-49D1-943B-4E985E4A0C31}" destId="{1F953C0C-DFA5-4C6B-83A0-ACBD75296A7D}" srcOrd="0" destOrd="0" presId="urn:microsoft.com/office/officeart/2005/8/layout/lProcess2"/>
    <dgm:cxn modelId="{71B1A857-C9AC-42BA-B55E-464D271A6433}" srcId="{A313D065-3E46-423B-B0AB-95B709A4BA9C}" destId="{9E4F25BD-828A-45F9-8549-1BDA3CB94343}" srcOrd="2" destOrd="0" parTransId="{2A06C36F-6133-43E5-99C1-21ADCCB75CBF}" sibTransId="{216D9BAB-AE59-4635-8D6E-A0FFCB0A0846}"/>
    <dgm:cxn modelId="{DECDAC7C-FC9B-4AE8-910C-F918C1301201}" type="presOf" srcId="{35F61476-33C8-49D1-943B-4E985E4A0C31}" destId="{E71CCD11-9F0B-4C63-9D55-78BD49FC7749}" srcOrd="1" destOrd="0" presId="urn:microsoft.com/office/officeart/2005/8/layout/lProcess2"/>
    <dgm:cxn modelId="{79A5208D-1AC0-4D23-BC74-37D1C8F6F4EB}" srcId="{A313D065-3E46-423B-B0AB-95B709A4BA9C}" destId="{134030C6-EB8F-45A2-9108-ECAF265DD6FC}" srcOrd="9" destOrd="0" parTransId="{08BA5118-D0AC-4879-9051-5C3320724865}" sibTransId="{328153E6-29A8-4E0B-8B1C-C76C14CE45B1}"/>
    <dgm:cxn modelId="{0D37718F-1061-4212-8490-F7F8F73EB09A}" srcId="{A313D065-3E46-423B-B0AB-95B709A4BA9C}" destId="{93446BC6-14F8-4F0F-8E90-2AB4E54A691D}" srcOrd="0" destOrd="0" parTransId="{37B4CBEC-A8A9-4E8C-A043-3C63415939CB}" sibTransId="{B8B640D3-3D8A-415C-82D6-C5A19AA791D1}"/>
    <dgm:cxn modelId="{4A7CA092-F81E-4434-8422-6363CAAE4D3D}" type="presOf" srcId="{13E820B6-6DA0-4699-B22E-2A8A851C6BB9}" destId="{9EC501CB-0B27-4C5C-A25A-6C7C63FD7199}" srcOrd="1" destOrd="0" presId="urn:microsoft.com/office/officeart/2005/8/layout/lProcess2"/>
    <dgm:cxn modelId="{5A603B93-0570-402E-8606-FFB157965627}" type="presOf" srcId="{A313D065-3E46-423B-B0AB-95B709A4BA9C}" destId="{A7DC98CC-EABF-45CB-9F2B-34C76DEA45AF}" srcOrd="0" destOrd="0" presId="urn:microsoft.com/office/officeart/2005/8/layout/lProcess2"/>
    <dgm:cxn modelId="{D9B3589E-285D-4D0C-9273-3B8DF34BD3CE}" type="presOf" srcId="{D8FA6B2F-CEE9-4C05-AA3D-26432E102867}" destId="{C2EA3FFF-2417-40D9-89CC-F1A35699285C}" srcOrd="0" destOrd="0" presId="urn:microsoft.com/office/officeart/2005/8/layout/lProcess2"/>
    <dgm:cxn modelId="{A165BBBC-F5F8-4218-AB39-C4543631D7EA}" srcId="{A313D065-3E46-423B-B0AB-95B709A4BA9C}" destId="{E4CDF590-9F7F-46D7-A84E-F32316D74145}" srcOrd="7" destOrd="0" parTransId="{446265B6-3375-47DE-939A-918E4804EF16}" sibTransId="{CB8ECA1D-D53F-46BC-AC25-4AEE4B82C183}"/>
    <dgm:cxn modelId="{BD69E8C2-404C-4D06-9260-43EEA453E442}" type="presOf" srcId="{FB72B8E0-7F31-46E8-B303-B9D124E3D5AF}" destId="{CD4671D1-87D7-4E8D-B019-EE7552F468A0}" srcOrd="0" destOrd="0" presId="urn:microsoft.com/office/officeart/2005/8/layout/lProcess2"/>
    <dgm:cxn modelId="{064024C9-9114-42EE-B002-98239D293725}" type="presOf" srcId="{260A285B-3648-478D-9802-F027B29B168D}" destId="{49CF4575-8BA8-44F3-BD2B-58BD4856D482}" srcOrd="1" destOrd="0" presId="urn:microsoft.com/office/officeart/2005/8/layout/lProcess2"/>
    <dgm:cxn modelId="{C871C3CF-E3B0-4FE5-9181-8B638A0F245C}" srcId="{A313D065-3E46-423B-B0AB-95B709A4BA9C}" destId="{FB72B8E0-7F31-46E8-B303-B9D124E3D5AF}" srcOrd="6" destOrd="0" parTransId="{CA9C9184-B1A5-42A4-8AA0-DCF70F75E56E}" sibTransId="{98ECAC23-ACDB-49A8-84CF-430A01FE0C46}"/>
    <dgm:cxn modelId="{BEE60CED-CEA4-4B4C-BCA4-C5F596D6C401}" type="presOf" srcId="{1411FA44-3D98-4CDE-9367-624F7D7989C1}" destId="{8745C436-B72B-4380-85A2-3799EB53BE32}" srcOrd="0" destOrd="0" presId="urn:microsoft.com/office/officeart/2005/8/layout/lProcess2"/>
    <dgm:cxn modelId="{7FEA25FC-C39E-4DCC-A0CE-3F3B3EC5A34F}" type="presOf" srcId="{260A285B-3648-478D-9802-F027B29B168D}" destId="{64A8B82D-DA79-48E6-87F5-69BF25233F6D}" srcOrd="0" destOrd="0" presId="urn:microsoft.com/office/officeart/2005/8/layout/lProcess2"/>
    <dgm:cxn modelId="{0187A7FD-8BA8-43A4-92D0-B7D5B503ED87}" type="presOf" srcId="{13E820B6-6DA0-4699-B22E-2A8A851C6BB9}" destId="{9E91217D-00DC-45CB-806F-2C7759A51E62}" srcOrd="0" destOrd="0" presId="urn:microsoft.com/office/officeart/2005/8/layout/lProcess2"/>
    <dgm:cxn modelId="{5DE2CCE3-7E05-4954-B82F-074A7DE919F2}" type="presParOf" srcId="{A7DC98CC-EABF-45CB-9F2B-34C76DEA45AF}" destId="{29EFC1B9-ECFD-408D-8B8E-CA1F4F800D05}" srcOrd="0" destOrd="0" presId="urn:microsoft.com/office/officeart/2005/8/layout/lProcess2"/>
    <dgm:cxn modelId="{CA22E9D7-C0F6-4462-9386-86E7B7997559}" type="presParOf" srcId="{29EFC1B9-ECFD-408D-8B8E-CA1F4F800D05}" destId="{00513B5F-D8F5-4888-AC70-1398C1B0E8A7}" srcOrd="0" destOrd="0" presId="urn:microsoft.com/office/officeart/2005/8/layout/lProcess2"/>
    <dgm:cxn modelId="{9ABA0A6C-5A94-4393-AA5B-177FE19CEBBF}" type="presParOf" srcId="{29EFC1B9-ECFD-408D-8B8E-CA1F4F800D05}" destId="{077D33EA-5620-4973-89B4-1BE56D75312E}" srcOrd="1" destOrd="0" presId="urn:microsoft.com/office/officeart/2005/8/layout/lProcess2"/>
    <dgm:cxn modelId="{B7DDA54A-2372-46D2-AABF-7C6013C3D6F1}" type="presParOf" srcId="{29EFC1B9-ECFD-408D-8B8E-CA1F4F800D05}" destId="{19C18CF4-AD51-40BC-A42E-92F406E4B2DE}" srcOrd="2" destOrd="0" presId="urn:microsoft.com/office/officeart/2005/8/layout/lProcess2"/>
    <dgm:cxn modelId="{8A96D889-EEB7-4543-93AC-987EAE839CD3}" type="presParOf" srcId="{19C18CF4-AD51-40BC-A42E-92F406E4B2DE}" destId="{B2C97605-E8BA-413D-8F82-2F81A2437630}" srcOrd="0" destOrd="0" presId="urn:microsoft.com/office/officeart/2005/8/layout/lProcess2"/>
    <dgm:cxn modelId="{50D6CC7D-8A1E-4D5C-AB91-DBFFEFD70AD0}" type="presParOf" srcId="{A7DC98CC-EABF-45CB-9F2B-34C76DEA45AF}" destId="{640E7B71-1BA1-4FB5-9136-7A867A8C1B40}" srcOrd="1" destOrd="0" presId="urn:microsoft.com/office/officeart/2005/8/layout/lProcess2"/>
    <dgm:cxn modelId="{3737F1EE-B776-4AD6-ACF1-059486F7C13D}" type="presParOf" srcId="{A7DC98CC-EABF-45CB-9F2B-34C76DEA45AF}" destId="{F8A3B5EF-8030-42D7-AB6A-940D5F5A9A46}" srcOrd="2" destOrd="0" presId="urn:microsoft.com/office/officeart/2005/8/layout/lProcess2"/>
    <dgm:cxn modelId="{336AFAF3-6938-4DF2-855A-8F5D42B32E89}" type="presParOf" srcId="{F8A3B5EF-8030-42D7-AB6A-940D5F5A9A46}" destId="{C2EA3FFF-2417-40D9-89CC-F1A35699285C}" srcOrd="0" destOrd="0" presId="urn:microsoft.com/office/officeart/2005/8/layout/lProcess2"/>
    <dgm:cxn modelId="{BA7F6AFF-D233-4462-860C-CFD0433CC335}" type="presParOf" srcId="{F8A3B5EF-8030-42D7-AB6A-940D5F5A9A46}" destId="{82C66525-4B37-41E1-908F-A04C5D2DE991}" srcOrd="1" destOrd="0" presId="urn:microsoft.com/office/officeart/2005/8/layout/lProcess2"/>
    <dgm:cxn modelId="{B09E7CA9-C348-428E-A64F-0AA5F4EDAD89}" type="presParOf" srcId="{F8A3B5EF-8030-42D7-AB6A-940D5F5A9A46}" destId="{3ED50058-6437-4188-802A-1C8D9E5FCE37}" srcOrd="2" destOrd="0" presId="urn:microsoft.com/office/officeart/2005/8/layout/lProcess2"/>
    <dgm:cxn modelId="{DC563620-7983-45A3-AF0B-820FA9361DC5}" type="presParOf" srcId="{3ED50058-6437-4188-802A-1C8D9E5FCE37}" destId="{78EB7194-A449-4EDD-87F6-C930956318E0}" srcOrd="0" destOrd="0" presId="urn:microsoft.com/office/officeart/2005/8/layout/lProcess2"/>
    <dgm:cxn modelId="{378F97DD-69E2-4AE7-A6AF-D06ABA0DD281}" type="presParOf" srcId="{A7DC98CC-EABF-45CB-9F2B-34C76DEA45AF}" destId="{14F00E8E-C030-4279-94EE-5671C2222ECB}" srcOrd="3" destOrd="0" presId="urn:microsoft.com/office/officeart/2005/8/layout/lProcess2"/>
    <dgm:cxn modelId="{96E2C4F0-4338-425C-8EE0-8C92869D4D93}" type="presParOf" srcId="{A7DC98CC-EABF-45CB-9F2B-34C76DEA45AF}" destId="{0B560C3B-72B5-44D0-A3D2-BB4FC0EA61C4}" srcOrd="4" destOrd="0" presId="urn:microsoft.com/office/officeart/2005/8/layout/lProcess2"/>
    <dgm:cxn modelId="{46167EE2-5AE9-45E4-8561-10463858C1F7}" type="presParOf" srcId="{0B560C3B-72B5-44D0-A3D2-BB4FC0EA61C4}" destId="{BFE7EF33-35B6-4364-AFAA-13DD712E922D}" srcOrd="0" destOrd="0" presId="urn:microsoft.com/office/officeart/2005/8/layout/lProcess2"/>
    <dgm:cxn modelId="{70C82756-E319-4102-8DCD-9F0661F074CE}" type="presParOf" srcId="{0B560C3B-72B5-44D0-A3D2-BB4FC0EA61C4}" destId="{BBBC3871-D759-4885-A3C2-9D7E0294E6DA}" srcOrd="1" destOrd="0" presId="urn:microsoft.com/office/officeart/2005/8/layout/lProcess2"/>
    <dgm:cxn modelId="{4D8A7BB0-9308-4450-8CC4-C5D83795AE09}" type="presParOf" srcId="{0B560C3B-72B5-44D0-A3D2-BB4FC0EA61C4}" destId="{08005495-41CA-445D-ACC5-3ABB1B5930F3}" srcOrd="2" destOrd="0" presId="urn:microsoft.com/office/officeart/2005/8/layout/lProcess2"/>
    <dgm:cxn modelId="{A8C8A6AC-8A43-413C-82A2-CA6CD25302EB}" type="presParOf" srcId="{08005495-41CA-445D-ACC5-3ABB1B5930F3}" destId="{DD6E6036-BACB-4E41-9337-9774781939EF}" srcOrd="0" destOrd="0" presId="urn:microsoft.com/office/officeart/2005/8/layout/lProcess2"/>
    <dgm:cxn modelId="{2EA637F5-7E1C-4046-97F7-343F26EB5012}" type="presParOf" srcId="{A7DC98CC-EABF-45CB-9F2B-34C76DEA45AF}" destId="{5B97ECE4-8505-4789-9075-D24EE41AE6C9}" srcOrd="5" destOrd="0" presId="urn:microsoft.com/office/officeart/2005/8/layout/lProcess2"/>
    <dgm:cxn modelId="{A0BC45FA-2233-4318-86D2-14B22DABBC70}" type="presParOf" srcId="{A7DC98CC-EABF-45CB-9F2B-34C76DEA45AF}" destId="{88537D65-C3AE-4418-8C5C-4BF819ABB47A}" srcOrd="6" destOrd="0" presId="urn:microsoft.com/office/officeart/2005/8/layout/lProcess2"/>
    <dgm:cxn modelId="{2D1EF065-168F-40FA-BE4A-6F0E9683AE8E}" type="presParOf" srcId="{88537D65-C3AE-4418-8C5C-4BF819ABB47A}" destId="{1F953C0C-DFA5-4C6B-83A0-ACBD75296A7D}" srcOrd="0" destOrd="0" presId="urn:microsoft.com/office/officeart/2005/8/layout/lProcess2"/>
    <dgm:cxn modelId="{A3A4C2E3-092F-439F-8B05-E3BDEF8F3E43}" type="presParOf" srcId="{88537D65-C3AE-4418-8C5C-4BF819ABB47A}" destId="{E71CCD11-9F0B-4C63-9D55-78BD49FC7749}" srcOrd="1" destOrd="0" presId="urn:microsoft.com/office/officeart/2005/8/layout/lProcess2"/>
    <dgm:cxn modelId="{047784C9-665D-497F-BEB5-2618AC53A136}" type="presParOf" srcId="{88537D65-C3AE-4418-8C5C-4BF819ABB47A}" destId="{54C8BE8F-174B-4481-A981-8E87BC68EF91}" srcOrd="2" destOrd="0" presId="urn:microsoft.com/office/officeart/2005/8/layout/lProcess2"/>
    <dgm:cxn modelId="{67E87FCA-DFC2-4432-B920-07DEA548CD09}" type="presParOf" srcId="{54C8BE8F-174B-4481-A981-8E87BC68EF91}" destId="{505E5531-3D04-478B-8063-A6A46BC8471B}" srcOrd="0" destOrd="0" presId="urn:microsoft.com/office/officeart/2005/8/layout/lProcess2"/>
    <dgm:cxn modelId="{EF176E71-0511-412B-8186-A879F25891E0}" type="presParOf" srcId="{A7DC98CC-EABF-45CB-9F2B-34C76DEA45AF}" destId="{4CE6379B-4FF4-4699-88E5-2C115D1E2D06}" srcOrd="7" destOrd="0" presId="urn:microsoft.com/office/officeart/2005/8/layout/lProcess2"/>
    <dgm:cxn modelId="{A1F8C4E8-0F8D-4D74-9108-F1BCBF53350E}" type="presParOf" srcId="{A7DC98CC-EABF-45CB-9F2B-34C76DEA45AF}" destId="{996FE46A-814B-42DB-A028-24614A85C29C}" srcOrd="8" destOrd="0" presId="urn:microsoft.com/office/officeart/2005/8/layout/lProcess2"/>
    <dgm:cxn modelId="{0D989B9A-17E2-4F8D-A669-773F470F5CC2}" type="presParOf" srcId="{996FE46A-814B-42DB-A028-24614A85C29C}" destId="{8745C436-B72B-4380-85A2-3799EB53BE32}" srcOrd="0" destOrd="0" presId="urn:microsoft.com/office/officeart/2005/8/layout/lProcess2"/>
    <dgm:cxn modelId="{D2551F27-00FC-4FCC-9FCD-4270F583E605}" type="presParOf" srcId="{996FE46A-814B-42DB-A028-24614A85C29C}" destId="{B530458D-5929-4A06-A607-72D6639AE003}" srcOrd="1" destOrd="0" presId="urn:microsoft.com/office/officeart/2005/8/layout/lProcess2"/>
    <dgm:cxn modelId="{62D273DD-2146-42B8-914D-DA6557736A49}" type="presParOf" srcId="{996FE46A-814B-42DB-A028-24614A85C29C}" destId="{2004F63E-B3AB-4C6D-9066-25D245C14132}" srcOrd="2" destOrd="0" presId="urn:microsoft.com/office/officeart/2005/8/layout/lProcess2"/>
    <dgm:cxn modelId="{38797D62-E695-4FAB-ACB0-7D9D722A8C46}" type="presParOf" srcId="{2004F63E-B3AB-4C6D-9066-25D245C14132}" destId="{8B2C8FEB-899F-482B-A7D1-14403C1CD0F9}" srcOrd="0" destOrd="0" presId="urn:microsoft.com/office/officeart/2005/8/layout/lProcess2"/>
    <dgm:cxn modelId="{7B1CAA6F-6F01-40AA-9546-62112DC08D02}" type="presParOf" srcId="{A7DC98CC-EABF-45CB-9F2B-34C76DEA45AF}" destId="{A789A354-50C8-404B-8091-3A3A33B30388}" srcOrd="9" destOrd="0" presId="urn:microsoft.com/office/officeart/2005/8/layout/lProcess2"/>
    <dgm:cxn modelId="{BCFD2626-FF45-49A0-874D-B18B1EE7EFB8}" type="presParOf" srcId="{A7DC98CC-EABF-45CB-9F2B-34C76DEA45AF}" destId="{49BA6D37-A62F-4CED-A753-F0AC8A0BC028}" srcOrd="10" destOrd="0" presId="urn:microsoft.com/office/officeart/2005/8/layout/lProcess2"/>
    <dgm:cxn modelId="{82D6883F-1F14-4E72-B1B3-3C274AF7DF8F}" type="presParOf" srcId="{49BA6D37-A62F-4CED-A753-F0AC8A0BC028}" destId="{64A8B82D-DA79-48E6-87F5-69BF25233F6D}" srcOrd="0" destOrd="0" presId="urn:microsoft.com/office/officeart/2005/8/layout/lProcess2"/>
    <dgm:cxn modelId="{92CCE9CA-60F0-4252-80DE-3567497D3F14}" type="presParOf" srcId="{49BA6D37-A62F-4CED-A753-F0AC8A0BC028}" destId="{49CF4575-8BA8-44F3-BD2B-58BD4856D482}" srcOrd="1" destOrd="0" presId="urn:microsoft.com/office/officeart/2005/8/layout/lProcess2"/>
    <dgm:cxn modelId="{C09B3D62-BCEB-4A27-AAB5-AEAAD154A79A}" type="presParOf" srcId="{49BA6D37-A62F-4CED-A753-F0AC8A0BC028}" destId="{809FB8AD-28AD-4BBE-90E2-0C2E87E4895B}" srcOrd="2" destOrd="0" presId="urn:microsoft.com/office/officeart/2005/8/layout/lProcess2"/>
    <dgm:cxn modelId="{685AD3EA-1FA7-44EB-B6DA-AF507BBF34BA}" type="presParOf" srcId="{809FB8AD-28AD-4BBE-90E2-0C2E87E4895B}" destId="{FB7119E6-291F-4D5A-97F5-06649442001C}" srcOrd="0" destOrd="0" presId="urn:microsoft.com/office/officeart/2005/8/layout/lProcess2"/>
    <dgm:cxn modelId="{6BD9F8EC-0F21-4BC1-8227-23BB920B3CF7}" type="presParOf" srcId="{A7DC98CC-EABF-45CB-9F2B-34C76DEA45AF}" destId="{F2AB3549-15DF-4F61-B333-9246BD57F23B}" srcOrd="11" destOrd="0" presId="urn:microsoft.com/office/officeart/2005/8/layout/lProcess2"/>
    <dgm:cxn modelId="{D961EDB7-278F-4E1F-BA0C-20ABFA076FC1}" type="presParOf" srcId="{A7DC98CC-EABF-45CB-9F2B-34C76DEA45AF}" destId="{77ED7814-E24A-4AC8-B476-85AFE17E563A}" srcOrd="12" destOrd="0" presId="urn:microsoft.com/office/officeart/2005/8/layout/lProcess2"/>
    <dgm:cxn modelId="{DAA2D060-FC81-4AE0-826F-6E291AAE0E72}" type="presParOf" srcId="{77ED7814-E24A-4AC8-B476-85AFE17E563A}" destId="{CD4671D1-87D7-4E8D-B019-EE7552F468A0}" srcOrd="0" destOrd="0" presId="urn:microsoft.com/office/officeart/2005/8/layout/lProcess2"/>
    <dgm:cxn modelId="{F9EC9E30-9633-41F3-BF65-810EB8CB5DA3}" type="presParOf" srcId="{77ED7814-E24A-4AC8-B476-85AFE17E563A}" destId="{4AAC13E1-205B-4231-9D6D-006212104C0F}" srcOrd="1" destOrd="0" presId="urn:microsoft.com/office/officeart/2005/8/layout/lProcess2"/>
    <dgm:cxn modelId="{811B60FD-B090-47C9-97D2-A589BF58853F}" type="presParOf" srcId="{77ED7814-E24A-4AC8-B476-85AFE17E563A}" destId="{D281FD8D-8EC6-4231-9B13-955E724F9824}" srcOrd="2" destOrd="0" presId="urn:microsoft.com/office/officeart/2005/8/layout/lProcess2"/>
    <dgm:cxn modelId="{49B01803-27A3-4C84-9C40-66CBF8F0941A}" type="presParOf" srcId="{D281FD8D-8EC6-4231-9B13-955E724F9824}" destId="{56C33FAA-0FB6-4C80-B214-6FCBA9674C76}" srcOrd="0" destOrd="0" presId="urn:microsoft.com/office/officeart/2005/8/layout/lProcess2"/>
    <dgm:cxn modelId="{8748B34E-D4F8-45DB-9E8C-D8DA6CA4B019}" type="presParOf" srcId="{A7DC98CC-EABF-45CB-9F2B-34C76DEA45AF}" destId="{34C8DC27-E6BA-495A-A3A2-728D2FDA4A65}" srcOrd="13" destOrd="0" presId="urn:microsoft.com/office/officeart/2005/8/layout/lProcess2"/>
    <dgm:cxn modelId="{07F6E44E-741B-472B-AF27-30AA2F71CC1C}" type="presParOf" srcId="{A7DC98CC-EABF-45CB-9F2B-34C76DEA45AF}" destId="{828D59C2-37BA-44F6-B1EC-B839D8EEDFE0}" srcOrd="14" destOrd="0" presId="urn:microsoft.com/office/officeart/2005/8/layout/lProcess2"/>
    <dgm:cxn modelId="{5C791717-9D3E-44CB-9E57-7AB433863503}" type="presParOf" srcId="{828D59C2-37BA-44F6-B1EC-B839D8EEDFE0}" destId="{FF659824-D556-4A81-ABEF-EF16B01F56EA}" srcOrd="0" destOrd="0" presId="urn:microsoft.com/office/officeart/2005/8/layout/lProcess2"/>
    <dgm:cxn modelId="{798B06E8-1C88-4E0D-9817-B312BC801D1A}" type="presParOf" srcId="{828D59C2-37BA-44F6-B1EC-B839D8EEDFE0}" destId="{1DBC7FD5-FC4E-4F84-8F30-2EA9BC5F02A1}" srcOrd="1" destOrd="0" presId="urn:microsoft.com/office/officeart/2005/8/layout/lProcess2"/>
    <dgm:cxn modelId="{9D8CD4DE-1094-4D5A-AFA0-12FCEEA47FBE}" type="presParOf" srcId="{828D59C2-37BA-44F6-B1EC-B839D8EEDFE0}" destId="{14D29613-8F80-4CA6-A9AB-B55B0E6E7FB6}" srcOrd="2" destOrd="0" presId="urn:microsoft.com/office/officeart/2005/8/layout/lProcess2"/>
    <dgm:cxn modelId="{66F36598-8BFF-457F-AF6E-5AB862E73772}" type="presParOf" srcId="{14D29613-8F80-4CA6-A9AB-B55B0E6E7FB6}" destId="{451262CB-98C2-4FAD-A47F-DF29B63C9655}" srcOrd="0" destOrd="0" presId="urn:microsoft.com/office/officeart/2005/8/layout/lProcess2"/>
    <dgm:cxn modelId="{136CC256-3CEA-4B61-A9BA-667D03D29885}" type="presParOf" srcId="{A7DC98CC-EABF-45CB-9F2B-34C76DEA45AF}" destId="{FEC3006D-4B01-4543-BC1E-778D4DFA0346}" srcOrd="15" destOrd="0" presId="urn:microsoft.com/office/officeart/2005/8/layout/lProcess2"/>
    <dgm:cxn modelId="{7BD5F8CC-9060-49E5-9253-58E9CAC3BD43}" type="presParOf" srcId="{A7DC98CC-EABF-45CB-9F2B-34C76DEA45AF}" destId="{9641013A-8731-49AD-B4B3-1F4A4A0C1EC7}" srcOrd="16" destOrd="0" presId="urn:microsoft.com/office/officeart/2005/8/layout/lProcess2"/>
    <dgm:cxn modelId="{BF8890C6-D9E7-427B-B5EE-6D1B0AC0E15C}" type="presParOf" srcId="{9641013A-8731-49AD-B4B3-1F4A4A0C1EC7}" destId="{9E91217D-00DC-45CB-806F-2C7759A51E62}" srcOrd="0" destOrd="0" presId="urn:microsoft.com/office/officeart/2005/8/layout/lProcess2"/>
    <dgm:cxn modelId="{ADF372DE-9FCE-44EF-ABDF-ACA3E74EA008}" type="presParOf" srcId="{9641013A-8731-49AD-B4B3-1F4A4A0C1EC7}" destId="{9EC501CB-0B27-4C5C-A25A-6C7C63FD7199}" srcOrd="1" destOrd="0" presId="urn:microsoft.com/office/officeart/2005/8/layout/lProcess2"/>
    <dgm:cxn modelId="{DCBCB378-B965-43FE-8277-395DCA6256BF}" type="presParOf" srcId="{9641013A-8731-49AD-B4B3-1F4A4A0C1EC7}" destId="{D54B94C1-EC27-4112-ACD0-A82F4017660C}" srcOrd="2" destOrd="0" presId="urn:microsoft.com/office/officeart/2005/8/layout/lProcess2"/>
    <dgm:cxn modelId="{A611B52F-72DF-40FC-836C-DF1422892F17}" type="presParOf" srcId="{D54B94C1-EC27-4112-ACD0-A82F4017660C}" destId="{D96A9874-1911-4BDE-B627-B6BF00E2C2C0}" srcOrd="0" destOrd="0" presId="urn:microsoft.com/office/officeart/2005/8/layout/lProcess2"/>
    <dgm:cxn modelId="{EDC794B7-C201-47A0-9FBF-C44BE1C306B0}" type="presParOf" srcId="{A7DC98CC-EABF-45CB-9F2B-34C76DEA45AF}" destId="{87350131-EC32-4739-8C0C-5E72FA88FDA7}" srcOrd="17" destOrd="0" presId="urn:microsoft.com/office/officeart/2005/8/layout/lProcess2"/>
    <dgm:cxn modelId="{F7F4EF9C-90B6-4714-B3E5-BBB580E605D1}" type="presParOf" srcId="{A7DC98CC-EABF-45CB-9F2B-34C76DEA45AF}" destId="{A2543163-855C-4169-9C38-7C1B6227BDF6}" srcOrd="18" destOrd="0" presId="urn:microsoft.com/office/officeart/2005/8/layout/lProcess2"/>
    <dgm:cxn modelId="{2A0895D4-092C-40C8-926A-6885FB162DA9}" type="presParOf" srcId="{A2543163-855C-4169-9C38-7C1B6227BDF6}" destId="{5AD177F0-BF42-4829-9DE1-29554A64BCF6}" srcOrd="0" destOrd="0" presId="urn:microsoft.com/office/officeart/2005/8/layout/lProcess2"/>
    <dgm:cxn modelId="{8F3E4DFE-D42E-4C79-A648-06DB6CD5BDA9}" type="presParOf" srcId="{A2543163-855C-4169-9C38-7C1B6227BDF6}" destId="{94E6B8A4-9651-453A-BD59-B4BE9CC93701}" srcOrd="1" destOrd="0" presId="urn:microsoft.com/office/officeart/2005/8/layout/lProcess2"/>
    <dgm:cxn modelId="{C9F45F0C-2428-4269-B10B-0F1806A08A12}" type="presParOf" srcId="{A2543163-855C-4169-9C38-7C1B6227BDF6}" destId="{20578E55-DFFB-485C-B02B-F38A012096C3}" srcOrd="2" destOrd="0" presId="urn:microsoft.com/office/officeart/2005/8/layout/lProcess2"/>
    <dgm:cxn modelId="{E0861A1D-5821-4747-98E9-43624B5C742B}" type="presParOf" srcId="{20578E55-DFFB-485C-B02B-F38A012096C3}" destId="{F70C7BEF-6025-416A-B6B9-CE2AF0BA9A28}"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513B5F-D8F5-4888-AC70-1398C1B0E8A7}">
      <dsp:nvSpPr>
        <dsp:cNvPr id="0" name=""/>
        <dsp:cNvSpPr/>
      </dsp:nvSpPr>
      <dsp:spPr>
        <a:xfrm>
          <a:off x="2743"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IaaS</a:t>
          </a:r>
          <a:br>
            <a:rPr lang="en-US" sz="1600" kern="1200"/>
          </a:br>
          <a:r>
            <a:rPr lang="en-US" sz="1600" kern="1200"/>
            <a:t>VMs</a:t>
          </a:r>
        </a:p>
      </dsp:txBody>
      <dsp:txXfrm>
        <a:off x="2743" y="0"/>
        <a:ext cx="984553" cy="1270662"/>
      </dsp:txXfrm>
    </dsp:sp>
    <dsp:sp modelId="{C2EA3FFF-2417-40D9-89CC-F1A35699285C}">
      <dsp:nvSpPr>
        <dsp:cNvPr id="0" name=""/>
        <dsp:cNvSpPr/>
      </dsp:nvSpPr>
      <dsp:spPr>
        <a:xfrm>
          <a:off x="1061139"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VM Scale Sets</a:t>
          </a:r>
        </a:p>
      </dsp:txBody>
      <dsp:txXfrm>
        <a:off x="1061139" y="0"/>
        <a:ext cx="984553" cy="1270662"/>
      </dsp:txXfrm>
    </dsp:sp>
    <dsp:sp modelId="{BFE7EF33-35B6-4364-AFAA-13DD712E922D}">
      <dsp:nvSpPr>
        <dsp:cNvPr id="0" name=""/>
        <dsp:cNvSpPr/>
      </dsp:nvSpPr>
      <dsp:spPr>
        <a:xfrm>
          <a:off x="2119534"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zure Container Service</a:t>
          </a:r>
        </a:p>
      </dsp:txBody>
      <dsp:txXfrm>
        <a:off x="2119534" y="0"/>
        <a:ext cx="984553" cy="1270662"/>
      </dsp:txXfrm>
    </dsp:sp>
    <dsp:sp modelId="{1F953C0C-DFA5-4C6B-83A0-ACBD75296A7D}">
      <dsp:nvSpPr>
        <dsp:cNvPr id="0" name=""/>
        <dsp:cNvSpPr/>
      </dsp:nvSpPr>
      <dsp:spPr>
        <a:xfrm>
          <a:off x="3177929"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Service Fabric</a:t>
          </a:r>
        </a:p>
      </dsp:txBody>
      <dsp:txXfrm>
        <a:off x="3177929" y="0"/>
        <a:ext cx="984553" cy="1270662"/>
      </dsp:txXfrm>
    </dsp:sp>
    <dsp:sp modelId="{8745C436-B72B-4380-85A2-3799EB53BE32}">
      <dsp:nvSpPr>
        <dsp:cNvPr id="0" name=""/>
        <dsp:cNvSpPr/>
      </dsp:nvSpPr>
      <dsp:spPr>
        <a:xfrm>
          <a:off x="4236325"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Cloud Services</a:t>
          </a:r>
        </a:p>
      </dsp:txBody>
      <dsp:txXfrm>
        <a:off x="4236325" y="0"/>
        <a:ext cx="984553" cy="1270662"/>
      </dsp:txXfrm>
    </dsp:sp>
    <dsp:sp modelId="{64A8B82D-DA79-48E6-87F5-69BF25233F6D}">
      <dsp:nvSpPr>
        <dsp:cNvPr id="0" name=""/>
        <dsp:cNvSpPr/>
      </dsp:nvSpPr>
      <dsp:spPr>
        <a:xfrm>
          <a:off x="5294720"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Batch</a:t>
          </a:r>
        </a:p>
      </dsp:txBody>
      <dsp:txXfrm>
        <a:off x="5294720" y="0"/>
        <a:ext cx="984553" cy="1270662"/>
      </dsp:txXfrm>
    </dsp:sp>
    <dsp:sp modelId="{CD4671D1-87D7-4E8D-B019-EE7552F468A0}">
      <dsp:nvSpPr>
        <dsp:cNvPr id="0" name=""/>
        <dsp:cNvSpPr/>
      </dsp:nvSpPr>
      <dsp:spPr>
        <a:xfrm>
          <a:off x="6353116"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pp Service</a:t>
          </a:r>
        </a:p>
      </dsp:txBody>
      <dsp:txXfrm>
        <a:off x="6353116" y="0"/>
        <a:ext cx="984553" cy="1270662"/>
      </dsp:txXfrm>
    </dsp:sp>
    <dsp:sp modelId="{FF659824-D556-4A81-ABEF-EF16B01F56EA}">
      <dsp:nvSpPr>
        <dsp:cNvPr id="0" name=""/>
        <dsp:cNvSpPr/>
      </dsp:nvSpPr>
      <dsp:spPr>
        <a:xfrm>
          <a:off x="7411511"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zure Container Instances</a:t>
          </a:r>
        </a:p>
      </dsp:txBody>
      <dsp:txXfrm>
        <a:off x="7411511" y="0"/>
        <a:ext cx="984553" cy="1270662"/>
      </dsp:txXfrm>
    </dsp:sp>
    <dsp:sp modelId="{9E91217D-00DC-45CB-806F-2C7759A51E62}">
      <dsp:nvSpPr>
        <dsp:cNvPr id="0" name=""/>
        <dsp:cNvSpPr/>
      </dsp:nvSpPr>
      <dsp:spPr>
        <a:xfrm>
          <a:off x="8469906"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Logic Apps</a:t>
          </a:r>
        </a:p>
      </dsp:txBody>
      <dsp:txXfrm>
        <a:off x="8469906" y="0"/>
        <a:ext cx="984553" cy="1270662"/>
      </dsp:txXfrm>
    </dsp:sp>
    <dsp:sp modelId="{5AD177F0-BF42-4829-9DE1-29554A64BCF6}">
      <dsp:nvSpPr>
        <dsp:cNvPr id="0" name=""/>
        <dsp:cNvSpPr/>
      </dsp:nvSpPr>
      <dsp:spPr>
        <a:xfrm>
          <a:off x="9528302"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Functions</a:t>
          </a:r>
        </a:p>
      </dsp:txBody>
      <dsp:txXfrm>
        <a:off x="9528302" y="0"/>
        <a:ext cx="984553" cy="1270662"/>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062A7C-A138-4D03-9072-822358724BC4}" type="datetimeFigureOut">
              <a:rPr lang="en-US" smtClean="0"/>
              <a:t>6/3/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B32C7E-D9C3-40D4-8B5C-4BFC5FA60907}" type="slidenum">
              <a:rPr lang="en-US" smtClean="0"/>
              <a:t>‹#›</a:t>
            </a:fld>
            <a:endParaRPr lang="en-US" dirty="0"/>
          </a:p>
        </p:txBody>
      </p:sp>
    </p:spTree>
    <p:extLst>
      <p:ext uri="{BB962C8B-B14F-4D97-AF65-F5344CB8AC3E}">
        <p14:creationId xmlns:p14="http://schemas.microsoft.com/office/powerpoint/2010/main" val="3279407262"/>
      </p:ext>
    </p:extLst>
  </p:cSld>
  <p:clrMap bg1="lt1" tx1="dk1" bg2="lt2" tx2="dk2" accent1="accent1" accent2="accent2" accent3="accent3" accent4="accent4" accent5="accent5" accent6="accent6" hlink="hlink" folHlink="folHlink"/>
  <p:notesStyle>
    <a:lvl1pPr marL="0" algn="l" defTabSz="914314" rtl="0" eaLnBrk="1" latinLnBrk="0" hangingPunct="1">
      <a:defRPr sz="1200" kern="1200">
        <a:solidFill>
          <a:schemeClr val="tx1"/>
        </a:solidFill>
        <a:latin typeface="+mn-lt"/>
        <a:ea typeface="+mn-ea"/>
        <a:cs typeface="+mn-cs"/>
      </a:defRPr>
    </a:lvl1pPr>
    <a:lvl2pPr marL="457157" algn="l" defTabSz="914314" rtl="0" eaLnBrk="1" latinLnBrk="0" hangingPunct="1">
      <a:defRPr sz="1200" kern="1200">
        <a:solidFill>
          <a:schemeClr val="tx1"/>
        </a:solidFill>
        <a:latin typeface="+mn-lt"/>
        <a:ea typeface="+mn-ea"/>
        <a:cs typeface="+mn-cs"/>
      </a:defRPr>
    </a:lvl2pPr>
    <a:lvl3pPr marL="914314" algn="l" defTabSz="914314" rtl="0" eaLnBrk="1" latinLnBrk="0" hangingPunct="1">
      <a:defRPr sz="1200" kern="1200">
        <a:solidFill>
          <a:schemeClr val="tx1"/>
        </a:solidFill>
        <a:latin typeface="+mn-lt"/>
        <a:ea typeface="+mn-ea"/>
        <a:cs typeface="+mn-cs"/>
      </a:defRPr>
    </a:lvl3pPr>
    <a:lvl4pPr marL="1371471" algn="l" defTabSz="914314" rtl="0" eaLnBrk="1" latinLnBrk="0" hangingPunct="1">
      <a:defRPr sz="1200" kern="1200">
        <a:solidFill>
          <a:schemeClr val="tx1"/>
        </a:solidFill>
        <a:latin typeface="+mn-lt"/>
        <a:ea typeface="+mn-ea"/>
        <a:cs typeface="+mn-cs"/>
      </a:defRPr>
    </a:lvl4pPr>
    <a:lvl5pPr marL="1828628" algn="l" defTabSz="914314" rtl="0" eaLnBrk="1" latinLnBrk="0" hangingPunct="1">
      <a:defRPr sz="1200" kern="1200">
        <a:solidFill>
          <a:schemeClr val="tx1"/>
        </a:solidFill>
        <a:latin typeface="+mn-lt"/>
        <a:ea typeface="+mn-ea"/>
        <a:cs typeface="+mn-cs"/>
      </a:defRPr>
    </a:lvl5pPr>
    <a:lvl6pPr marL="2285785" algn="l" defTabSz="914314" rtl="0" eaLnBrk="1" latinLnBrk="0" hangingPunct="1">
      <a:defRPr sz="1200" kern="1200">
        <a:solidFill>
          <a:schemeClr val="tx1"/>
        </a:solidFill>
        <a:latin typeface="+mn-lt"/>
        <a:ea typeface="+mn-ea"/>
        <a:cs typeface="+mn-cs"/>
      </a:defRPr>
    </a:lvl6pPr>
    <a:lvl7pPr marL="2742942" algn="l" defTabSz="914314" rtl="0" eaLnBrk="1" latinLnBrk="0" hangingPunct="1">
      <a:defRPr sz="1200" kern="1200">
        <a:solidFill>
          <a:schemeClr val="tx1"/>
        </a:solidFill>
        <a:latin typeface="+mn-lt"/>
        <a:ea typeface="+mn-ea"/>
        <a:cs typeface="+mn-cs"/>
      </a:defRPr>
    </a:lvl7pPr>
    <a:lvl8pPr marL="3200099" algn="l" defTabSz="914314" rtl="0" eaLnBrk="1" latinLnBrk="0" hangingPunct="1">
      <a:defRPr sz="1200" kern="1200">
        <a:solidFill>
          <a:schemeClr val="tx1"/>
        </a:solidFill>
        <a:latin typeface="+mn-lt"/>
        <a:ea typeface="+mn-ea"/>
        <a:cs typeface="+mn-cs"/>
      </a:defRPr>
    </a:lvl8pPr>
    <a:lvl9pPr marL="3657256" algn="l" defTabSz="91431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3" Type="http://schemas.openxmlformats.org/officeDocument/2006/relationships/hyperlink" Target="https://docs.microsoft.com/en-us/azure/virtual-machines/windows/resize-vm" TargetMode="External"/><Relationship Id="rId2" Type="http://schemas.openxmlformats.org/officeDocument/2006/relationships/slide" Target="../slides/slide111.xml"/><Relationship Id="rId1" Type="http://schemas.openxmlformats.org/officeDocument/2006/relationships/notesMaster" Target="../notesMasters/notesMaster1.xml"/><Relationship Id="rId4" Type="http://schemas.openxmlformats.org/officeDocument/2006/relationships/hyperlink" Target="https://docs.microsoft.com/en-us/azure/monitoring-and-diagnostics/monitoring-overview-autoscale#resource-metrics" TargetMode="External"/></Relationships>
</file>

<file path=ppt/notesSlides/_rels/notesSlide101.xml.rels><?xml version="1.0" encoding="UTF-8" standalone="yes"?>
<Relationships xmlns="http://schemas.openxmlformats.org/package/2006/relationships"><Relationship Id="rId3" Type="http://schemas.openxmlformats.org/officeDocument/2006/relationships/hyperlink" Target="https://azure.microsoft.com/en-us/documentation/services/virtual-machines-scale-sets/" TargetMode="External"/><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3" Type="http://schemas.openxmlformats.org/officeDocument/2006/relationships/hyperlink" Target="https://azure.microsoft.com/en-us/pricing/details/storage/blobs/" TargetMode="External"/><Relationship Id="rId2" Type="http://schemas.openxmlformats.org/officeDocument/2006/relationships/slide" Target="../slides/slide113.xml"/><Relationship Id="rId1" Type="http://schemas.openxmlformats.org/officeDocument/2006/relationships/notesMaster" Target="../notesMasters/notesMaster1.xml"/><Relationship Id="rId4" Type="http://schemas.openxmlformats.org/officeDocument/2006/relationships/hyperlink" Target="https://docs.microsoft.com/en-us/azure/security/azure-security-disk-encryption#disk-encryption-deployment-scenarios-and-user-experiences" TargetMode="External"/></Relationships>
</file>

<file path=ppt/notesSlides/_rels/notesSlide103.xml.rels><?xml version="1.0" encoding="UTF-8" standalone="yes"?>
<Relationships xmlns="http://schemas.openxmlformats.org/package/2006/relationships"><Relationship Id="rId3" Type="http://schemas.openxmlformats.org/officeDocument/2006/relationships/hyperlink" Target="https://docs.microsoft.com/en-us/azure/virtual-machines/windows/capture-image-resource" TargetMode="External"/><Relationship Id="rId2" Type="http://schemas.openxmlformats.org/officeDocument/2006/relationships/slide" Target="../slides/slide114.xml"/><Relationship Id="rId1" Type="http://schemas.openxmlformats.org/officeDocument/2006/relationships/notesMaster" Target="../notesMasters/notesMaster1.xml"/><Relationship Id="rId5" Type="http://schemas.openxmlformats.org/officeDocument/2006/relationships/hyperlink" Target="https://docs.microsoft.com/en-us/azure/storage/storage-incremental-snapshots" TargetMode="External"/><Relationship Id="rId4" Type="http://schemas.openxmlformats.org/officeDocument/2006/relationships/hyperlink" Target="https://docs.microsoft.com/en-us/azure/storage/storage-managed-disks-overview#images-versus-snapshots" TargetMode="External"/></Relationships>
</file>

<file path=ppt/notesSlides/_rels/notesSlide104.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move-resources" TargetMode="External"/><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overview#resource-groups" TargetMode="External"/><Relationship Id="rId2" Type="http://schemas.openxmlformats.org/officeDocument/2006/relationships/slide" Target="../slides/slide119.xml"/><Relationship Id="rId1" Type="http://schemas.openxmlformats.org/officeDocument/2006/relationships/notesMaster" Target="../notesMasters/notesMaster1.xml"/><Relationship Id="rId5" Type="http://schemas.openxmlformats.org/officeDocument/2006/relationships/hyperlink" Target="https://docs.microsoft.com/en-us/azure/azure-resource-manager/resource-group-overview#template-deployment" TargetMode="External"/><Relationship Id="rId4" Type="http://schemas.openxmlformats.org/officeDocument/2006/relationships/hyperlink" Target="https://docs.microsoft.com/en-us/azure/azure-resource-manager/resource-group-overview#resource-providers" TargetMode="Externa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template-best-practices#variables" TargetMode="External"/><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define-dependencies" TargetMode="External"/><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template-deploy" TargetMode="External"/><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3" Type="http://schemas.openxmlformats.org/officeDocument/2006/relationships/hyperlink" Target="https://azure.microsoft.com/en-us/regions/" TargetMode="External"/><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3" Type="http://schemas.openxmlformats.org/officeDocument/2006/relationships/hyperlink" Target="https://azure.microsoft.com/en-us/regions/" TargetMode="External"/><Relationship Id="rId2" Type="http://schemas.openxmlformats.org/officeDocument/2006/relationships/slide" Target="../slides/slide140.xml"/><Relationship Id="rId1" Type="http://schemas.openxmlformats.org/officeDocument/2006/relationships/notesMaster" Target="../notesMasters/notesMaster1.xml"/><Relationship Id="rId4" Type="http://schemas.openxmlformats.org/officeDocument/2006/relationships/hyperlink" Target="https://docs.microsoft.com/en-us/azure/best-practices-availability-paired-regions#what-are-paired-regions"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3" Type="http://schemas.openxmlformats.org/officeDocument/2006/relationships/hyperlink" Target="https://docs.microsoft.com/en-us/azure/traffic-manager/traffic-manager-routing-methods" TargetMode="External"/><Relationship Id="rId2" Type="http://schemas.openxmlformats.org/officeDocument/2006/relationships/slide" Target="../slides/slide141.xml"/><Relationship Id="rId1" Type="http://schemas.openxmlformats.org/officeDocument/2006/relationships/notesMaster" Target="../notesMasters/notesMaster1.xml"/><Relationship Id="rId4" Type="http://schemas.openxmlformats.org/officeDocument/2006/relationships/hyperlink" Target="https://docs.microsoft.com/en-us/azure/traffic-manager/traffic-manager-monitoring" TargetMode="Externa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docs.microsoft.com/en-us/azure/virtual-machines/windows/acu"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docs.microsoft.com/en-us/azure/virtual-machines/windows/managed-disks-overview"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docs.microsoft.com/en-us/azure/architecture/reference-architectures/virtual-machines-linux/single-vm"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docs.microsoft.com/en-us/azure/virtual-machines/windows/faq-for-disks" TargetMode="External"/><Relationship Id="rId2" Type="http://schemas.openxmlformats.org/officeDocument/2006/relationships/slide" Target="../slides/slide44.xml"/><Relationship Id="rId1" Type="http://schemas.openxmlformats.org/officeDocument/2006/relationships/notesMaster" Target="../notesMasters/notesMaster1.xml"/><Relationship Id="rId5" Type="http://schemas.openxmlformats.org/officeDocument/2006/relationships/hyperlink" Target="https://docs.microsoft.com/en-us/azure/virtual-machines/windows/manage-availability" TargetMode="External"/><Relationship Id="rId4" Type="http://schemas.openxmlformats.org/officeDocument/2006/relationships/hyperlink" Target="https://docs.microsoft.com/en-us/azure/virtual-machines/linux/manage-availability?#use-managed-disks-for-vms-in-an-availability-set" TargetMode="Externa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azureplatform-dev.azurewebsites.net/Content/release-notes.txt"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3" Type="http://schemas.openxmlformats.org/officeDocument/2006/relationships/hyperlink" Target="https://docs.microsoft.com/en-us/azure/virtual-machines/linux/endorsed-distros" TargetMode="External"/><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dirty="0">
                <a:latin typeface="Segoe" panose="020B0502040504020203" pitchFamily="34" charset="0"/>
                <a:cs typeface="Arial" panose="020B0604020202020204" pitchFamily="34" charset="0"/>
              </a:rPr>
              <a:t>Welcome students to the course and introduce yourself. Provide a brief overview of your background to establish credibility.</a:t>
            </a:r>
          </a:p>
          <a:p>
            <a:pPr marL="0" marR="0" indent="0" algn="l" defTabSz="914400" rtl="0" eaLnBrk="1" fontAlgn="auto" latinLnBrk="0" hangingPunct="1">
              <a:lnSpc>
                <a:spcPct val="100000"/>
              </a:lnSpc>
              <a:spcBef>
                <a:spcPts val="0"/>
              </a:spcBef>
              <a:spcAft>
                <a:spcPts val="0"/>
              </a:spcAft>
              <a:buClrTx/>
              <a:buSzTx/>
              <a:buFontTx/>
              <a:buNone/>
              <a:tabLst/>
              <a:defRPr/>
            </a:pPr>
            <a:endParaRPr lang="en-CA" sz="1200" dirty="0">
              <a:latin typeface="Arial" panose="020B0604020202020204" pitchFamily="34" charset="0"/>
              <a:cs typeface="Arial" panose="020B0604020202020204" pitchFamily="34" charset="0"/>
            </a:endParaRPr>
          </a:p>
          <a:p>
            <a:endParaRPr lang="en-CA"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04C05FC6-45CD-407B-9538-F397EFA5C0C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Rectangle 3"/>
          <p:cNvSpPr>
            <a:spLocks noGrp="1" noChangeArrowheads="1"/>
          </p:cNvSpPr>
          <p:nvPr>
            <p:ph type="dt" sz="quarter" idx="1"/>
          </p:nvPr>
        </p:nvSpPr>
        <p:spPr>
          <a:xfrm>
            <a:off x="264815" y="186683"/>
            <a:ext cx="1955088" cy="485365"/>
          </a:xfrm>
        </p:spPr>
        <p:txBody>
          <a:bodyPr/>
          <a:lstStyle/>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Course 20347A</a:t>
            </a: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itchFamily="34" charset="0"/>
                <a:ea typeface="+mn-ea"/>
                <a:cs typeface="Arial" pitchFamily="34" charset="0"/>
              </a:rPr>
              <a:t>Module</a:t>
            </a:r>
            <a:r>
              <a:rPr kumimoji="0" lang="en-US"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 </a:t>
            </a:r>
            <a:r>
              <a:rPr kumimoji="0" lang="en-US" sz="1200" b="1" i="0" u="none" strike="noStrike" kern="1200" cap="none" spc="0" normalizeH="0" baseline="0" noProof="0" dirty="0">
                <a:ln>
                  <a:noFill/>
                </a:ln>
                <a:solidFill>
                  <a:srgbClr val="336699"/>
                </a:solidFill>
                <a:effectLst/>
                <a:uLnTx/>
                <a:uFillTx/>
                <a:latin typeface="Arial" pitchFamily="34" charset="0"/>
                <a:ea typeface="+mn-ea"/>
                <a:cs typeface="Arial" pitchFamily="34" charset="0"/>
              </a:rPr>
              <a:t>0: Introduction</a:t>
            </a:r>
          </a:p>
          <a:p>
            <a:pPr marL="0" marR="0" lvl="0" indent="0" algn="r" defTabSz="9322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a:p>
            <a:pPr marL="0" marR="0" lvl="0" indent="0" algn="r" defTabSz="9322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647528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436778"/>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b="1" dirty="0">
                <a:solidFill>
                  <a:srgbClr val="FF0000"/>
                </a:solidFill>
              </a:rPr>
              <a:t>If the VM is part of an availability set and the new size is not supported in the cluster, all VMs in the availability set will need to be deallocated for the resize to happen</a:t>
            </a:r>
          </a:p>
          <a:p>
            <a:pPr lvl="1"/>
            <a:r>
              <a:rPr lang="en-US" dirty="0">
                <a:hlinkClick r:id="rId3"/>
              </a:rPr>
              <a:t>https://docs.microsoft.com/en-us/azure/virtual-machines/windows/resize-vm</a:t>
            </a:r>
            <a:endParaRPr lang="en-US" dirty="0"/>
          </a:p>
          <a:p>
            <a:endParaRPr lang="en-US" dirty="0"/>
          </a:p>
          <a:p>
            <a:pPr lvl="2"/>
            <a:r>
              <a:rPr lang="en-US" dirty="0"/>
              <a:t>- </a:t>
            </a:r>
            <a:r>
              <a:rPr lang="en-US" b="1" dirty="0">
                <a:solidFill>
                  <a:srgbClr val="FF0000"/>
                </a:solidFill>
              </a:rPr>
              <a:t>Azure </a:t>
            </a:r>
            <a:r>
              <a:rPr lang="en-US" b="1" dirty="0" err="1">
                <a:solidFill>
                  <a:srgbClr val="FF0000"/>
                </a:solidFill>
              </a:rPr>
              <a:t>Autoscale</a:t>
            </a:r>
            <a:endParaRPr lang="en-US" b="1" dirty="0">
              <a:solidFill>
                <a:srgbClr val="FF0000"/>
              </a:solidFill>
            </a:endParaRPr>
          </a:p>
          <a:p>
            <a:pPr lvl="3"/>
            <a:r>
              <a:rPr lang="en-US" dirty="0"/>
              <a:t>System Metrics (CPU, RAM, </a:t>
            </a:r>
            <a:r>
              <a:rPr lang="en-US" dirty="0" err="1"/>
              <a:t>etc</a:t>
            </a:r>
            <a:r>
              <a:rPr lang="en-US" dirty="0"/>
              <a:t>)</a:t>
            </a:r>
          </a:p>
          <a:p>
            <a:pPr lvl="3"/>
            <a:r>
              <a:rPr lang="en-US" dirty="0"/>
              <a:t>Custom Metrics </a:t>
            </a:r>
            <a:r>
              <a:rPr lang="en-US" dirty="0">
                <a:hlinkClick r:id="rId4"/>
              </a:rPr>
              <a:t>https://docs.microsoft.com/en-us/azure/monitoring-and-diagnostics/monitoring-overview-autoscale#resource-metrics</a:t>
            </a:r>
            <a:endParaRPr lang="en-US" dirty="0"/>
          </a:p>
          <a:p>
            <a:pPr lvl="1"/>
            <a:r>
              <a:rPr lang="en-US" dirty="0"/>
              <a:t>Scale</a:t>
            </a:r>
          </a:p>
          <a:p>
            <a:pPr lvl="2"/>
            <a:r>
              <a:rPr lang="en-US" dirty="0"/>
              <a:t>Up/Down</a:t>
            </a:r>
          </a:p>
          <a:p>
            <a:pPr lvl="2"/>
            <a:r>
              <a:rPr lang="en-US" dirty="0"/>
              <a:t>In/Ou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54143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u="sng" dirty="0">
                <a:solidFill>
                  <a:srgbClr val="0563C1"/>
                </a:solidFill>
                <a:latin typeface="Segoe UI" panose="020B0502040204020203" pitchFamily="34" charset="0"/>
                <a:ea typeface="Calibri" panose="020F0502020204030204" pitchFamily="34" charset="0"/>
                <a:hlinkClick r:id="rId3"/>
              </a:rPr>
              <a:t>https://azure.microsoft.com/en-us/documentation/services/virtual-machines-scale-sets</a:t>
            </a:r>
            <a:endParaRPr lang="en-US" sz="1200" u="sng" dirty="0">
              <a:solidFill>
                <a:srgbClr val="0563C1"/>
              </a:solidFill>
              <a:latin typeface="Segoe UI" panose="020B0502040204020203" pitchFamily="34" charset="0"/>
              <a:ea typeface="Calibri" panose="020F0502020204030204" pitchFamily="34" charset="0"/>
            </a:endParaRPr>
          </a:p>
          <a:p>
            <a:r>
              <a:rPr lang="en-US" sz="1200" b="0" i="0" u="none" strike="noStrike" kern="1200" dirty="0">
                <a:solidFill>
                  <a:schemeClr val="tx1"/>
                </a:solidFill>
                <a:effectLst/>
                <a:latin typeface="+mn-lt"/>
                <a:ea typeface="+mn-ea"/>
                <a:cs typeface="+mn-cs"/>
              </a:rPr>
              <a:t>Design Considerations For Scale Sets</a:t>
            </a:r>
          </a:p>
          <a:p>
            <a:r>
              <a:rPr lang="en-US" sz="1200" u="sng" dirty="0">
                <a:solidFill>
                  <a:srgbClr val="0563C1"/>
                </a:solidFill>
                <a:latin typeface="Segoe UI" panose="020B0502040204020203" pitchFamily="34" charset="0"/>
              </a:rPr>
              <a:t>https://docs.microsoft.com/en-us/azure/virtual-machine-scale-sets/virtual-machine-scale-sets-design-overview</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2018 10:0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7337843"/>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isk and Azure Storage pricing: </a:t>
            </a:r>
            <a:r>
              <a:rPr lang="en-US" dirty="0">
                <a:hlinkClick r:id="rId3"/>
              </a:rPr>
              <a:t>https://azure.microsoft.com/en-us/pricing/details/storage/blob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Encryption: https://docs.microsoft.com/en-us/azure/security/azure-security-disk-encryption#disk-encryption-deployment-scenarios-and-user-experience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lvl="1"/>
            <a:r>
              <a:rPr lang="en-US" dirty="0"/>
              <a:t>IaaS VMs are secured at rest, because you can use industry-standard encryption technology to address organizational security and compliance requirements.</a:t>
            </a:r>
          </a:p>
          <a:p>
            <a:pPr lvl="1"/>
            <a:r>
              <a:rPr lang="en-US" dirty="0"/>
              <a:t>IaaS VMs boot under customer-controlled keys and policies, and you can audit their usage in your key vault.</a:t>
            </a:r>
          </a:p>
          <a:p>
            <a:pPr lvl="1"/>
            <a:endParaRPr lang="en-US" dirty="0"/>
          </a:p>
          <a:p>
            <a:pPr lvl="1"/>
            <a:r>
              <a:rPr lang="en-US" dirty="0"/>
              <a:t>Managed disks: https://docs.microsoft.com/en-us/azure/virtual-machines/windows/managed-disks-overvie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Managed disks are encrypted by default</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3</a:t>
            </a:fld>
            <a:endParaRPr lang="en-US" dirty="0"/>
          </a:p>
        </p:txBody>
      </p:sp>
    </p:spTree>
    <p:extLst>
      <p:ext uri="{BB962C8B-B14F-4D97-AF65-F5344CB8AC3E}">
        <p14:creationId xmlns:p14="http://schemas.microsoft.com/office/powerpoint/2010/main" val="416240807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You can capture an Image of a VM and it will include all the disks. </a:t>
            </a:r>
            <a:r>
              <a:rPr lang="en-US" dirty="0">
                <a:hlinkClick r:id="rId3"/>
              </a:rPr>
              <a:t>https://docs.microsoft.com/en-us/azure/virtual-machines/windows/capture-image-resourc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lvl="1"/>
            <a:r>
              <a:rPr lang="en-US" dirty="0"/>
              <a:t>Managed Disks: Take Snapshots of the disk </a:t>
            </a:r>
            <a:r>
              <a:rPr lang="en-US" dirty="0">
                <a:hlinkClick r:id="rId4"/>
              </a:rPr>
              <a:t>https://docs.microsoft.com/en-us/azure/storage/storage-managed-disks-overview#images-versus-snapshots</a:t>
            </a:r>
            <a:endParaRPr lang="en-US" dirty="0"/>
          </a:p>
          <a:p>
            <a:pPr lvl="1"/>
            <a:r>
              <a:rPr lang="en-US" dirty="0"/>
              <a:t>Unmanaged Disks: Take Snapshots of the underlying VHD blob </a:t>
            </a:r>
            <a:r>
              <a:rPr lang="en-US" dirty="0">
                <a:hlinkClick r:id="rId5"/>
              </a:rPr>
              <a:t>https://docs.microsoft.com/en-us/azure/storage/storage-incremental-snapshots</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4</a:t>
            </a:fld>
            <a:endParaRPr lang="en-US" dirty="0"/>
          </a:p>
        </p:txBody>
      </p:sp>
    </p:spTree>
    <p:extLst>
      <p:ext uri="{BB962C8B-B14F-4D97-AF65-F5344CB8AC3E}">
        <p14:creationId xmlns:p14="http://schemas.microsoft.com/office/powerpoint/2010/main" val="359608214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storage/storage-premium-storage#scalability-and-performance-targets</a:t>
            </a:r>
            <a:r>
              <a:rPr lang="en-US" dirty="0"/>
              <a:t>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5</a:t>
            </a:fld>
            <a:endParaRPr lang="en-US" dirty="0"/>
          </a:p>
        </p:txBody>
      </p:sp>
    </p:spTree>
    <p:extLst>
      <p:ext uri="{BB962C8B-B14F-4D97-AF65-F5344CB8AC3E}">
        <p14:creationId xmlns:p14="http://schemas.microsoft.com/office/powerpoint/2010/main" val="79704552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tterns for defining complex templates -https://docs.microsoft.com/</a:t>
            </a:r>
            <a:r>
              <a:rPr lang="en-US" dirty="0" err="1"/>
              <a:t>en</a:t>
            </a:r>
            <a:r>
              <a:rPr lang="en-US" dirty="0"/>
              <a:t>-us/azure/azure-resource-manager/best-practices-resource-manager-design-templates </a:t>
            </a:r>
          </a:p>
        </p:txBody>
      </p:sp>
      <p:sp>
        <p:nvSpPr>
          <p:cNvPr id="4" name="Slide Number Placeholder 3"/>
          <p:cNvSpPr>
            <a:spLocks noGrp="1"/>
          </p:cNvSpPr>
          <p:nvPr>
            <p:ph type="sldNum" sz="quarter" idx="10"/>
          </p:nvPr>
        </p:nvSpPr>
        <p:spPr/>
        <p:txBody>
          <a:bodyPr/>
          <a:lstStyle/>
          <a:p>
            <a:fld id="{3AB32C7E-D9C3-40D4-8B5C-4BFC5FA60907}" type="slidenum">
              <a:rPr lang="en-US" smtClean="0"/>
              <a:t>116</a:t>
            </a:fld>
            <a:endParaRPr lang="en-US" dirty="0"/>
          </a:p>
        </p:txBody>
      </p:sp>
    </p:spTree>
    <p:extLst>
      <p:ext uri="{BB962C8B-B14F-4D97-AF65-F5344CB8AC3E}">
        <p14:creationId xmlns:p14="http://schemas.microsoft.com/office/powerpoint/2010/main" val="2888406626"/>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ll the resources in your resource group should share the same lifecycle. You deploy, update, and delete them together. If one resource, such as a database server, needs to exist on a different deployment cycle it should be in another resource group.</a:t>
            </a:r>
          </a:p>
          <a:p>
            <a:r>
              <a:rPr lang="en-US" sz="1200" b="0" i="0" kern="1200" dirty="0">
                <a:solidFill>
                  <a:schemeClr val="tx1"/>
                </a:solidFill>
                <a:effectLst/>
                <a:latin typeface="+mn-lt"/>
                <a:ea typeface="+mn-ea"/>
                <a:cs typeface="+mn-cs"/>
              </a:rPr>
              <a:t>Each resource can only exist in one resource group.</a:t>
            </a:r>
          </a:p>
          <a:p>
            <a:r>
              <a:rPr lang="en-US" sz="1200" b="0" i="0" kern="1200" dirty="0">
                <a:solidFill>
                  <a:schemeClr val="tx1"/>
                </a:solidFill>
                <a:effectLst/>
                <a:latin typeface="+mn-lt"/>
                <a:ea typeface="+mn-ea"/>
                <a:cs typeface="+mn-cs"/>
              </a:rPr>
              <a:t>You can add or remove a resource to a resource group at any time.</a:t>
            </a:r>
          </a:p>
          <a:p>
            <a:r>
              <a:rPr lang="en-US" sz="1200" b="0" i="0" kern="1200" dirty="0">
                <a:solidFill>
                  <a:schemeClr val="tx1"/>
                </a:solidFill>
                <a:effectLst/>
                <a:latin typeface="+mn-lt"/>
                <a:ea typeface="+mn-ea"/>
                <a:cs typeface="+mn-cs"/>
              </a:rPr>
              <a:t>You can move a resource from one resource group to another group. For more information, see </a:t>
            </a:r>
            <a:r>
              <a:rPr lang="en-US" sz="1200" b="0" i="0" u="none" strike="noStrike" kern="1200" dirty="0">
                <a:solidFill>
                  <a:schemeClr val="tx1"/>
                </a:solidFill>
                <a:effectLst/>
                <a:latin typeface="+mn-lt"/>
                <a:ea typeface="+mn-ea"/>
                <a:cs typeface="+mn-cs"/>
                <a:hlinkClick r:id="rId3"/>
              </a:rPr>
              <a:t>Move resources to new resource group or subscription</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A resource group can contain resources that reside in different regions.</a:t>
            </a:r>
          </a:p>
          <a:p>
            <a:r>
              <a:rPr lang="en-US" sz="1200" b="0" i="0" kern="1200" dirty="0">
                <a:solidFill>
                  <a:schemeClr val="tx1"/>
                </a:solidFill>
                <a:effectLst/>
                <a:latin typeface="+mn-lt"/>
                <a:ea typeface="+mn-ea"/>
                <a:cs typeface="+mn-cs"/>
              </a:rPr>
              <a:t>A resource group can be used to scope access control for administrative actions.</a:t>
            </a:r>
          </a:p>
          <a:p>
            <a:r>
              <a:rPr lang="en-US" sz="1200" b="0" i="0" kern="1200" dirty="0">
                <a:solidFill>
                  <a:schemeClr val="tx1"/>
                </a:solidFill>
                <a:effectLst/>
                <a:latin typeface="+mn-lt"/>
                <a:ea typeface="+mn-ea"/>
                <a:cs typeface="+mn-cs"/>
              </a:rPr>
              <a:t>A resource can interact with resources in other resource groups. This interaction is common when the two resources are related but do not share the same lifecycle (for example, web apps connecting to a databas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7924524"/>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2018 10:00 P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1165072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https://docs.microsoft.com/en-us/azure/azure-resource-manager/resource-group-overview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following image shows how all the tools interact with the same Azure Resource Manager API. The API passes requests to the Resource Manager service, which authenticates and authorizes the requests. Resource Manager then routes the requests to the appropriate resource provider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f you are new to Azure Resource Manager, there are some terms you might not be familiar with.</a:t>
            </a:r>
          </a:p>
          <a:p>
            <a:r>
              <a:rPr lang="en-US" sz="1200" b="1" i="0" kern="1200" dirty="0">
                <a:solidFill>
                  <a:schemeClr val="tx1"/>
                </a:solidFill>
                <a:effectLst/>
                <a:latin typeface="+mn-lt"/>
                <a:ea typeface="+mn-ea"/>
                <a:cs typeface="+mn-cs"/>
              </a:rPr>
              <a:t>resource</a:t>
            </a:r>
            <a:r>
              <a:rPr lang="en-US" sz="1200" b="0" i="0" kern="1200" dirty="0">
                <a:solidFill>
                  <a:schemeClr val="tx1"/>
                </a:solidFill>
                <a:effectLst/>
                <a:latin typeface="+mn-lt"/>
                <a:ea typeface="+mn-ea"/>
                <a:cs typeface="+mn-cs"/>
              </a:rPr>
              <a:t> - A manageable item that is available through Azure. Some common resources are a virtual machine, storage account, web app, database, and virtual network, but there are many more.</a:t>
            </a:r>
          </a:p>
          <a:p>
            <a:r>
              <a:rPr lang="en-US" sz="1200" b="1" i="0" kern="1200" dirty="0">
                <a:solidFill>
                  <a:schemeClr val="tx1"/>
                </a:solidFill>
                <a:effectLst/>
                <a:latin typeface="+mn-lt"/>
                <a:ea typeface="+mn-ea"/>
                <a:cs typeface="+mn-cs"/>
              </a:rPr>
              <a:t>resource group</a:t>
            </a:r>
            <a:r>
              <a:rPr lang="en-US" sz="1200" b="0" i="0" kern="1200" dirty="0">
                <a:solidFill>
                  <a:schemeClr val="tx1"/>
                </a:solidFill>
                <a:effectLst/>
                <a:latin typeface="+mn-lt"/>
                <a:ea typeface="+mn-ea"/>
                <a:cs typeface="+mn-cs"/>
              </a:rPr>
              <a:t> - A container that holds related resources for an Azure solution. The resource group can include all the resources for the solution, or only those resources that you want to manage as a group. You decide how you want to allocate resources to resource groups based on what makes the most sense for your organization. See </a:t>
            </a:r>
            <a:r>
              <a:rPr lang="en-US" sz="1200" b="0" i="0" u="none" strike="noStrike" kern="1200" dirty="0">
                <a:solidFill>
                  <a:schemeClr val="tx1"/>
                </a:solidFill>
                <a:effectLst/>
                <a:latin typeface="+mn-lt"/>
                <a:ea typeface="+mn-ea"/>
                <a:cs typeface="+mn-cs"/>
                <a:hlinkClick r:id="rId3"/>
              </a:rPr>
              <a:t>Resource groups</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resource provider</a:t>
            </a:r>
            <a:r>
              <a:rPr lang="en-US" sz="1200" b="0" i="0" kern="1200" dirty="0">
                <a:solidFill>
                  <a:schemeClr val="tx1"/>
                </a:solidFill>
                <a:effectLst/>
                <a:latin typeface="+mn-lt"/>
                <a:ea typeface="+mn-ea"/>
                <a:cs typeface="+mn-cs"/>
              </a:rPr>
              <a:t> - A service that supplies the resources you can deploy and manage through Resource Manager. Each resource provider offers operations for working with the resources that are deployed. Some common resource providers are </a:t>
            </a:r>
            <a:r>
              <a:rPr lang="en-US" sz="1200" b="0" i="0" kern="1200" dirty="0" err="1">
                <a:solidFill>
                  <a:schemeClr val="tx1"/>
                </a:solidFill>
                <a:effectLst/>
                <a:latin typeface="+mn-lt"/>
                <a:ea typeface="+mn-ea"/>
                <a:cs typeface="+mn-cs"/>
              </a:rPr>
              <a:t>Microsoft.Compute</a:t>
            </a:r>
            <a:r>
              <a:rPr lang="en-US" sz="1200" b="0" i="0" kern="1200" dirty="0">
                <a:solidFill>
                  <a:schemeClr val="tx1"/>
                </a:solidFill>
                <a:effectLst/>
                <a:latin typeface="+mn-lt"/>
                <a:ea typeface="+mn-ea"/>
                <a:cs typeface="+mn-cs"/>
              </a:rPr>
              <a:t>, which supplies the virtual machine resource, </a:t>
            </a:r>
            <a:r>
              <a:rPr lang="en-US" sz="1200" b="0" i="0" kern="1200" dirty="0" err="1">
                <a:solidFill>
                  <a:schemeClr val="tx1"/>
                </a:solidFill>
                <a:effectLst/>
                <a:latin typeface="+mn-lt"/>
                <a:ea typeface="+mn-ea"/>
                <a:cs typeface="+mn-cs"/>
              </a:rPr>
              <a:t>Microsoft.Storage</a:t>
            </a:r>
            <a:r>
              <a:rPr lang="en-US" sz="1200" b="0" i="0" kern="1200" dirty="0">
                <a:solidFill>
                  <a:schemeClr val="tx1"/>
                </a:solidFill>
                <a:effectLst/>
                <a:latin typeface="+mn-lt"/>
                <a:ea typeface="+mn-ea"/>
                <a:cs typeface="+mn-cs"/>
              </a:rPr>
              <a:t>, which supplies the storage account resource, and </a:t>
            </a:r>
            <a:r>
              <a:rPr lang="en-US" sz="1200" b="0" i="0" kern="1200" dirty="0" err="1">
                <a:solidFill>
                  <a:schemeClr val="tx1"/>
                </a:solidFill>
                <a:effectLst/>
                <a:latin typeface="+mn-lt"/>
                <a:ea typeface="+mn-ea"/>
                <a:cs typeface="+mn-cs"/>
              </a:rPr>
              <a:t>Microsoft.Web</a:t>
            </a:r>
            <a:r>
              <a:rPr lang="en-US" sz="1200" b="0" i="0" kern="1200" dirty="0">
                <a:solidFill>
                  <a:schemeClr val="tx1"/>
                </a:solidFill>
                <a:effectLst/>
                <a:latin typeface="+mn-lt"/>
                <a:ea typeface="+mn-ea"/>
                <a:cs typeface="+mn-cs"/>
              </a:rPr>
              <a:t>, which supplies resources related to web apps. See </a:t>
            </a:r>
            <a:r>
              <a:rPr lang="en-US" sz="1200" b="0" i="0" u="none" strike="noStrike" kern="1200" dirty="0">
                <a:solidFill>
                  <a:schemeClr val="tx1"/>
                </a:solidFill>
                <a:effectLst/>
                <a:latin typeface="+mn-lt"/>
                <a:ea typeface="+mn-ea"/>
                <a:cs typeface="+mn-cs"/>
                <a:hlinkClick r:id="rId4"/>
              </a:rPr>
              <a:t>Resource providers</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Resource Manager template</a:t>
            </a:r>
            <a:r>
              <a:rPr lang="en-US" sz="1200" b="0" i="0" kern="1200" dirty="0">
                <a:solidFill>
                  <a:schemeClr val="tx1"/>
                </a:solidFill>
                <a:effectLst/>
                <a:latin typeface="+mn-lt"/>
                <a:ea typeface="+mn-ea"/>
                <a:cs typeface="+mn-cs"/>
              </a:rPr>
              <a:t> - A JavaScript Object Notation (JSON) file that defines one or more resources to deploy to a resource group. It also defines the dependencies between the deployed resources. The template can be used to deploy the resources consistently and repeatedly. See </a:t>
            </a:r>
            <a:r>
              <a:rPr lang="en-US" sz="1200" b="0" i="0" u="none" strike="noStrike" kern="1200" dirty="0">
                <a:solidFill>
                  <a:schemeClr val="tx1"/>
                </a:solidFill>
                <a:effectLst/>
                <a:latin typeface="+mn-lt"/>
                <a:ea typeface="+mn-ea"/>
                <a:cs typeface="+mn-cs"/>
                <a:hlinkClick r:id="rId5"/>
              </a:rPr>
              <a:t>Template deployment</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declarative syntax</a:t>
            </a:r>
            <a:r>
              <a:rPr lang="en-US" sz="1200" b="0" i="0" kern="1200" dirty="0">
                <a:solidFill>
                  <a:schemeClr val="tx1"/>
                </a:solidFill>
                <a:effectLst/>
                <a:latin typeface="+mn-lt"/>
                <a:ea typeface="+mn-ea"/>
                <a:cs typeface="+mn-cs"/>
              </a:rPr>
              <a:t> - Syntax that lets you state "Here is what I intend to create" without having to write the sequence of programming commands to create it. The Resource Manager template is an example of declarative syntax. In the file, you define the properties for the infrastructure to deploy to Azure.</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9</a:t>
            </a:fld>
            <a:endParaRPr lang="en-US" dirty="0"/>
          </a:p>
        </p:txBody>
      </p:sp>
    </p:spTree>
    <p:extLst>
      <p:ext uri="{BB962C8B-B14F-4D97-AF65-F5344CB8AC3E}">
        <p14:creationId xmlns:p14="http://schemas.microsoft.com/office/powerpoint/2010/main" val="65885131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resource-manager/resource-group-authoring-templates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20</a:t>
            </a:fld>
            <a:endParaRPr lang="en-US" dirty="0"/>
          </a:p>
        </p:txBody>
      </p:sp>
    </p:spTree>
    <p:extLst>
      <p:ext uri="{BB962C8B-B14F-4D97-AF65-F5344CB8AC3E}">
        <p14:creationId xmlns:p14="http://schemas.microsoft.com/office/powerpoint/2010/main" val="34162250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8412838"/>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1</a:t>
            </a:fld>
            <a:endParaRPr lang="en-US" dirty="0"/>
          </a:p>
        </p:txBody>
      </p:sp>
    </p:spTree>
    <p:extLst>
      <p:ext uri="{BB962C8B-B14F-4D97-AF65-F5344CB8AC3E}">
        <p14:creationId xmlns:p14="http://schemas.microsoft.com/office/powerpoint/2010/main" val="1288666567"/>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w-</a:t>
            </a:r>
            <a:r>
              <a:rPr lang="en-US" dirty="0" err="1"/>
              <a:t>AzureRmResourceGroupDeployment</a:t>
            </a:r>
            <a:r>
              <a:rPr lang="en-US" dirty="0"/>
              <a:t> -Mode Complete -Name </a:t>
            </a:r>
            <a:r>
              <a:rPr lang="en-US" dirty="0" err="1"/>
              <a:t>ExampleDeployment</a:t>
            </a:r>
            <a:r>
              <a:rPr lang="en-US" dirty="0"/>
              <a:t> ` -</a:t>
            </a:r>
            <a:r>
              <a:rPr lang="en-US" dirty="0" err="1"/>
              <a:t>ResourceGroupName</a:t>
            </a:r>
            <a:r>
              <a:rPr lang="en-US" dirty="0"/>
              <a:t> </a:t>
            </a:r>
            <a:r>
              <a:rPr lang="en-US" dirty="0" err="1"/>
              <a:t>ExampleResourceGroup</a:t>
            </a:r>
            <a:r>
              <a:rPr lang="en-US" dirty="0"/>
              <a:t> -</a:t>
            </a:r>
            <a:r>
              <a:rPr lang="en-US" dirty="0" err="1"/>
              <a:t>TemplateFile</a:t>
            </a:r>
            <a:r>
              <a:rPr lang="en-US" dirty="0"/>
              <a:t> c:\MyTemplates\storage.json </a:t>
            </a:r>
          </a:p>
        </p:txBody>
      </p:sp>
      <p:sp>
        <p:nvSpPr>
          <p:cNvPr id="4" name="Slide Number Placeholder 3"/>
          <p:cNvSpPr>
            <a:spLocks noGrp="1"/>
          </p:cNvSpPr>
          <p:nvPr>
            <p:ph type="sldNum" sz="quarter" idx="10"/>
          </p:nvPr>
        </p:nvSpPr>
        <p:spPr/>
        <p:txBody>
          <a:bodyPr/>
          <a:lstStyle/>
          <a:p>
            <a:fld id="{3AB32C7E-D9C3-40D4-8B5C-4BFC5FA60907}" type="slidenum">
              <a:rPr lang="en-US" smtClean="0"/>
              <a:t>122</a:t>
            </a:fld>
            <a:endParaRPr lang="en-US" dirty="0"/>
          </a:p>
        </p:txBody>
      </p:sp>
    </p:spTree>
    <p:extLst>
      <p:ext uri="{BB962C8B-B14F-4D97-AF65-F5344CB8AC3E}">
        <p14:creationId xmlns:p14="http://schemas.microsoft.com/office/powerpoint/2010/main" val="79107326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 the parameters section of the template, you specify which values you can input when deploying the resources. These parameter values enable you to customize the deployment by providing values that are tailored for a particular environment (such as dev, test, and production). You do not have to provide parameters in your template, but without parameters your template would always deploy the same resources with the same names, locations, and properties.</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23</a:t>
            </a:fld>
            <a:endParaRPr lang="en-US" dirty="0"/>
          </a:p>
        </p:txBody>
      </p:sp>
    </p:spTree>
    <p:extLst>
      <p:ext uri="{BB962C8B-B14F-4D97-AF65-F5344CB8AC3E}">
        <p14:creationId xmlns:p14="http://schemas.microsoft.com/office/powerpoint/2010/main" val="3782404227"/>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4</a:t>
            </a:fld>
            <a:endParaRPr lang="en-US" dirty="0"/>
          </a:p>
        </p:txBody>
      </p:sp>
    </p:spTree>
    <p:extLst>
      <p:ext uri="{BB962C8B-B14F-4D97-AF65-F5344CB8AC3E}">
        <p14:creationId xmlns:p14="http://schemas.microsoft.com/office/powerpoint/2010/main" val="2849677568"/>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azure-resource-manager/resource-manager-template-best-practices#variables</a:t>
            </a:r>
            <a:r>
              <a:rPr lang="en-US" sz="1200" dirty="0"/>
              <a:t> </a:t>
            </a:r>
          </a:p>
          <a:p>
            <a:r>
              <a:rPr lang="en-US" dirty="0"/>
              <a:t> </a:t>
            </a:r>
          </a:p>
        </p:txBody>
      </p:sp>
      <p:sp>
        <p:nvSpPr>
          <p:cNvPr id="4" name="Slide Number Placeholder 3"/>
          <p:cNvSpPr>
            <a:spLocks noGrp="1"/>
          </p:cNvSpPr>
          <p:nvPr>
            <p:ph type="sldNum" sz="quarter" idx="10"/>
          </p:nvPr>
        </p:nvSpPr>
        <p:spPr/>
        <p:txBody>
          <a:bodyPr/>
          <a:lstStyle/>
          <a:p>
            <a:fld id="{3AB32C7E-D9C3-40D4-8B5C-4BFC5FA60907}" type="slidenum">
              <a:rPr lang="en-US" smtClean="0"/>
              <a:t>125</a:t>
            </a:fld>
            <a:endParaRPr lang="en-US" dirty="0"/>
          </a:p>
        </p:txBody>
      </p:sp>
    </p:spTree>
    <p:extLst>
      <p:ext uri="{BB962C8B-B14F-4D97-AF65-F5344CB8AC3E}">
        <p14:creationId xmlns:p14="http://schemas.microsoft.com/office/powerpoint/2010/main" val="3274934347"/>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6</a:t>
            </a:fld>
            <a:endParaRPr lang="en-US" dirty="0"/>
          </a:p>
        </p:txBody>
      </p:sp>
    </p:spTree>
    <p:extLst>
      <p:ext uri="{BB962C8B-B14F-4D97-AF65-F5344CB8AC3E}">
        <p14:creationId xmlns:p14="http://schemas.microsoft.com/office/powerpoint/2010/main" val="610649475"/>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zure-resource-manager/resource-group-define-dependencies</a:t>
            </a:r>
            <a:r>
              <a:rPr lang="en-US" dirty="0"/>
              <a:t>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27</a:t>
            </a:fld>
            <a:endParaRPr lang="en-US" dirty="0"/>
          </a:p>
        </p:txBody>
      </p:sp>
    </p:spTree>
    <p:extLst>
      <p:ext uri="{BB962C8B-B14F-4D97-AF65-F5344CB8AC3E}">
        <p14:creationId xmlns:p14="http://schemas.microsoft.com/office/powerpoint/2010/main" val="370670012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8</a:t>
            </a:fld>
            <a:endParaRPr lang="en-US" dirty="0"/>
          </a:p>
        </p:txBody>
      </p:sp>
    </p:spTree>
    <p:extLst>
      <p:ext uri="{BB962C8B-B14F-4D97-AF65-F5344CB8AC3E}">
        <p14:creationId xmlns:p14="http://schemas.microsoft.com/office/powerpoint/2010/main" val="388962972"/>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9</a:t>
            </a:fld>
            <a:endParaRPr lang="en-US" dirty="0"/>
          </a:p>
        </p:txBody>
      </p:sp>
    </p:spTree>
    <p:extLst>
      <p:ext uri="{BB962C8B-B14F-4D97-AF65-F5344CB8AC3E}">
        <p14:creationId xmlns:p14="http://schemas.microsoft.com/office/powerpoint/2010/main" val="401851803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0</a:t>
            </a:fld>
            <a:endParaRPr lang="en-US" dirty="0"/>
          </a:p>
        </p:txBody>
      </p:sp>
    </p:spTree>
    <p:extLst>
      <p:ext uri="{BB962C8B-B14F-4D97-AF65-F5344CB8AC3E}">
        <p14:creationId xmlns:p14="http://schemas.microsoft.com/office/powerpoint/2010/main" val="2192484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Resource Explorer </a:t>
            </a:r>
          </a:p>
          <a:p>
            <a:endParaRPr lang="en-CA" dirty="0"/>
          </a:p>
          <a:p>
            <a:endParaRPr lang="en-CA" dirty="0"/>
          </a:p>
          <a:p>
            <a:r>
              <a:rPr lang="en-CA" dirty="0"/>
              <a:t>S</a:t>
            </a:r>
            <a:r>
              <a:rPr lang="en-US" dirty="0"/>
              <a:t>IMILAR SECURITY OR LIFECYCLE REQUIREMENTS</a:t>
            </a:r>
          </a:p>
          <a:p>
            <a:endParaRPr lang="en-US" dirty="0"/>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90EC29EE-A8AD-4CE0-9C0B-116E0D4D7533}" type="datetime8">
              <a:rPr lang="en-US" smtClean="0">
                <a:solidFill>
                  <a:prstClr val="black"/>
                </a:solidFill>
                <a:latin typeface="Segoe UI" pitchFamily="34" charset="0"/>
              </a:rPr>
              <a:pPr defTabSz="932742">
                <a:defRPr/>
              </a:pPr>
              <a:t>6/3/2018 10:00 P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20</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893265271"/>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1</a:t>
            </a:fld>
            <a:endParaRPr lang="en-US" dirty="0"/>
          </a:p>
        </p:txBody>
      </p:sp>
    </p:spTree>
    <p:extLst>
      <p:ext uri="{BB962C8B-B14F-4D97-AF65-F5344CB8AC3E}">
        <p14:creationId xmlns:p14="http://schemas.microsoft.com/office/powerpoint/2010/main" val="4185243191"/>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2</a:t>
            </a:fld>
            <a:endParaRPr lang="en-US" dirty="0"/>
          </a:p>
        </p:txBody>
      </p:sp>
    </p:spTree>
    <p:extLst>
      <p:ext uri="{BB962C8B-B14F-4D97-AF65-F5344CB8AC3E}">
        <p14:creationId xmlns:p14="http://schemas.microsoft.com/office/powerpoint/2010/main" val="4169948742"/>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Connect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2018 10:0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191691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4</a:t>
            </a:fld>
            <a:endParaRPr lang="en-US" dirty="0"/>
          </a:p>
        </p:txBody>
      </p:sp>
    </p:spTree>
    <p:extLst>
      <p:ext uri="{BB962C8B-B14F-4D97-AF65-F5344CB8AC3E}">
        <p14:creationId xmlns:p14="http://schemas.microsoft.com/office/powerpoint/2010/main" val="1292659965"/>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5</a:t>
            </a:fld>
            <a:endParaRPr lang="en-US" dirty="0"/>
          </a:p>
        </p:txBody>
      </p:sp>
    </p:spTree>
    <p:extLst>
      <p:ext uri="{BB962C8B-B14F-4D97-AF65-F5344CB8AC3E}">
        <p14:creationId xmlns:p14="http://schemas.microsoft.com/office/powerpoint/2010/main" val="245073929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azure-resource-manager/resource-group-template-deploy</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36</a:t>
            </a:fld>
            <a:endParaRPr lang="en-US" dirty="0"/>
          </a:p>
        </p:txBody>
      </p:sp>
    </p:spTree>
    <p:extLst>
      <p:ext uri="{BB962C8B-B14F-4D97-AF65-F5344CB8AC3E}">
        <p14:creationId xmlns:p14="http://schemas.microsoft.com/office/powerpoint/2010/main" val="157086727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7</a:t>
            </a:fld>
            <a:endParaRPr lang="en-US" dirty="0"/>
          </a:p>
        </p:txBody>
      </p:sp>
    </p:spTree>
    <p:extLst>
      <p:ext uri="{BB962C8B-B14F-4D97-AF65-F5344CB8AC3E}">
        <p14:creationId xmlns:p14="http://schemas.microsoft.com/office/powerpoint/2010/main" val="577806085"/>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8</a:t>
            </a:fld>
            <a:endParaRPr lang="en-US" dirty="0"/>
          </a:p>
        </p:txBody>
      </p:sp>
    </p:spTree>
    <p:extLst>
      <p:ext uri="{BB962C8B-B14F-4D97-AF65-F5344CB8AC3E}">
        <p14:creationId xmlns:p14="http://schemas.microsoft.com/office/powerpoint/2010/main" val="3890586281"/>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An Azure Region is a geographic region that contains a collection of data centers. Datacenters will be in close geo proximity to each other – separate building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t’s more than one building.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There are over 36 Azure region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3"/>
              </a:rPr>
              <a:t>https://azure.microsoft.com/en-us/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Regions might have restrictions – </a:t>
            </a:r>
            <a:r>
              <a:rPr kumimoji="0" lang="en-US" sz="2000" b="0" i="0" u="none" strike="noStrike" kern="1200" cap="none" spc="0" normalizeH="0" baseline="0" noProof="0" dirty="0" err="1">
                <a:ln>
                  <a:noFill/>
                </a:ln>
                <a:solidFill>
                  <a:prstClr val="black"/>
                </a:solidFill>
                <a:effectLst/>
                <a:uLnTx/>
                <a:uFillTx/>
                <a:latin typeface="+mn-lt"/>
                <a:ea typeface="+mn-ea"/>
                <a:cs typeface="+mn-cs"/>
              </a:rPr>
              <a:t>eg</a:t>
            </a:r>
            <a:r>
              <a:rPr kumimoji="0" lang="en-US" sz="2000" b="0" i="0" u="none" strike="noStrike" kern="1200" cap="none" spc="0" normalizeH="0" baseline="0" noProof="0" dirty="0">
                <a:ln>
                  <a:noFill/>
                </a:ln>
                <a:solidFill>
                  <a:prstClr val="black"/>
                </a:solidFill>
                <a:effectLst/>
                <a:uLnTx/>
                <a:uFillTx/>
                <a:latin typeface="+mn-lt"/>
                <a:ea typeface="+mn-ea"/>
                <a:cs typeface="+mn-cs"/>
              </a:rPr>
              <a:t>. China -  you might need a billing address in that country</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All services might not be available in all region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pecial / Sovereign Regions:</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US </a:t>
            </a:r>
            <a:r>
              <a:rPr kumimoji="0" lang="en-US" sz="1700" b="0" i="0" u="none" strike="noStrike" kern="1200" cap="none" spc="0" normalizeH="0" baseline="0" noProof="0" dirty="0" err="1">
                <a:ln>
                  <a:noFill/>
                </a:ln>
                <a:solidFill>
                  <a:prstClr val="black"/>
                </a:solidFill>
                <a:effectLst/>
                <a:uLnTx/>
                <a:uFillTx/>
                <a:latin typeface="+mn-lt"/>
                <a:ea typeface="+mn-ea"/>
                <a:cs typeface="+mn-cs"/>
              </a:rPr>
              <a:t>Gov</a:t>
            </a:r>
            <a:r>
              <a:rPr kumimoji="0" lang="en-US" sz="1700" b="0" i="0" u="none" strike="noStrike" kern="1200" cap="none" spc="0" normalizeH="0" baseline="0" noProof="0" dirty="0">
                <a:ln>
                  <a:noFill/>
                </a:ln>
                <a:solidFill>
                  <a:prstClr val="black"/>
                </a:solidFill>
                <a:effectLst/>
                <a:uLnTx/>
                <a:uFillTx/>
                <a:latin typeface="+mn-lt"/>
                <a:ea typeface="+mn-ea"/>
                <a:cs typeface="+mn-cs"/>
              </a:rPr>
              <a:t> Virginia/Iowa</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China East, China North</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Germany Central, </a:t>
            </a:r>
            <a:r>
              <a:rPr kumimoji="0" lang="en-US" sz="1700" b="0" i="0" u="none" strike="noStrike" kern="1200" cap="none" spc="0" normalizeH="0" baseline="0" noProof="0" dirty="0" err="1">
                <a:ln>
                  <a:noFill/>
                </a:ln>
                <a:solidFill>
                  <a:prstClr val="black"/>
                </a:solidFill>
                <a:effectLst/>
                <a:uLnTx/>
                <a:uFillTx/>
                <a:latin typeface="+mn-lt"/>
                <a:ea typeface="+mn-ea"/>
                <a:cs typeface="+mn-cs"/>
              </a:rPr>
              <a:t>Gemany</a:t>
            </a:r>
            <a:r>
              <a:rPr kumimoji="0" lang="en-US" sz="1700" b="0" i="0" u="none" strike="noStrike" kern="1200" cap="none" spc="0" normalizeH="0" baseline="0" noProof="0" dirty="0">
                <a:ln>
                  <a:noFill/>
                </a:ln>
                <a:solidFill>
                  <a:prstClr val="black"/>
                </a:solidFill>
                <a:effectLst/>
                <a:uLnTx/>
                <a:uFillTx/>
                <a:latin typeface="+mn-lt"/>
                <a:ea typeface="+mn-ea"/>
                <a:cs typeface="+mn-cs"/>
              </a:rPr>
              <a:t> Northeast</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700" b="0" i="0" u="none" strike="noStrike" kern="1200" cap="none" spc="0" normalizeH="0" baseline="0" noProof="0" dirty="0">
              <a:ln>
                <a:noFill/>
              </a:ln>
              <a:solidFill>
                <a:prstClr val="black"/>
              </a:solidFill>
              <a:effectLst/>
              <a:uLnTx/>
              <a:uFillTx/>
              <a:latin typeface="+mn-lt"/>
              <a:ea typeface="+mn-ea"/>
              <a:cs typeface="+mn-cs"/>
            </a:endParaRP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700" b="0" i="0" u="none" strike="noStrike" kern="1200" cap="none" spc="0" normalizeH="0" baseline="0" noProof="0" dirty="0">
              <a:ln>
                <a:noFill/>
              </a:ln>
              <a:solidFill>
                <a:prstClr val="black"/>
              </a:solidFill>
              <a:effectLst/>
              <a:uLnTx/>
              <a:uFillTx/>
              <a:latin typeface="+mn-lt"/>
              <a:ea typeface="+mn-ea"/>
              <a:cs typeface="+mn-cs"/>
            </a:endParaRPr>
          </a:p>
        </p:txBody>
      </p:sp>
      <p:sp>
        <p:nvSpPr>
          <p:cNvPr id="4" name="Slide Number Placeholder 3"/>
          <p:cNvSpPr>
            <a:spLocks noGrp="1"/>
          </p:cNvSpPr>
          <p:nvPr>
            <p:ph type="sldNum" sz="quarter" idx="10"/>
          </p:nvPr>
        </p:nvSpPr>
        <p:spPr/>
        <p:txBody>
          <a:bodyPr/>
          <a:lstStyle/>
          <a:p>
            <a:fld id="{3AB32C7E-D9C3-40D4-8B5C-4BFC5FA60907}" type="slidenum">
              <a:rPr lang="en-US" smtClean="0"/>
              <a:t>139</a:t>
            </a:fld>
            <a:endParaRPr lang="en-US" dirty="0"/>
          </a:p>
        </p:txBody>
      </p:sp>
    </p:spTree>
    <p:extLst>
      <p:ext uri="{BB962C8B-B14F-4D97-AF65-F5344CB8AC3E}">
        <p14:creationId xmlns:p14="http://schemas.microsoft.com/office/powerpoint/2010/main" val="1806755589"/>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Datacenters are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mn-lt"/>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An Azure Region is a geographic region that contains a collection of data centers.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t’s more than one building.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There are over 36 Azure region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3"/>
              </a:rPr>
              <a:t>https://azure.microsoft.com/en-us/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pecial / Sovereign Regions:</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US </a:t>
            </a:r>
            <a:r>
              <a:rPr kumimoji="0" lang="en-US" sz="1700" b="0" i="0" u="none" strike="noStrike" kern="1200" cap="none" spc="0" normalizeH="0" baseline="0" noProof="0" dirty="0" err="1">
                <a:ln>
                  <a:noFill/>
                </a:ln>
                <a:solidFill>
                  <a:prstClr val="black"/>
                </a:solidFill>
                <a:effectLst/>
                <a:uLnTx/>
                <a:uFillTx/>
                <a:latin typeface="+mn-lt"/>
                <a:ea typeface="+mn-ea"/>
                <a:cs typeface="+mn-cs"/>
              </a:rPr>
              <a:t>Gov</a:t>
            </a:r>
            <a:r>
              <a:rPr kumimoji="0" lang="en-US" sz="1700" b="0" i="0" u="none" strike="noStrike" kern="1200" cap="none" spc="0" normalizeH="0" baseline="0" noProof="0" dirty="0">
                <a:ln>
                  <a:noFill/>
                </a:ln>
                <a:solidFill>
                  <a:prstClr val="black"/>
                </a:solidFill>
                <a:effectLst/>
                <a:uLnTx/>
                <a:uFillTx/>
                <a:latin typeface="+mn-lt"/>
                <a:ea typeface="+mn-ea"/>
                <a:cs typeface="+mn-cs"/>
              </a:rPr>
              <a:t> Virginia/Iowa</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China East, China North</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Germany Central, </a:t>
            </a:r>
            <a:r>
              <a:rPr kumimoji="0" lang="en-US" sz="1700" b="0" i="0" u="none" strike="noStrike" kern="1200" cap="none" spc="0" normalizeH="0" baseline="0" noProof="0" dirty="0" err="1">
                <a:ln>
                  <a:noFill/>
                </a:ln>
                <a:solidFill>
                  <a:prstClr val="black"/>
                </a:solidFill>
                <a:effectLst/>
                <a:uLnTx/>
                <a:uFillTx/>
                <a:latin typeface="+mn-lt"/>
                <a:ea typeface="+mn-ea"/>
                <a:cs typeface="+mn-cs"/>
              </a:rPr>
              <a:t>Gemany</a:t>
            </a:r>
            <a:r>
              <a:rPr kumimoji="0" lang="en-US" sz="1700" b="0" i="0" u="none" strike="noStrike" kern="1200" cap="none" spc="0" normalizeH="0" baseline="0" noProof="0" dirty="0">
                <a:ln>
                  <a:noFill/>
                </a:ln>
                <a:solidFill>
                  <a:prstClr val="black"/>
                </a:solidFill>
                <a:effectLst/>
                <a:uLnTx/>
                <a:uFillTx/>
                <a:latin typeface="+mn-lt"/>
                <a:ea typeface="+mn-ea"/>
                <a:cs typeface="+mn-cs"/>
              </a:rPr>
              <a:t> Northeas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Region Pair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n same geography (such as US, Europe or Asia)</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Replicated resources are replicated across pair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n broad geographic outage, one region in the pair is prioritized</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Data resides in the same geography as its pair (except Brazil South)</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Pair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4"/>
              </a:rPr>
              <a:t>https://docs.microsoft.com/en-us/azure/best-practices-availability-paired-regions#what-are-paired-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Azure Storage GRS and RA-GRS replicates data from one region to its pair.</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48814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21</a:t>
            </a:fld>
            <a:endParaRPr lang="en-US" dirty="0"/>
          </a:p>
        </p:txBody>
      </p:sp>
    </p:spTree>
    <p:extLst>
      <p:ext uri="{BB962C8B-B14F-4D97-AF65-F5344CB8AC3E}">
        <p14:creationId xmlns:p14="http://schemas.microsoft.com/office/powerpoint/2010/main" val="653380993"/>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222222"/>
                </a:solidFill>
                <a:effectLst/>
                <a:latin typeface="segoe-ui_normal"/>
              </a:rPr>
              <a:t>Microsoft Azure Traffic Manager allows you to control the distribution of user traffic for service endpoints in different datacenters. Service endpoints supported by Traffic Manager include Azure VMs, Web Apps, and cloud services. You can also use Traffic Manager with external, non-Azure endpoints.</a:t>
            </a:r>
            <a:r>
              <a:rPr lang="en-US" b="0" i="0" u="none" strike="noStrike" dirty="0">
                <a:solidFill>
                  <a:srgbClr val="6D7079"/>
                </a:solidFill>
                <a:effectLst/>
                <a:latin typeface="Helvetica Neue"/>
              </a:rPr>
              <a:t>+</a:t>
            </a:r>
            <a:endParaRPr lang="en-US" b="0" i="0" dirty="0">
              <a:solidFill>
                <a:srgbClr val="222222"/>
              </a:solidFill>
              <a:effectLst/>
              <a:latin typeface="segoe-ui_normal"/>
            </a:endParaRPr>
          </a:p>
          <a:p>
            <a:pPr algn="l"/>
            <a:r>
              <a:rPr lang="en-US" b="0" i="0" dirty="0">
                <a:solidFill>
                  <a:srgbClr val="222222"/>
                </a:solidFill>
                <a:effectLst/>
                <a:latin typeface="segoe-ui_normal"/>
              </a:rPr>
              <a:t>Traffic Manager uses the Domain Name System (DNS) to direct client requests to the most appropriate endpoint based on a traffic-routing method and the health of the endpoints. Traffic Manager provides a range of </a:t>
            </a:r>
            <a:r>
              <a:rPr lang="en-US" b="0" i="0" u="none" strike="noStrike" dirty="0">
                <a:solidFill>
                  <a:srgbClr val="0078D7"/>
                </a:solidFill>
                <a:effectLst/>
                <a:latin typeface="segoe-ui_normal"/>
                <a:hlinkClick r:id="rId3"/>
              </a:rPr>
              <a:t>traffic-routing methods</a:t>
            </a:r>
            <a:r>
              <a:rPr lang="en-US" b="0" i="0" dirty="0">
                <a:solidFill>
                  <a:srgbClr val="222222"/>
                </a:solidFill>
                <a:effectLst/>
                <a:latin typeface="segoe-ui_normal"/>
              </a:rPr>
              <a:t> and </a:t>
            </a:r>
            <a:r>
              <a:rPr lang="en-US" b="0" i="0" u="none" strike="noStrike" dirty="0">
                <a:solidFill>
                  <a:srgbClr val="0078D7"/>
                </a:solidFill>
                <a:effectLst/>
                <a:latin typeface="segoe-ui_normal"/>
                <a:hlinkClick r:id="rId4"/>
              </a:rPr>
              <a:t>endpoint monitoring options</a:t>
            </a:r>
            <a:r>
              <a:rPr lang="en-US" b="0" i="0" dirty="0">
                <a:solidFill>
                  <a:srgbClr val="222222"/>
                </a:solidFill>
                <a:effectLst/>
                <a:latin typeface="segoe-ui_normal"/>
              </a:rPr>
              <a:t> to suit different application needs and automatic failover models. Traffic Manager is resilient to failure, including the failure of an entire Azure region.</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41</a:t>
            </a:fld>
            <a:endParaRPr lang="en-US" dirty="0"/>
          </a:p>
        </p:txBody>
      </p:sp>
    </p:spTree>
    <p:extLst>
      <p:ext uri="{BB962C8B-B14F-4D97-AF65-F5344CB8AC3E}">
        <p14:creationId xmlns:p14="http://schemas.microsoft.com/office/powerpoint/2010/main" val="3401320179"/>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42</a:t>
            </a:fld>
            <a:endParaRPr lang="en-US" dirty="0"/>
          </a:p>
        </p:txBody>
      </p:sp>
    </p:spTree>
    <p:extLst>
      <p:ext uri="{BB962C8B-B14F-4D97-AF65-F5344CB8AC3E}">
        <p14:creationId xmlns:p14="http://schemas.microsoft.com/office/powerpoint/2010/main" val="96512837"/>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43</a:t>
            </a:fld>
            <a:endParaRPr lang="en-US" dirty="0"/>
          </a:p>
        </p:txBody>
      </p:sp>
    </p:spTree>
    <p:extLst>
      <p:ext uri="{BB962C8B-B14F-4D97-AF65-F5344CB8AC3E}">
        <p14:creationId xmlns:p14="http://schemas.microsoft.com/office/powerpoint/2010/main" val="37748444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JENKINS, OCTOPUS, RELEASE MANAGEMENT. PICK YOUR CODE, PICK YOUR TASK.</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25</a:t>
            </a:fld>
            <a:endParaRPr lang="en-US" dirty="0"/>
          </a:p>
        </p:txBody>
      </p:sp>
    </p:spTree>
    <p:extLst>
      <p:ext uri="{BB962C8B-B14F-4D97-AF65-F5344CB8AC3E}">
        <p14:creationId xmlns:p14="http://schemas.microsoft.com/office/powerpoint/2010/main" val="24063112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Azure getting started templates </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6/3/2018 10:0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40611129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02649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eally the basic building block of</a:t>
            </a:r>
            <a:r>
              <a:rPr lang="en-US" baseline="0" dirty="0"/>
              <a:t> all other compute services</a:t>
            </a:r>
          </a:p>
          <a:p>
            <a:pPr marL="171450" indent="-171450">
              <a:buFontTx/>
              <a:buChar char="-"/>
            </a:pPr>
            <a:r>
              <a:rPr lang="en-US" baseline="0" dirty="0"/>
              <a:t>Valuable for cases where you’re simply lifting-and-shifting an existing workload to the cloud and want to maintain the existing topology.</a:t>
            </a:r>
          </a:p>
          <a:p>
            <a:pPr marL="171450" indent="-171450">
              <a:buFontTx/>
              <a:buChar char="-"/>
            </a:pPr>
            <a:r>
              <a:rPr lang="en-US" dirty="0"/>
              <a:t>Huge</a:t>
            </a:r>
            <a:r>
              <a:rPr lang="en-US" baseline="0" dirty="0"/>
              <a:t> variety of OS images available, including all the popular Linux distros</a:t>
            </a:r>
          </a:p>
          <a:p>
            <a:pPr marL="171450" indent="-171450">
              <a:buFontTx/>
              <a:buChar char="-"/>
            </a:pPr>
            <a:r>
              <a:rPr lang="en-US" baseline="0" dirty="0"/>
              <a:t>Support for many popular configuration tools, including Chef and Puppet.</a:t>
            </a:r>
          </a:p>
          <a:p>
            <a:pPr marL="171450" indent="-171450">
              <a:buFontTx/>
              <a:buChar char="-"/>
            </a:pPr>
            <a:r>
              <a:rPr lang="en-US" baseline="0" dirty="0"/>
              <a:t>Available in many different sizes to fit your workload, including the recently announced N-series which offer </a:t>
            </a:r>
            <a:r>
              <a:rPr lang="en-US" baseline="0" dirty="0" err="1"/>
              <a:t>Nvidia</a:t>
            </a:r>
            <a:r>
              <a:rPr lang="en-US" baseline="0" dirty="0"/>
              <a:t> GPUs for graphically intense workloads.</a:t>
            </a:r>
          </a:p>
          <a:p>
            <a:pPr marL="171450" indent="-171450">
              <a:buFontTx/>
              <a:buChar char="-"/>
            </a:pPr>
            <a:r>
              <a:rPr lang="en-US" baseline="0" dirty="0"/>
              <a:t>And of course, since VMs make up the basic building blocks in our Compute story, many people have built interesting things out of them, which are available in the marketplace</a:t>
            </a:r>
            <a:r>
              <a:rPr lang="is-IS" baseline="0" dirty="0"/>
              <a:t>…</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3/2018 10:00 P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28</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40803261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D Series – Feature </a:t>
            </a:r>
            <a:r>
              <a:rPr lang="en-US" sz="1867" b="1">
                <a:latin typeface="Segoe UI Light" panose="020B0502040204020203" pitchFamily="34" charset="0"/>
                <a:cs typeface="Segoe UI Light" panose="020B0502040204020203" pitchFamily="34" charset="0"/>
              </a:rPr>
              <a:t>solid state drives</a:t>
            </a:r>
            <a:r>
              <a:rPr lang="en-US" sz="1867">
                <a:latin typeface="Segoe UI Light" panose="020B0502040204020203" pitchFamily="34" charset="0"/>
                <a:cs typeface="Segoe UI Light" panose="020B0502040204020203" pitchFamily="34" charset="0"/>
              </a:rPr>
              <a:t> (SSDs) and </a:t>
            </a:r>
            <a:r>
              <a:rPr lang="en-US" sz="1867" b="1">
                <a:latin typeface="Segoe UI Light" panose="020B0502040204020203" pitchFamily="34" charset="0"/>
                <a:cs typeface="Segoe UI Light" panose="020B0502040204020203" pitchFamily="34" charset="0"/>
              </a:rPr>
              <a:t>faster processors</a:t>
            </a:r>
            <a:r>
              <a:rPr lang="en-US" sz="1867">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a:latin typeface="Segoe UI Light" panose="020B0502040204020203" pitchFamily="34" charset="0"/>
                <a:cs typeface="Segoe UI Light" panose="020B0502040204020203" pitchFamily="34" charset="0"/>
              </a:rPr>
              <a:t>higher memories</a:t>
            </a:r>
            <a:r>
              <a:rPr lang="en-US" sz="1867">
                <a:latin typeface="Segoe UI Light" panose="020B0502040204020203" pitchFamily="34" charset="0"/>
                <a:cs typeface="Segoe UI Light" panose="020B0502040204020203" pitchFamily="34" charset="0"/>
              </a:rPr>
              <a:t>.</a:t>
            </a:r>
          </a:p>
          <a:p>
            <a:r>
              <a:rPr lang="en-US" sz="240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a:latin typeface="Segoe UI Light" panose="020B0502040204020203" pitchFamily="34" charset="0"/>
                <a:cs typeface="Segoe UI Light" panose="020B0502040204020203" pitchFamily="34" charset="0"/>
              </a:rPr>
              <a:t>Example size: A2 - 2 CPU, 3.50 GB RAM, 135.00 GB Disk</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80953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D Series – Feature </a:t>
            </a:r>
            <a:r>
              <a:rPr lang="en-US" sz="1867" b="1">
                <a:latin typeface="Segoe UI Light" panose="020B0502040204020203" pitchFamily="34" charset="0"/>
                <a:cs typeface="Segoe UI Light" panose="020B0502040204020203" pitchFamily="34" charset="0"/>
              </a:rPr>
              <a:t>solid state drives</a:t>
            </a:r>
            <a:r>
              <a:rPr lang="en-US" sz="1867">
                <a:latin typeface="Segoe UI Light" panose="020B0502040204020203" pitchFamily="34" charset="0"/>
                <a:cs typeface="Segoe UI Light" panose="020B0502040204020203" pitchFamily="34" charset="0"/>
              </a:rPr>
              <a:t> (SSDs) and </a:t>
            </a:r>
            <a:r>
              <a:rPr lang="en-US" sz="1867" b="1">
                <a:latin typeface="Segoe UI Light" panose="020B0502040204020203" pitchFamily="34" charset="0"/>
                <a:cs typeface="Segoe UI Light" panose="020B0502040204020203" pitchFamily="34" charset="0"/>
              </a:rPr>
              <a:t>faster processors</a:t>
            </a:r>
            <a:r>
              <a:rPr lang="en-US" sz="1867">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a:latin typeface="Segoe UI Light" panose="020B0502040204020203" pitchFamily="34" charset="0"/>
                <a:cs typeface="Segoe UI Light" panose="020B0502040204020203" pitchFamily="34" charset="0"/>
              </a:rPr>
              <a:t>higher memories</a:t>
            </a:r>
            <a:r>
              <a:rPr lang="en-US" sz="1867">
                <a:latin typeface="Segoe UI Light" panose="020B0502040204020203" pitchFamily="34" charset="0"/>
                <a:cs typeface="Segoe UI Light" panose="020B0502040204020203" pitchFamily="34" charset="0"/>
              </a:rPr>
              <a:t>.</a:t>
            </a:r>
          </a:p>
          <a:p>
            <a:r>
              <a:rPr lang="en-US" sz="240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a:latin typeface="Segoe UI Light" panose="020B0502040204020203" pitchFamily="34" charset="0"/>
                <a:cs typeface="Segoe UI Light" panose="020B0502040204020203" pitchFamily="34" charset="0"/>
              </a:rPr>
              <a:t>Example size: A2 - 2 CPU, 3.50 GB RAM, 135.00 GB Disk</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11110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6/4/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446884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N SERIES ONE OR MORE VIDEO CARDS</a:t>
            </a:r>
            <a:endParaRPr lang="en-US" dirty="0"/>
          </a:p>
        </p:txBody>
      </p:sp>
      <p:sp>
        <p:nvSpPr>
          <p:cNvPr id="4" name="Header Placeholder 3"/>
          <p:cNvSpPr>
            <a:spLocks noGrp="1"/>
          </p:cNvSpPr>
          <p:nvPr>
            <p:ph type="hdr" sz="quarter" idx="10"/>
          </p:nvPr>
        </p:nvSpPr>
        <p:spPr/>
        <p:txBody>
          <a:bodyPr/>
          <a:lstStyle/>
          <a:p>
            <a:pPr defTabSz="932742">
              <a:defRPr/>
            </a:pPr>
            <a:endParaRPr lang="en-US" sz="1800" kern="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2813" eaLnBrk="0" fontAlgn="base" hangingPunct="0">
              <a:spcBef>
                <a:spcPct val="0"/>
              </a:spcBef>
              <a:spcAft>
                <a:spcPct val="0"/>
              </a:spcAft>
              <a:defRPr/>
            </a:pPr>
            <a:r>
              <a:rPr lang="en-US" altLang="en-US" sz="400" kern="0">
                <a:solidFill>
                  <a:prstClr val="black"/>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EC0EFBC5-EFC8-4C83-8EB1-BF3F69A97706}" type="datetime8">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6/3/2018 10:00 PM</a:t>
            </a:fld>
            <a:endParaRPr lang="en-US" altLang="en-US" sz="1800" kern="0">
              <a:solidFill>
                <a:prstClr val="black"/>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A843FFF4-B3C3-4CAC-852D-FD5D209A36F7}" type="slidenum">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31</a:t>
            </a:fld>
            <a:endParaRPr lang="en-US" altLang="en-US" sz="1800" kern="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15005841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 series - https://buildazure.com/2017/09/11/more-affordable-azure-vms-with-burstable-b-series/ </a:t>
            </a:r>
          </a:p>
          <a:p>
            <a:endParaRPr lang="en-US" dirty="0"/>
          </a:p>
          <a:p>
            <a:r>
              <a:rPr lang="en-US" dirty="0"/>
              <a:t>Determine Cores, RAM, ACUs, Disks, NICs, Network Speed, Temporary Storage, SSD support</a:t>
            </a:r>
          </a:p>
          <a:p>
            <a:r>
              <a:rPr lang="en-US" dirty="0"/>
              <a:t>High level categories:</a:t>
            </a:r>
          </a:p>
          <a:p>
            <a:endParaRPr lang="en-US" dirty="0"/>
          </a:p>
          <a:p>
            <a:r>
              <a:rPr lang="en-US" dirty="0" err="1"/>
              <a:t>Acu</a:t>
            </a:r>
            <a:r>
              <a:rPr lang="en-US" dirty="0"/>
              <a:t> helps normalize </a:t>
            </a:r>
            <a:r>
              <a:rPr lang="en-US" dirty="0" err="1"/>
              <a:t>cpu</a:t>
            </a:r>
            <a:r>
              <a:rPr lang="en-US" dirty="0"/>
              <a:t> perf.. </a:t>
            </a:r>
            <a:r>
              <a:rPr lang="en-US" dirty="0" err="1"/>
              <a:t>D&amp;f</a:t>
            </a:r>
            <a:r>
              <a:rPr lang="en-US" dirty="0"/>
              <a:t> have same </a:t>
            </a:r>
            <a:r>
              <a:rPr lang="en-US" dirty="0" err="1"/>
              <a:t>acu</a:t>
            </a:r>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1603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FF0000"/>
                </a:solidFill>
              </a:rPr>
              <a:t>Not all Azure Cores are created equal</a:t>
            </a:r>
          </a:p>
          <a:p>
            <a:pPr lvl="1"/>
            <a:r>
              <a:rPr lang="en-US" b="1" dirty="0">
                <a:solidFill>
                  <a:srgbClr val="FF0000"/>
                </a:solidFill>
              </a:rPr>
              <a:t>A1 Core !=  F1 Core</a:t>
            </a:r>
          </a:p>
          <a:p>
            <a:r>
              <a:rPr lang="en-US" dirty="0"/>
              <a:t>Compare compute (CPU) performance across SKUs.</a:t>
            </a:r>
          </a:p>
          <a:p>
            <a:r>
              <a:rPr lang="en-US" dirty="0">
                <a:hlinkClick r:id="rId3"/>
              </a:rPr>
              <a:t>https://docs.microsoft.com/en-us/azure/virtual-machines/windows/acu</a:t>
            </a:r>
            <a:endParaRPr lang="en-US" dirty="0"/>
          </a:p>
          <a:p>
            <a:endParaRPr lang="en-US" dirty="0"/>
          </a:p>
          <a:p>
            <a:r>
              <a:rPr lang="en-US" sz="1200" b="0" i="0" kern="1200" dirty="0">
                <a:solidFill>
                  <a:schemeClr val="tx1"/>
                </a:solidFill>
                <a:effectLst/>
                <a:latin typeface="+mn-lt"/>
                <a:ea typeface="+mn-ea"/>
                <a:cs typeface="+mn-cs"/>
              </a:rPr>
              <a:t>Azure Compute Unit (ACU) to provide a way of comparing compute (CPU) performance across Azure SKUs. This will help you easily identify which SKU is most likely to satisfy your performance needs. ACU is currently standardized on a Small (Standard_A1) VM being 100 and all other SKUs then represent approximately how much faster that SKU can run a standard benchmark.</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CUs marked with a * use Intel® Turbo technology to increase CPU frequency and provide a performance boost. The amount of the boost can vary based on the VM size, workload, and other workloads running on the same host.</a:t>
            </a:r>
            <a:r>
              <a:rPr lang="en-US" sz="1200" b="0" i="0" u="none" strike="noStrike"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yper-threaded.</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3306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36025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lexibility at multiple levels -</a:t>
            </a:r>
          </a:p>
          <a:p>
            <a:r>
              <a:rPr lang="en-US"/>
              <a:t>Access level – hot storage or cold storage</a:t>
            </a:r>
          </a:p>
          <a:p>
            <a:r>
              <a:rPr lang="en-US"/>
              <a:t>Tier </a:t>
            </a:r>
          </a:p>
          <a:p>
            <a:r>
              <a:rPr lang="en-US"/>
              <a:t>Abstraction level – files, disks</a:t>
            </a:r>
          </a:p>
          <a:p>
            <a:r>
              <a:rPr lang="en-US"/>
              <a:t>Disk level – spindle, SSD, manag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Redundancy level – LRS, ZRS, GRS, RAGRS</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55708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storage/storage-premium-storage#scalability-and-performance-targets</a:t>
            </a:r>
            <a:endParaRPr lang="en-US" sz="1200" dirty="0"/>
          </a:p>
          <a:p>
            <a:endParaRPr lang="en-US" dirty="0"/>
          </a:p>
          <a:p>
            <a:endParaRPr lang="en-US" dirty="0"/>
          </a:p>
          <a:p>
            <a:r>
              <a:rPr lang="en-US" dirty="0"/>
              <a:t>The temporary disk is labeled as the D: drive by default and it used for storing pagefile.sy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98489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aged disk - https://docs.microsoft.com/en-us/azure/virtual-machines/windows/managed-disks-overview </a:t>
            </a:r>
          </a:p>
          <a:p>
            <a:r>
              <a:rPr lang="en-US" dirty="0"/>
              <a:t>https://docs.microsoft.com/en-us/azure/storage/common/storage-premium-storage</a:t>
            </a:r>
          </a:p>
          <a:p>
            <a:pPr rtl="0">
              <a:buFont typeface="Arial" panose="020B0604020202020204" pitchFamily="34" charset="0"/>
              <a:buChar char="•"/>
            </a:pPr>
            <a:r>
              <a:rPr lang="en-US" b="1" dirty="0"/>
              <a:t>Unmanaged disks</a:t>
            </a:r>
            <a:endParaRPr lang="en-US" dirty="0"/>
          </a:p>
          <a:p>
            <a:pPr rtl="0">
              <a:buFont typeface="Arial" panose="020B0604020202020204" pitchFamily="34" charset="0"/>
              <a:buChar char="•"/>
            </a:pPr>
            <a:r>
              <a:rPr lang="en-US" dirty="0"/>
              <a:t>The original method is to use unmanaged disks. In an unmanaged disk, you manage the storage accounts that you use to store the virtual hard disk (VHD) files that correspond to your VM disks. VHD files are stored as page blobs in Azure storage accounts. </a:t>
            </a:r>
          </a:p>
          <a:p>
            <a:pPr rtl="0">
              <a:buFont typeface="Arial" panose="020B0604020202020204" pitchFamily="34" charset="0"/>
              <a:buChar char="•"/>
            </a:pPr>
            <a:r>
              <a:rPr lang="en-US" b="1" dirty="0"/>
              <a:t>Managed disks</a:t>
            </a:r>
            <a:endParaRPr lang="en-US" dirty="0"/>
          </a:p>
          <a:p>
            <a:pPr rtl="0">
              <a:buFont typeface="Arial" panose="020B0604020202020204" pitchFamily="34" charset="0"/>
              <a:buChar char="•"/>
            </a:pPr>
            <a:r>
              <a:rPr lang="en-US" dirty="0"/>
              <a:t>When you choose </a:t>
            </a:r>
            <a:r>
              <a:rPr lang="en-US" dirty="0">
                <a:hlinkClick r:id="rId3"/>
              </a:rPr>
              <a:t>Azure Managed Disks</a:t>
            </a:r>
            <a:r>
              <a:rPr lang="en-US" dirty="0"/>
              <a:t>, Azure manages the storage accounts that you use for your VM disks. You specify the disk type (Premium or Standard) and the size of the disk that you need. Azure creates and manages the disk for you. You don't have to worry about placing the disks in multiple storage accounts to ensure that you stay within scalability limits for your storage accounts. Azure handles that for you.</a:t>
            </a:r>
          </a:p>
          <a:p>
            <a:endParaRPr lang="en-US" dirty="0"/>
          </a:p>
          <a:p>
            <a:r>
              <a:rPr lang="en-US" dirty="0"/>
              <a:t>Throughput and IOPS are lower for smaller disk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3508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M</a:t>
            </a:r>
            <a:r>
              <a:rPr lang="en-US" dirty="0"/>
              <a:t>ICROSFOT MOVING INTERNALLY TO MANAGED DISK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rchitecture/reference-architectures/virtual-machines-linux/single-vm</a:t>
            </a:r>
            <a:r>
              <a:rPr lang="en-US" dirty="0"/>
              <a:t> </a:t>
            </a:r>
          </a:p>
          <a:p>
            <a:endParaRPr lang="en-CA" dirty="0"/>
          </a:p>
          <a:p>
            <a:endParaRPr lang="en-CA" dirty="0"/>
          </a:p>
          <a:p>
            <a:endParaRPr lang="en-CA" dirty="0"/>
          </a:p>
          <a:p>
            <a:endParaRPr lang="en-CA" dirty="0"/>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29507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ifferent folks may have their own definitions for “high availability” and “disaster recovery”. </a:t>
            </a:r>
          </a:p>
          <a:p>
            <a:endParaRPr lang="en-US" baseline="0" dirty="0"/>
          </a:p>
          <a:p>
            <a:r>
              <a:rPr lang="en-US" dirty="0"/>
              <a:t>Let’s </a:t>
            </a:r>
            <a:r>
              <a:rPr lang="en-US" baseline="0" dirty="0"/>
              <a:t>take some time to review what these terms mean specifically in Azure.</a:t>
            </a:r>
          </a:p>
          <a:p>
            <a:endParaRPr lang="en-US" baseline="0" dirty="0"/>
          </a:p>
          <a:p>
            <a:r>
              <a:rPr lang="en-US" baseline="0" dirty="0"/>
              <a:t>ANIMATE!!!</a:t>
            </a:r>
          </a:p>
          <a:p>
            <a:r>
              <a:rPr lang="en-US" baseline="0" dirty="0"/>
              <a:t>ANIMATE!!!</a:t>
            </a:r>
          </a:p>
          <a:p>
            <a:endParaRPr lang="en-US" baseline="0" dirty="0"/>
          </a:p>
          <a:p>
            <a:r>
              <a:rPr lang="en-US" baseline="0" dirty="0"/>
              <a:t>Availability is typically the amount of time a service is available (or “up”) within the context of a single datacenter or region.</a:t>
            </a:r>
          </a:p>
          <a:p>
            <a:endParaRPr lang="en-US" baseline="0" dirty="0"/>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Most Azure services are backed with an SLA that is quantified by 99 point some number of 9s % availability per month.</a:t>
            </a:r>
          </a:p>
          <a:p>
            <a:endParaRPr lang="en-US" baseline="0" dirty="0"/>
          </a:p>
          <a:p>
            <a:r>
              <a:rPr lang="en-US" baseline="0" dirty="0"/>
              <a:t>In general, when we say a service is “highly available” in Azure, the expectation is that there is little or no downtime for that service within the datacenter</a:t>
            </a:r>
          </a:p>
          <a:p>
            <a:endParaRPr lang="en-US" baseline="0" dirty="0"/>
          </a:p>
          <a:p>
            <a:r>
              <a:rPr lang="en-US" baseline="0" dirty="0"/>
              <a:t>ANIMATE!!!</a:t>
            </a:r>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With Disaster recovery, we are talking about the ability to recover your application into a secondary datacenter in the event of a datacenter outage. (usually somewhere far away – at least 500 miles)</a:t>
            </a:r>
          </a:p>
          <a:p>
            <a:endParaRPr lang="en-US" baseline="0" dirty="0"/>
          </a:p>
          <a:p>
            <a:r>
              <a:rPr lang="en-US" baseline="0" dirty="0"/>
              <a:t>ANIMATE!!!</a:t>
            </a:r>
          </a:p>
          <a:p>
            <a:endParaRPr lang="en-US" baseline="0" dirty="0"/>
          </a:p>
          <a:p>
            <a:r>
              <a:rPr lang="en-US" baseline="0" dirty="0"/>
              <a:t>When this happens, the amount of acceptable downtime may have a greater range…  from seconds, to minutes, hours, or even a day!</a:t>
            </a:r>
          </a:p>
          <a:p>
            <a:endParaRPr lang="en-US" baseline="0" dirty="0"/>
          </a:p>
          <a:p>
            <a:r>
              <a:rPr lang="en-US" baseline="0" dirty="0"/>
              <a:t>It all depends on what type of Disaster Recovery plan you have in place.  The costs vary widely ranging from active deployments in 2 datacenters to just having backups in a secondary datacenter that you must recovery from. </a:t>
            </a:r>
          </a:p>
          <a:p>
            <a:endParaRPr lang="en-US" baseline="0" dirty="0"/>
          </a:p>
          <a:p>
            <a:r>
              <a:rPr lang="en-US" baseline="0" dirty="0"/>
              <a:t>ANIMATE!!!!</a:t>
            </a:r>
          </a:p>
          <a:p>
            <a:r>
              <a:rPr lang="en-US" baseline="0" dirty="0"/>
              <a:t>Choosing a disaster recovery plan depends on what the business requirements are for RTO &amp; RPO.</a:t>
            </a:r>
          </a:p>
          <a:p>
            <a:endParaRPr lang="en-US" baseline="0" dirty="0"/>
          </a:p>
          <a:p>
            <a:r>
              <a:rPr lang="en-US" baseline="0" dirty="0"/>
              <a:t>RTO – Acceptable time to recover.</a:t>
            </a:r>
          </a:p>
          <a:p>
            <a:r>
              <a:rPr lang="en-US" baseline="0" dirty="0"/>
              <a:t>RPO – Acceptable amount of data that can be lost</a:t>
            </a:r>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F0C87-214C-49A6-ACA3-2FC06EC190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1010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42310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0596E5-6523-4DD8-A9ED-0418BD42519C}"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8 10:0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144299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57802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089284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610719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CA" sz="1200" b="0" i="0" kern="1200" dirty="0">
                <a:solidFill>
                  <a:schemeClr val="tx1"/>
                </a:solidFill>
                <a:effectLst/>
                <a:latin typeface="+mn-lt"/>
                <a:ea typeface="+mn-ea"/>
                <a:cs typeface="+mn-cs"/>
              </a:rPr>
              <a:t>WITHIN ONE REGION ONLY</a:t>
            </a:r>
            <a:endParaRPr lang="en-US" sz="1200" b="0" i="0" kern="1200" dirty="0">
              <a:solidFill>
                <a:schemeClr val="tx1"/>
              </a:solidFill>
              <a:effectLst/>
              <a:latin typeface="+mn-lt"/>
              <a:ea typeface="+mn-ea"/>
              <a:cs typeface="+mn-cs"/>
            </a:endParaRPr>
          </a:p>
          <a:p>
            <a:pPr marL="171450" indent="-171450">
              <a:buFontTx/>
              <a:buChar char="-"/>
            </a:pPr>
            <a:endParaRPr lang="en-US" sz="1200" b="0" i="0" kern="1200" dirty="0">
              <a:solidFill>
                <a:schemeClr val="tx1"/>
              </a:solidFill>
              <a:effectLst/>
              <a:latin typeface="+mn-lt"/>
              <a:ea typeface="+mn-ea"/>
              <a:cs typeface="+mn-cs"/>
            </a:endParaRPr>
          </a:p>
          <a:p>
            <a:pPr marL="171450" indent="-171450">
              <a:buFontTx/>
              <a:buChar char="-"/>
            </a:pPr>
            <a:r>
              <a:rPr lang="en-US" sz="1200" b="0" i="0" kern="1200" dirty="0">
                <a:solidFill>
                  <a:schemeClr val="tx1"/>
                </a:solidFill>
                <a:effectLst/>
                <a:latin typeface="+mn-lt"/>
                <a:ea typeface="+mn-ea"/>
                <a:cs typeface="+mn-cs"/>
              </a:rPr>
              <a:t>To provide redundancy to your application, we recommend that you group two or more virtual machines in an availability set.</a:t>
            </a:r>
            <a:endParaRPr lang="en-US" dirty="0"/>
          </a:p>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a:t>
            </a:r>
            <a:r>
              <a:rPr lang="en-US" dirty="0" err="1"/>
              <a:t>Pleace</a:t>
            </a:r>
            <a:r>
              <a:rPr lang="en-US" dirty="0"/>
              <a:t> resources in separate update domains – it is automatic (</a:t>
            </a:r>
            <a:r>
              <a:rPr lang="en-US" sz="1200" b="0" i="0" kern="1200" dirty="0">
                <a:solidFill>
                  <a:schemeClr val="tx1"/>
                </a:solidFill>
                <a:effectLst/>
                <a:latin typeface="+mn-lt"/>
                <a:ea typeface="+mn-ea"/>
                <a:cs typeface="+mn-cs"/>
              </a:rPr>
              <a:t>indicate groups of virtual machines and underlying physical hardware that can be rebooted at the same time. )</a:t>
            </a:r>
            <a:endParaRPr lang="en-US" dirty="0"/>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a:p>
            <a:pPr rtl="0"/>
            <a:r>
              <a:rPr lang="en-US" b="1" dirty="0"/>
              <a:t>Fault domains</a:t>
            </a:r>
          </a:p>
          <a:p>
            <a:pPr rtl="0"/>
            <a:r>
              <a:rPr lang="en-US" dirty="0"/>
              <a:t>A fault domain is a logical group of underlying hardware that share a common power source and network switch, similar to a rack within an on-premises datacenter. As you create VMs within an availability set, the Azure platform automatically distributes your VMs across these fault domains. This approach limits the impact of potential physical hardware failures, network outages, or power interruptions.+ </a:t>
            </a:r>
          </a:p>
          <a:p>
            <a:pPr rtl="0"/>
            <a:r>
              <a:rPr lang="en-US" b="1" dirty="0"/>
              <a:t>Update domains</a:t>
            </a:r>
          </a:p>
          <a:p>
            <a:pPr rtl="0"/>
            <a:r>
              <a:rPr lang="en-US" dirty="0"/>
              <a:t>An update domain is a logical group of underlying hardware that can undergo maintenance or be rebooted at the same time. As you create VMs within an availability set, the Azure platform automatically distributes your VMs across these update domains. This approach ensures that at least one instance of your application always remains running as the Azure platform undergoes periodic maintenance. The order of update domains being rebooted may not proceed sequentially during planned maintenance, but only one update domain is rebooted at a time.+ </a:t>
            </a:r>
          </a:p>
          <a:p>
            <a:pPr rtl="0"/>
            <a:r>
              <a:rPr lang="en-US" b="1" dirty="0"/>
              <a:t>Managed Disk fault domains</a:t>
            </a:r>
          </a:p>
          <a:p>
            <a:pPr rtl="0"/>
            <a:r>
              <a:rPr lang="en-US" dirty="0"/>
              <a:t>For VMs using </a:t>
            </a:r>
            <a:r>
              <a:rPr lang="en-US" dirty="0">
                <a:hlinkClick r:id="rId3"/>
              </a:rPr>
              <a:t>Azure Managed Disks</a:t>
            </a:r>
            <a:r>
              <a:rPr lang="en-US" dirty="0"/>
              <a:t>, VMs are aligned with managed disk fault domains when using a managed availability set. This alignment ensures that all the managed disks attached to a VM are within the same managed disk fault domain. Only VMs with managed disks can be created in a managed availability set. The number of managed disk fault domains varies by region - either two or three managed disk fault domains per region. You can read more about these managed disk fault domains for </a:t>
            </a:r>
            <a:r>
              <a:rPr lang="en-US" dirty="0">
                <a:hlinkClick r:id="rId4"/>
              </a:rPr>
              <a:t>Linux VMs</a:t>
            </a:r>
            <a:r>
              <a:rPr lang="en-US" dirty="0"/>
              <a:t> or </a:t>
            </a:r>
            <a:r>
              <a:rPr lang="en-US" dirty="0">
                <a:hlinkClick r:id="rId4"/>
              </a:rPr>
              <a:t>Windows VMs</a:t>
            </a:r>
            <a:r>
              <a:rPr lang="en-US" dirty="0"/>
              <a:t>.</a:t>
            </a:r>
          </a:p>
          <a:p>
            <a:pPr marL="171450" indent="-171450">
              <a:buFontTx/>
              <a:buChar char="-"/>
            </a:pPr>
            <a:endParaRPr lang="en-US" dirty="0"/>
          </a:p>
          <a:p>
            <a:pPr marL="171450" indent="-171450">
              <a:buFontTx/>
              <a:buChar char="-"/>
            </a:pPr>
            <a:endParaRPr lang="en-US" dirty="0"/>
          </a:p>
          <a:p>
            <a:pPr marL="171450" indent="-171450">
              <a:buFontTx/>
              <a:buChar char="-"/>
            </a:pPr>
            <a:r>
              <a:rPr lang="en-US" sz="1200" dirty="0">
                <a:hlinkClick r:id="rId5"/>
              </a:rPr>
              <a:t>https://docs.microsoft.com/en-us/azure/virtual-machines/windows/manage-availabilit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4705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Place resources in separate update domains – it is automatic</a:t>
            </a:r>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382786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95688" y="685800"/>
            <a:ext cx="3181350" cy="1789113"/>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342076698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0" y="685800"/>
            <a:ext cx="3113088" cy="1751013"/>
          </a:xfrm>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338247672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a:t>
            </a:r>
            <a:r>
              <a:rPr lang="en-US" baseline="0" dirty="0"/>
              <a:t> VMs are great</a:t>
            </a:r>
            <a:r>
              <a:rPr lang="is-IS" baseline="0" dirty="0"/>
              <a:t>… but managing a lot of them individually can be hard. </a:t>
            </a:r>
            <a:r>
              <a:rPr lang="en-US" dirty="0"/>
              <a:t>That’s where VM scale</a:t>
            </a:r>
            <a:r>
              <a:rPr lang="en-US" baseline="0" dirty="0"/>
              <a:t> sets comes in..</a:t>
            </a:r>
          </a:p>
          <a:p>
            <a:pPr marL="171450" indent="-171450">
              <a:buFontTx/>
              <a:buChar char="-"/>
            </a:pPr>
            <a:r>
              <a:rPr lang="en-US" baseline="0" dirty="0"/>
              <a:t>The goal here is to enable management of like VMs as a group and make it easy to scale them in/out based on demand.</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3/2018 10:00 P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48</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24468848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Ready 2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4E7DB0-0DD3-4EE3-9DF8-94AC5CA393B7}" type="datetime8">
              <a:rPr lang="en-US" smtClean="0">
                <a:solidFill>
                  <a:prstClr val="black"/>
                </a:solidFill>
              </a:rPr>
              <a:pPr/>
              <a:t>6/3/2018 10:0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6175974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rgbClr val="505050"/>
                    </a:gs>
                    <a:gs pos="100000">
                      <a:srgbClr val="505050"/>
                    </a:gs>
                  </a:gsLst>
                  <a:lin ang="5400000" scaled="0"/>
                </a:gradFill>
              </a:rPr>
              <a:t>Metrics emitted by Azure Diagnostic Extension</a:t>
            </a:r>
          </a:p>
          <a:p>
            <a:pPr>
              <a:defRPr/>
            </a:pPr>
            <a:r>
              <a:rPr lang="en-US" dirty="0">
                <a:gradFill>
                  <a:gsLst>
                    <a:gs pos="1250">
                      <a:srgbClr val="505050"/>
                    </a:gs>
                    <a:gs pos="100000">
                      <a:srgbClr val="505050"/>
                    </a:gs>
                  </a:gsLst>
                  <a:lin ang="5400000" scaled="0"/>
                </a:gradFill>
              </a:rPr>
              <a:t>Triggers can be basic performance metrics, and also schedule based, queue length based.</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Build 2016</a:t>
            </a: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6/3/2018 10:00 P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50</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8191969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548216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a:t>There are many different ways to deploy software to VM scale sets. I won’t go into any great detail here, but just to give you a flavor</a:t>
            </a:r>
            <a:r>
              <a:rPr lang="is-IS" baseline="0" dirty="0"/>
              <a:t>…</a:t>
            </a:r>
          </a:p>
          <a:p>
            <a:pPr marL="171450" indent="-171450">
              <a:buFontTx/>
              <a:buChar char="-"/>
            </a:pPr>
            <a:r>
              <a:rPr lang="is-IS" baseline="0" dirty="0"/>
              <a:t>If you’re simply looking to deploy an existing application off-the-shelf, you can use the Azure marketplace</a:t>
            </a:r>
          </a:p>
          <a:p>
            <a:pPr marL="171450" indent="-171450">
              <a:buFontTx/>
              <a:buChar char="-"/>
            </a:pPr>
            <a:r>
              <a:rPr lang="is-IS" baseline="0" dirty="0"/>
              <a:t>Alternatively, you can use what we call a VM extension, which is a task triggered inside the VM after the base image has booted, where you can run arbitrary scripts.</a:t>
            </a:r>
          </a:p>
          <a:p>
            <a:pPr marL="171450" indent="-171450">
              <a:buFontTx/>
              <a:buChar char="-"/>
            </a:pPr>
            <a:r>
              <a:rPr lang="is-IS" baseline="0" dirty="0"/>
              <a:t>You can also deploy a custom VM image that you’ve created with a tool like Packer</a:t>
            </a: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6/3/2018 10:00 P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51</a:t>
            </a:fld>
            <a:endParaRPr lang="en-US" altLang="en-US">
              <a:solidFill>
                <a:prstClr val="black"/>
              </a:solidFill>
            </a:endParaRPr>
          </a:p>
        </p:txBody>
      </p:sp>
    </p:spTree>
    <p:extLst>
      <p:ext uri="{BB962C8B-B14F-4D97-AF65-F5344CB8AC3E}">
        <p14:creationId xmlns:p14="http://schemas.microsoft.com/office/powerpoint/2010/main" val="424792909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 with that little bit of context</a:t>
            </a:r>
            <a:r>
              <a:rPr lang="en-US" baseline="0" dirty="0"/>
              <a:t> on VM scale sets, let’s start slowly moving up the stack</a:t>
            </a:r>
            <a:r>
              <a:rPr lang="is-IS" baseline="0" dirty="0"/>
              <a:t>…</a:t>
            </a:r>
          </a:p>
          <a:p>
            <a:pPr marL="171450" indent="-171450">
              <a:buFontTx/>
              <a:buChar char="-"/>
            </a:pPr>
            <a:r>
              <a:rPr lang="is-IS" baseline="0" dirty="0"/>
              <a:t>While you can use VMSS directly, we expect most customers will interact with them through a higher-level abstraction.</a:t>
            </a:r>
          </a:p>
          <a:p>
            <a:pPr marL="171450" indent="-171450">
              <a:buFontTx/>
              <a:buChar char="-"/>
            </a:pPr>
            <a:r>
              <a:rPr lang="is-IS" baseline="0" dirty="0"/>
              <a:t>One of those is Azure Batch, which enables highly-parallelizable job processing. You provide it with your job, configure the amount of compute you want to throw at it, and Batch will both schedule it efficiently and restart failed tasks as required.</a:t>
            </a:r>
          </a:p>
          <a:p>
            <a:pPr marL="171450" indent="-171450">
              <a:buFontTx/>
              <a:buChar char="-"/>
            </a:pPr>
            <a:r>
              <a:rPr lang="is-IS" baseline="0" dirty="0"/>
              <a:t>Common scenarios include financial risk modeling, climate analysis, and media encoding</a:t>
            </a:r>
          </a:p>
          <a:p>
            <a:pPr marL="171450" indent="-171450">
              <a:buFontTx/>
              <a:buChar char="-"/>
            </a:pPr>
            <a:endParaRPr lang="is-IS" baseline="0" dirty="0"/>
          </a:p>
          <a:p>
            <a:pPr marL="171450" indent="-171450">
              <a:buFontTx/>
              <a:buChar char="-"/>
            </a:pPr>
            <a:endParaRPr lang="is-I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6/3/2018 10:00 P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52</a:t>
            </a:fld>
            <a:endParaRPr lang="en-US" altLang="en-US">
              <a:solidFill>
                <a:prstClr val="black"/>
              </a:solidFill>
            </a:endParaRPr>
          </a:p>
        </p:txBody>
      </p:sp>
    </p:spTree>
    <p:extLst>
      <p:ext uri="{BB962C8B-B14F-4D97-AF65-F5344CB8AC3E}">
        <p14:creationId xmlns:p14="http://schemas.microsoft.com/office/powerpoint/2010/main" val="419899350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services/batch/</a:t>
            </a:r>
          </a:p>
          <a:p>
            <a:r>
              <a:rPr lang="en-US" dirty="0"/>
              <a:t>https://docs.microsoft.com/en-us/azure/virtual-machines/linux/high-performance-computing</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962753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Before we commence with the actual pitch for HPC or High Performance Computing, I’d like to take a moment and just address a few high-level points to help position HPC within MSFT and how our strategy is currently aligned to this particular scenario.</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HPC is not a solution per se, more of a way to deal with computational problems. It spans a great many industries, that each have preferred solutions or ways of using HPC depending on their area or busines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Common for HPC, whether we are in financial services or insurance calculating risk across large portfolios of policies, pricing of an instrument to calculating the airflow and dynamics or crash testing of a new car the need for massive compute power is crucial.</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very definition of HPC, is the ability to break a large computational problem into many smaller bits, and by using a cluster of computers have a massive amount of CPUs or GPUs work on the problem in parallel, outputting your results at the end.</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Since HPC spans a lot of verticals and application needs, let’s take a brief look at what our strategy i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014ACE-28F1-0D47-B703-15587AC4E6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273601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873300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a:t>
            </a:r>
            <a:r>
              <a:rPr lang="en-US" baseline="0"/>
              <a:t> you have an application that runs many tasks, these tasks can be assigned to run on different computers (or virtual machines—VMs—in the case of a cloud), so that they can run in parallel. These tasks can run independently or are coupled to each other (i.e., one tasks needs another task’s results to start running or complete). Throughout the task-running process, data is read, computed and written by the tasks.</a:t>
            </a:r>
            <a:endParaRPr lang="en-US"/>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3/2018 10:00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806945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961196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891883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59</a:t>
            </a:fld>
            <a:endParaRPr lang="en-US" dirty="0"/>
          </a:p>
        </p:txBody>
      </p:sp>
    </p:spTree>
    <p:extLst>
      <p:ext uri="{BB962C8B-B14F-4D97-AF65-F5344CB8AC3E}">
        <p14:creationId xmlns:p14="http://schemas.microsoft.com/office/powerpoint/2010/main" val="181547921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54865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you can see, we have </a:t>
            </a:r>
            <a:r>
              <a:rPr lang="en-US" b="1" u="sng" dirty="0"/>
              <a:t>A LOT </a:t>
            </a:r>
            <a:r>
              <a:rPr lang="en-US" dirty="0"/>
              <a:t>to </a:t>
            </a:r>
            <a:r>
              <a:rPr lang="en-US"/>
              <a:t>cover so </a:t>
            </a:r>
            <a:r>
              <a:rPr lang="en-US" dirty="0"/>
              <a:t>please jot down your questions and hold them to the end. </a:t>
            </a:r>
          </a:p>
          <a:p>
            <a:endParaRPr lang="en-US" dirty="0"/>
          </a:p>
          <a:p>
            <a:r>
              <a:rPr lang="en-US" dirty="0"/>
              <a:t>https://www.microsoft.com/en-us/learning/exam-70-535.aspx</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a:t>
            </a:fld>
            <a:endParaRPr lang="en-US" dirty="0"/>
          </a:p>
        </p:txBody>
      </p:sp>
    </p:spTree>
    <p:extLst>
      <p:ext uri="{BB962C8B-B14F-4D97-AF65-F5344CB8AC3E}">
        <p14:creationId xmlns:p14="http://schemas.microsoft.com/office/powerpoint/2010/main" val="303577122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735800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322196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614761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314092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tainers—greater density, consistent way to package and deliver apps with minimal code changes</a:t>
            </a:r>
          </a:p>
          <a:p>
            <a:endParaRPr lang="en-US" dirty="0"/>
          </a:p>
          <a:p>
            <a:r>
              <a:rPr lang="en-US" dirty="0"/>
              <a:t>VMs virtualize HW creating illusion of VMs each having their own guest OS</a:t>
            </a:r>
          </a:p>
          <a:p>
            <a:r>
              <a:rPr lang="en-US" dirty="0"/>
              <a:t>Containers virtualize OS. Share OS and create an isolated instance of the OS for each application</a:t>
            </a:r>
          </a:p>
          <a:p>
            <a:r>
              <a:rPr lang="en-US" dirty="0"/>
              <a:t>Faster app start up compared to booting up a VM</a:t>
            </a:r>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3839885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a:t>
            </a:r>
            <a:r>
              <a:rPr lang="en-US" baseline="0"/>
              <a:t> benefits do you get from containers?</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588842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rom</a:t>
            </a:r>
            <a:r>
              <a:rPr lang="en-US" baseline="0"/>
              <a:t> the diagram, you saw there’s less baggage.</a:t>
            </a:r>
          </a:p>
          <a:p>
            <a:r>
              <a:rPr lang="en-US" baseline="0"/>
              <a:t>	- not spinning up new kernel for each app</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5193066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uaranteed to run consistently, no matter</a:t>
            </a:r>
            <a:r>
              <a:rPr lang="en-US" baseline="0"/>
              <a:t> where you </a:t>
            </a:r>
            <a:r>
              <a:rPr lang="en-US" baseline="0" err="1"/>
              <a:t>depoy</a:t>
            </a:r>
            <a:endParaRPr lang="en-US" baseline="0"/>
          </a:p>
          <a:p>
            <a:r>
              <a:rPr lang="en-US"/>
              <a:t>Complete</a:t>
            </a:r>
            <a:r>
              <a:rPr lang="en-US" baseline="0"/>
              <a:t> Isolation</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772700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rite</a:t>
            </a:r>
            <a:r>
              <a:rPr lang="en-US" baseline="0"/>
              <a:t> Once, run anywhere</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0831738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73476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619657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620266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 orchestrator is to containers what a hypervisor is to VMs</a:t>
            </a:r>
          </a:p>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317187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1861729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6/3/2018 10:00 P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74</a:t>
            </a:fld>
            <a:endParaRPr lang="en-US" altLang="en-US" sz="1800" kern="0">
              <a:solidFill>
                <a:sysClr val="windowText" lastClr="000000"/>
              </a:solidFill>
            </a:endParaRPr>
          </a:p>
        </p:txBody>
      </p:sp>
    </p:spTree>
    <p:extLst>
      <p:ext uri="{BB962C8B-B14F-4D97-AF65-F5344CB8AC3E}">
        <p14:creationId xmlns:p14="http://schemas.microsoft.com/office/powerpoint/2010/main" val="192827667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96201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monolithic app contains domain-specific functionality and is normally divided by functional layers, such as web, business, and data.</a:t>
            </a:r>
          </a:p>
          <a:p>
            <a:r>
              <a:rPr lang="en-US" dirty="0"/>
              <a:t>You scale a monolithic app by cloning it on multiple servers/virtual machines/containers.</a:t>
            </a:r>
          </a:p>
          <a:p>
            <a:r>
              <a:rPr lang="en-US" dirty="0"/>
              <a:t>A microservice application separates functionality into separate smaller services.</a:t>
            </a:r>
          </a:p>
          <a:p>
            <a:r>
              <a:rPr lang="en-US" dirty="0"/>
              <a:t>The microservices approach scales out by deploying each service independently, creating instances of these services across servers/virtual machines/containers.</a:t>
            </a:r>
          </a:p>
          <a:p>
            <a:endParaRPr lang="en-US" b="1" dirty="0"/>
          </a:p>
          <a:p>
            <a:endParaRPr lang="en-US" b="1" dirty="0"/>
          </a:p>
          <a:p>
            <a:r>
              <a:rPr lang="en-US" b="1" dirty="0"/>
              <a:t>What is a microservice?</a:t>
            </a:r>
          </a:p>
          <a:p>
            <a:r>
              <a:rPr lang="en-US" dirty="0"/>
              <a:t>There are different definitions of microservices. If you search the Internet, you'll find many useful resources that provide their own viewpoints and definitions. However, most of the following characteristics of microservices are widely agreed upon:+ </a:t>
            </a:r>
          </a:p>
          <a:p>
            <a:r>
              <a:rPr lang="en-US" dirty="0"/>
              <a:t>Encapsulate a customer or business scenario. What is the problem you are solving?</a:t>
            </a:r>
          </a:p>
          <a:p>
            <a:r>
              <a:rPr lang="en-US" dirty="0"/>
              <a:t>Developed by a small engineering team.</a:t>
            </a:r>
          </a:p>
          <a:p>
            <a:r>
              <a:rPr lang="en-US" dirty="0"/>
              <a:t>Written in any programming language and use any framework.</a:t>
            </a:r>
          </a:p>
          <a:p>
            <a:r>
              <a:rPr lang="en-US" dirty="0"/>
              <a:t>Consist of code and (optionally) state, both of which are independently versioned, deployed, and scaled.</a:t>
            </a:r>
          </a:p>
          <a:p>
            <a:r>
              <a:rPr lang="en-US" dirty="0"/>
              <a:t>Interact with other microservices over well-defined interfaces and protocols.</a:t>
            </a:r>
          </a:p>
          <a:p>
            <a:r>
              <a:rPr lang="en-US" dirty="0"/>
              <a:t>Have unique names (URLs) used to resolve their location.</a:t>
            </a:r>
          </a:p>
          <a:p>
            <a:r>
              <a:rPr lang="en-US" dirty="0"/>
              <a:t>Remain consistent and available in the presence of failures.</a:t>
            </a:r>
          </a:p>
          <a:p>
            <a:r>
              <a:rPr lang="en-US" dirty="0"/>
              <a:t>+ </a:t>
            </a:r>
          </a:p>
          <a:p>
            <a:r>
              <a:rPr lang="en-US" dirty="0"/>
              <a:t>You can summarize these characteristics into:+ </a:t>
            </a:r>
          </a:p>
          <a:p>
            <a:r>
              <a:rPr lang="en-US" b="1" i="1" dirty="0"/>
              <a:t>Microservice applications are composed of small, independently versioned, and scalable customer-focused services that communicate with each other over standard protocols with well-defined interfaces.</a:t>
            </a:r>
            <a:r>
              <a:rPr lang="en-US" dirty="0"/>
              <a:t>+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997331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77</a:t>
            </a:fld>
            <a:endParaRPr lang="en-US" dirty="0"/>
          </a:p>
        </p:txBody>
      </p:sp>
    </p:spTree>
    <p:extLst>
      <p:ext uri="{BB962C8B-B14F-4D97-AF65-F5344CB8AC3E}">
        <p14:creationId xmlns:p14="http://schemas.microsoft.com/office/powerpoint/2010/main" val="362760524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6/3/2018 10:00 P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78</a:t>
            </a:fld>
            <a:endParaRPr lang="en-US" altLang="en-US" sz="1800" kern="0">
              <a:solidFill>
                <a:sysClr val="windowText" lastClr="000000"/>
              </a:solidFill>
            </a:endParaRPr>
          </a:p>
        </p:txBody>
      </p:sp>
    </p:spTree>
    <p:extLst>
      <p:ext uri="{BB962C8B-B14F-4D97-AF65-F5344CB8AC3E}">
        <p14:creationId xmlns:p14="http://schemas.microsoft.com/office/powerpoint/2010/main" val="859917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91500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ICE FABRIC NOW OPEN SOURCE</a:t>
            </a:r>
            <a:br>
              <a:rPr lang="en-US" dirty="0"/>
            </a:br>
            <a:br>
              <a:rPr lang="en-US" dirty="0"/>
            </a:br>
            <a:r>
              <a:rPr lang="en-US" dirty="0"/>
              <a:t>Service Fabric enables you to build and manage scalable and reliable applications composed of microservices running at very high density on a shared pool of machines (commonly referred to as a Service Fabric cluster).</a:t>
            </a:r>
          </a:p>
          <a:p>
            <a:endParaRPr lang="en-US" dirty="0"/>
          </a:p>
          <a:p>
            <a:r>
              <a:rPr lang="en-US" dirty="0"/>
              <a:t>Powers a huge set of Microsoft Services: </a:t>
            </a:r>
            <a:r>
              <a:rPr lang="pt-PT" dirty="0"/>
              <a:t>Azure SQL Database, Azure CosmosDB, Cortana, Power BI, Microsoft Intune, Azure Event Hubs, Skype for Business and others</a:t>
            </a:r>
          </a:p>
          <a:p>
            <a:endParaRPr lang="en-US" dirty="0"/>
          </a:p>
          <a:p>
            <a:r>
              <a:rPr lang="en-US" dirty="0"/>
              <a:t>It provides a sophisticated runtime for building distributed, scalable stateless and stateful microservices. </a:t>
            </a:r>
          </a:p>
          <a:p>
            <a:endParaRPr lang="en-US" dirty="0"/>
          </a:p>
          <a:p>
            <a:r>
              <a:rPr lang="en-US" dirty="0"/>
              <a:t>Also provides comprehensive application management capabilities for provisioning, deploying, monitoring, upgrading/patching, and deleting deployed applications.</a:t>
            </a:r>
          </a:p>
          <a:p>
            <a:endParaRPr lang="en-US" dirty="0"/>
          </a:p>
          <a:p>
            <a:r>
              <a:rPr lang="en-US" dirty="0"/>
              <a:t>Service Fabric is tailored to creating “born in the cloud” services that can start small, as needed, and grow to massive scale with hundreds or thousands of machines, creating Service Fabric clusters across availability sets in a region or across regions.</a:t>
            </a:r>
            <a:endParaRPr lang="pt-PT" dirty="0"/>
          </a:p>
          <a:p>
            <a:pPr marL="171450" indent="-171450">
              <a:buFontTx/>
              <a:buChar char="-"/>
            </a:pP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32680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b="0" i="0" u="none" strike="noStrike" kern="1200" dirty="0">
                <a:solidFill>
                  <a:schemeClr val="tx1"/>
                </a:solidFill>
                <a:effectLst/>
                <a:latin typeface="+mn-lt"/>
                <a:ea typeface="+mn-ea"/>
                <a:cs typeface="+mn-cs"/>
                <a:hlinkClick r:id="rId3"/>
              </a:rPr>
              <a:t>Preview Version 1.7 (2017-04-20)</a:t>
            </a:r>
            <a:endParaRPr lang="de-DE" dirty="0"/>
          </a:p>
        </p:txBody>
      </p:sp>
      <p:sp>
        <p:nvSpPr>
          <p:cNvPr id="4" name="Slide Number Placeholder 3"/>
          <p:cNvSpPr>
            <a:spLocks noGrp="1"/>
          </p:cNvSpPr>
          <p:nvPr>
            <p:ph type="sldNum" sz="quarter" idx="10"/>
          </p:nvPr>
        </p:nvSpPr>
        <p:spPr/>
        <p:txBody>
          <a:bodyPr/>
          <a:lstStyle/>
          <a:p>
            <a:pPr>
              <a:defRPr/>
            </a:pPr>
            <a:fld id="{BC0D98F3-66B1-4734-AFB3-E657E989C9AD}" type="slidenum">
              <a:rPr lang="de-DE" smtClean="0">
                <a:solidFill>
                  <a:prstClr val="black"/>
                </a:solidFill>
              </a:rPr>
              <a:pPr>
                <a:defRPr/>
              </a:pPr>
              <a:t>14</a:t>
            </a:fld>
            <a:endParaRPr lang="de-DE">
              <a:solidFill>
                <a:prstClr val="black"/>
              </a:solidFill>
            </a:endParaRPr>
          </a:p>
        </p:txBody>
      </p:sp>
    </p:spTree>
    <p:extLst>
      <p:ext uri="{BB962C8B-B14F-4D97-AF65-F5344CB8AC3E}">
        <p14:creationId xmlns:p14="http://schemas.microsoft.com/office/powerpoint/2010/main" val="51577005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33486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14400">
              <a:defRPr/>
            </a:pPr>
            <a:r>
              <a:rPr lang="en-US" sz="1800" kern="0">
                <a:solidFill>
                  <a:sysClr val="windowText" lastClr="000000"/>
                </a:solidFill>
              </a:rPr>
              <a:t>Microsoft 2016</a:t>
            </a:r>
          </a:p>
        </p:txBody>
      </p:sp>
      <p:sp>
        <p:nvSpPr>
          <p:cNvPr id="5" name="Footer Placeholder 4"/>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38EEC551-8CDA-4EB6-89BB-2A86C9F091C8}" type="datetime8">
              <a:rPr lang="en-US" sz="1800" kern="0" smtClean="0">
                <a:solidFill>
                  <a:sysClr val="windowText" lastClr="000000"/>
                </a:solidFill>
              </a:rPr>
              <a:pPr defTabSz="914400">
                <a:defRPr/>
              </a:pPr>
              <a:t>6/3/2018 10:00 P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B4008EB6-D09E-4580-8CD6-DDB14511944F}" type="slidenum">
              <a:rPr lang="en-US" sz="1800" kern="0" smtClean="0">
                <a:solidFill>
                  <a:sysClr val="windowText" lastClr="000000"/>
                </a:solidFill>
              </a:rPr>
              <a:pPr defTabSz="914400">
                <a:defRPr/>
              </a:pPr>
              <a:t>82</a:t>
            </a:fld>
            <a:endParaRPr lang="en-US" sz="1800" kern="0">
              <a:solidFill>
                <a:sysClr val="windowText" lastClr="000000"/>
              </a:solidFill>
            </a:endParaRPr>
          </a:p>
        </p:txBody>
      </p:sp>
    </p:spTree>
    <p:extLst>
      <p:ext uri="{BB962C8B-B14F-4D97-AF65-F5344CB8AC3E}">
        <p14:creationId xmlns:p14="http://schemas.microsoft.com/office/powerpoint/2010/main" val="347231454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i="0" baseline="0" dirty="0"/>
          </a:p>
        </p:txBody>
      </p:sp>
      <p:sp>
        <p:nvSpPr>
          <p:cNvPr id="4" name="Slide Number Placeholder 3"/>
          <p:cNvSpPr>
            <a:spLocks noGrp="1"/>
          </p:cNvSpPr>
          <p:nvPr>
            <p:ph type="sldNum" sz="quarter" idx="10"/>
          </p:nvPr>
        </p:nvSpPr>
        <p:spPr/>
        <p:txBody>
          <a:bodyPr/>
          <a:lstStyle/>
          <a:p>
            <a:pPr defTabSz="931863" fontAlgn="base">
              <a:spcBef>
                <a:spcPct val="0"/>
              </a:spcBef>
              <a:spcAft>
                <a:spcPct val="0"/>
              </a:spcAft>
              <a:defRPr/>
            </a:pPr>
            <a:fld id="{8B263312-38AA-4E1E-B2B5-0F8F122B24FE}" type="slidenum">
              <a:rPr lang="en-US"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83</a:t>
            </a:fld>
            <a:endParaRPr lang="en-US" dirty="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376275235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84</a:t>
            </a:fld>
            <a:endParaRPr lang="en-US" dirty="0"/>
          </a:p>
        </p:txBody>
      </p:sp>
    </p:spTree>
    <p:extLst>
      <p:ext uri="{BB962C8B-B14F-4D97-AF65-F5344CB8AC3E}">
        <p14:creationId xmlns:p14="http://schemas.microsoft.com/office/powerpoint/2010/main" val="92506712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85</a:t>
            </a:fld>
            <a:endParaRPr lang="en-US" dirty="0"/>
          </a:p>
        </p:txBody>
      </p:sp>
    </p:spTree>
    <p:extLst>
      <p:ext uri="{BB962C8B-B14F-4D97-AF65-F5344CB8AC3E}">
        <p14:creationId xmlns:p14="http://schemas.microsoft.com/office/powerpoint/2010/main" val="299167563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486785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EVERYTHING BUILT OUT FOR YOU</a:t>
            </a:r>
          </a:p>
          <a:p>
            <a:endParaRPr lang="en-CA" dirty="0"/>
          </a:p>
          <a:p>
            <a:r>
              <a:rPr lang="en-CA" dirty="0"/>
              <a:t>NO REQUIREMENT TO USE EXPRESS ROUTE FOR THIS</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2016</a:t>
            </a: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6/3/2018 10:00 P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87</a:t>
            </a:fld>
            <a:endParaRPr lang="en-US">
              <a:solidFill>
                <a:prstClr val="black"/>
              </a:solidFill>
              <a:latin typeface="Segoe UI" pitchFamily="34" charset="0"/>
            </a:endParaRPr>
          </a:p>
        </p:txBody>
      </p:sp>
    </p:spTree>
    <p:extLst>
      <p:ext uri="{BB962C8B-B14F-4D97-AF65-F5344CB8AC3E}">
        <p14:creationId xmlns:p14="http://schemas.microsoft.com/office/powerpoint/2010/main" val="423841811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PAAS HIDES COMPLEXITY</a:t>
            </a:r>
            <a:endParaRPr lang="en-US" dirty="0"/>
          </a:p>
          <a:p>
            <a:endParaRPr lang="en-US" dirty="0"/>
          </a:p>
          <a:p>
            <a:r>
              <a:rPr lang="en-US" dirty="0"/>
              <a:t>https://docs.microsoft.com/en-us/azure/architecture/reference-architectures/app-service-web-app/basic-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88</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scalable-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89</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multi-region</a:t>
            </a:r>
          </a:p>
        </p:txBody>
      </p:sp>
      <p:sp>
        <p:nvSpPr>
          <p:cNvPr id="4" name="Slide Number Placeholder 3"/>
          <p:cNvSpPr>
            <a:spLocks noGrp="1"/>
          </p:cNvSpPr>
          <p:nvPr>
            <p:ph type="sldNum" sz="quarter" idx="10"/>
          </p:nvPr>
        </p:nvSpPr>
        <p:spPr/>
        <p:txBody>
          <a:bodyPr/>
          <a:lstStyle/>
          <a:p>
            <a:fld id="{3AB32C7E-D9C3-40D4-8B5C-4BFC5FA60907}" type="slidenum">
              <a:rPr lang="en-US" smtClean="0"/>
              <a:t>90</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o…  </a:t>
            </a:r>
            <a:r>
              <a:rPr lang="en-US" dirty="0" err="1"/>
              <a:t>aqui</a:t>
            </a:r>
            <a:r>
              <a:rPr lang="en-US" dirty="0"/>
              <a:t>…  </a:t>
            </a:r>
            <a:r>
              <a:rPr lang="en-US" dirty="0" err="1"/>
              <a:t>aqui</a:t>
            </a:r>
            <a:r>
              <a:rPr lang="en-US" dirty="0"/>
              <a:t> </a:t>
            </a:r>
            <a:r>
              <a:rPr lang="en-US" dirty="0" err="1"/>
              <a:t>esta</a:t>
            </a:r>
            <a:r>
              <a:rPr lang="en-US" dirty="0"/>
              <a:t> </a:t>
            </a:r>
            <a:r>
              <a:rPr lang="en-US" dirty="0" err="1"/>
              <a:t>differente</a:t>
            </a:r>
            <a:r>
              <a:rPr lang="en-US" dirty="0"/>
              <a:t>!</a:t>
            </a:r>
          </a:p>
          <a:p>
            <a:endParaRPr lang="en-US" dirty="0"/>
          </a:p>
          <a:p>
            <a:r>
              <a:rPr lang="en-US" dirty="0" err="1"/>
              <a:t>Alguien</a:t>
            </a:r>
            <a:r>
              <a:rPr lang="en-US" dirty="0"/>
              <a:t> ha </a:t>
            </a:r>
            <a:r>
              <a:rPr lang="en-US" dirty="0" err="1"/>
              <a:t>estado</a:t>
            </a:r>
            <a:r>
              <a:rPr lang="en-US" dirty="0"/>
              <a:t> </a:t>
            </a:r>
            <a:r>
              <a:rPr lang="en-US" dirty="0" err="1"/>
              <a:t>aqui</a:t>
            </a:r>
            <a:r>
              <a:rPr lang="en-US" dirty="0"/>
              <a:t>?!</a:t>
            </a:r>
          </a:p>
          <a:p>
            <a:r>
              <a:rPr lang="en-US" dirty="0" err="1"/>
              <a:t>Alguien</a:t>
            </a:r>
            <a:r>
              <a:rPr lang="en-US" dirty="0"/>
              <a:t> </a:t>
            </a:r>
            <a:r>
              <a:rPr lang="en-US" dirty="0" err="1"/>
              <a:t>concoce</a:t>
            </a:r>
            <a:r>
              <a:rPr lang="en-US" dirty="0"/>
              <a:t> </a:t>
            </a:r>
            <a:r>
              <a:rPr lang="en-US" dirty="0" err="1"/>
              <a:t>este</a:t>
            </a:r>
            <a:r>
              <a:rPr lang="en-US" dirty="0"/>
              <a:t> </a:t>
            </a:r>
            <a:r>
              <a:rPr lang="en-US" dirty="0" err="1"/>
              <a:t>lugar</a:t>
            </a:r>
            <a:r>
              <a:rPr lang="en-US" dirty="0"/>
              <a:t>?</a:t>
            </a:r>
          </a:p>
          <a:p>
            <a:endParaRPr lang="en-US" dirty="0"/>
          </a:p>
          <a:p>
            <a:r>
              <a:rPr lang="en-US" dirty="0"/>
              <a:t>Este </a:t>
            </a:r>
            <a:r>
              <a:rPr lang="en-US" dirty="0" err="1"/>
              <a:t>es</a:t>
            </a:r>
            <a:r>
              <a:rPr lang="en-US" dirty="0"/>
              <a:t> un </a:t>
            </a:r>
            <a:r>
              <a:rPr lang="en-US" dirty="0" err="1"/>
              <a:t>centro</a:t>
            </a:r>
            <a:r>
              <a:rPr lang="en-US" dirty="0"/>
              <a:t> </a:t>
            </a:r>
            <a:r>
              <a:rPr lang="en-US" dirty="0" err="1"/>
              <a:t>comercial</a:t>
            </a:r>
            <a:r>
              <a:rPr lang="en-US" dirty="0"/>
              <a:t> circa de Miami.   Se llama “Sawgrass Mills”.</a:t>
            </a:r>
          </a:p>
          <a:p>
            <a:endParaRPr lang="en-US" dirty="0"/>
          </a:p>
          <a:p>
            <a:r>
              <a:rPr lang="en-US" dirty="0" err="1"/>
              <a:t>Yo</a:t>
            </a:r>
            <a:r>
              <a:rPr lang="en-US" dirty="0"/>
              <a:t> </a:t>
            </a:r>
            <a:r>
              <a:rPr lang="en-US" dirty="0" err="1"/>
              <a:t>fui</a:t>
            </a:r>
            <a:r>
              <a:rPr lang="en-US" dirty="0"/>
              <a:t> a </a:t>
            </a:r>
            <a:r>
              <a:rPr lang="en-US" dirty="0" err="1"/>
              <a:t>este</a:t>
            </a:r>
            <a:r>
              <a:rPr lang="en-US" dirty="0"/>
              <a:t> </a:t>
            </a:r>
            <a:r>
              <a:rPr lang="en-US" dirty="0" err="1"/>
              <a:t>lugar</a:t>
            </a:r>
            <a:r>
              <a:rPr lang="en-US" dirty="0"/>
              <a:t> </a:t>
            </a:r>
            <a:r>
              <a:rPr lang="en-US" dirty="0" err="1"/>
              <a:t>una</a:t>
            </a:r>
            <a:r>
              <a:rPr lang="en-US" dirty="0"/>
              <a:t> </a:t>
            </a:r>
            <a:r>
              <a:rPr lang="en-US" dirty="0" err="1"/>
              <a:t>vez</a:t>
            </a:r>
            <a:r>
              <a:rPr lang="en-US" dirty="0"/>
              <a:t>.   </a:t>
            </a:r>
            <a:r>
              <a:rPr lang="en-US" dirty="0" err="1"/>
              <a:t>Hace</a:t>
            </a:r>
            <a:r>
              <a:rPr lang="en-US" dirty="0"/>
              <a:t> </a:t>
            </a:r>
            <a:r>
              <a:rPr lang="en-US" dirty="0" err="1"/>
              <a:t>diez</a:t>
            </a:r>
            <a:r>
              <a:rPr lang="en-US" dirty="0"/>
              <a:t> </a:t>
            </a:r>
            <a:r>
              <a:rPr lang="en-US" dirty="0" err="1"/>
              <a:t>anos</a:t>
            </a:r>
            <a:r>
              <a:rPr lang="en-US" dirty="0"/>
              <a:t>?  No me </a:t>
            </a:r>
            <a:r>
              <a:rPr lang="en-US" dirty="0" err="1"/>
              <a:t>recuerdo</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i no </a:t>
            </a:r>
            <a:r>
              <a:rPr lang="en-US" dirty="0" err="1"/>
              <a:t>sabe</a:t>
            </a:r>
            <a:r>
              <a:rPr lang="en-US" dirty="0"/>
              <a:t> lo que </a:t>
            </a:r>
            <a:r>
              <a:rPr lang="en-US" dirty="0" err="1"/>
              <a:t>quiere</a:t>
            </a:r>
            <a:r>
              <a:rPr lang="en-US" dirty="0"/>
              <a:t> </a:t>
            </a:r>
            <a:r>
              <a:rPr lang="en-US" dirty="0" err="1"/>
              <a:t>comprar</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es</a:t>
            </a:r>
            <a:r>
              <a:rPr lang="en-US" dirty="0"/>
              <a:t> </a:t>
            </a:r>
            <a:r>
              <a:rPr lang="en-US" dirty="0" err="1"/>
              <a:t>facil</a:t>
            </a:r>
            <a:r>
              <a:rPr lang="en-US" dirty="0"/>
              <a:t> </a:t>
            </a:r>
            <a:r>
              <a:rPr lang="en-US" dirty="0" err="1"/>
              <a:t>perderse</a:t>
            </a:r>
            <a:r>
              <a:rPr lang="en-US" dirty="0"/>
              <a:t> </a:t>
            </a:r>
            <a:r>
              <a:rPr lang="en-US" dirty="0" err="1"/>
              <a:t>aqui</a:t>
            </a:r>
            <a:r>
              <a:rPr lang="en-US" dirty="0"/>
              <a:t>?!</a:t>
            </a:r>
          </a:p>
          <a:p>
            <a:endParaRPr lang="en-US" dirty="0"/>
          </a:p>
          <a:p>
            <a:r>
              <a:rPr lang="en-US" dirty="0"/>
              <a:t>Se </a:t>
            </a:r>
            <a:r>
              <a:rPr lang="en-US" dirty="0" err="1"/>
              <a:t>necesitan</a:t>
            </a:r>
            <a:r>
              <a:rPr lang="en-US" dirty="0"/>
              <a:t> </a:t>
            </a:r>
            <a:r>
              <a:rPr lang="en-US" dirty="0" err="1"/>
              <a:t>una</a:t>
            </a:r>
            <a:r>
              <a:rPr lang="en-US" dirty="0"/>
              <a:t> </a:t>
            </a:r>
            <a:r>
              <a:rPr lang="en-US" dirty="0" err="1"/>
              <a:t>guia</a:t>
            </a:r>
            <a:r>
              <a:rPr lang="en-US" dirty="0"/>
              <a:t>!</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05357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services/api-management/</a:t>
            </a:r>
          </a:p>
        </p:txBody>
      </p:sp>
      <p:sp>
        <p:nvSpPr>
          <p:cNvPr id="4" name="Slide Number Placeholder 3"/>
          <p:cNvSpPr>
            <a:spLocks noGrp="1"/>
          </p:cNvSpPr>
          <p:nvPr>
            <p:ph type="sldNum" sz="quarter" idx="10"/>
          </p:nvPr>
        </p:nvSpPr>
        <p:spPr/>
        <p:txBody>
          <a:bodyPr/>
          <a:lstStyle/>
          <a:p>
            <a:fld id="{3AB32C7E-D9C3-40D4-8B5C-4BFC5FA60907}" type="slidenum">
              <a:rPr lang="en-US" smtClean="0"/>
              <a:t>91</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43594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641570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bstraction of servers, infrastructure and configuration of operating system</a:t>
            </a:r>
          </a:p>
          <a:p>
            <a:r>
              <a:rPr lang="en-US" dirty="0"/>
              <a:t>Event-driven scale</a:t>
            </a:r>
          </a:p>
          <a:p>
            <a:r>
              <a:rPr lang="en-US" dirty="0"/>
              <a:t>Sub-second billing</a:t>
            </a:r>
          </a:p>
          <a:p>
            <a:r>
              <a:rPr lang="en-US" dirty="0"/>
              <a:t>Stateless</a:t>
            </a:r>
          </a:p>
          <a:p>
            <a:endParaRPr lang="en-US" dirty="0"/>
          </a:p>
          <a:p>
            <a:pPr lvl="0" rt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is a </a:t>
            </a:r>
            <a:r>
              <a:rPr lang="en-US" sz="1200" b="1" kern="1200" dirty="0">
                <a:solidFill>
                  <a:schemeClr val="tx1"/>
                </a:solidFill>
                <a:effectLst/>
                <a:latin typeface="+mn-lt"/>
                <a:ea typeface="+mn-ea"/>
                <a:cs typeface="+mn-cs"/>
              </a:rPr>
              <a:t>fully managed</a:t>
            </a:r>
            <a:r>
              <a:rPr lang="en-US" sz="1200" kern="1200" dirty="0">
                <a:solidFill>
                  <a:schemeClr val="tx1"/>
                </a:solidFill>
                <a:effectLst/>
                <a:latin typeface="+mn-lt"/>
                <a:ea typeface="+mn-ea"/>
                <a:cs typeface="+mn-cs"/>
              </a:rPr>
              <a:t> service. Some refer to it as Functions as a Service</a:t>
            </a:r>
          </a:p>
          <a:p>
            <a:pPr lvl="1"/>
            <a:r>
              <a:rPr lang="en-US" sz="1200" kern="1200" dirty="0">
                <a:solidFill>
                  <a:schemeClr val="tx1"/>
                </a:solidFill>
                <a:effectLst/>
                <a:latin typeface="+mn-lt"/>
                <a:ea typeface="+mn-ea"/>
                <a:cs typeface="+mn-cs"/>
              </a:rPr>
              <a:t>OS and Framework patching is performed for you</a:t>
            </a:r>
          </a:p>
          <a:p>
            <a:pPr lvl="1"/>
            <a:r>
              <a:rPr lang="en-US" sz="1200" kern="1200" dirty="0">
                <a:solidFill>
                  <a:schemeClr val="tx1"/>
                </a:solidFill>
                <a:effectLst/>
                <a:latin typeface="+mn-lt"/>
                <a:ea typeface="+mn-ea"/>
                <a:cs typeface="+mn-cs"/>
              </a:rPr>
              <a:t>There is zero administrative tasks and no need to manage any infrastructure </a:t>
            </a:r>
          </a:p>
          <a:p>
            <a:pPr lvl="1"/>
            <a:r>
              <a:rPr lang="en-US" sz="1200" kern="1200" dirty="0">
                <a:solidFill>
                  <a:schemeClr val="tx1"/>
                </a:solidFill>
                <a:effectLst/>
                <a:latin typeface="+mn-lt"/>
                <a:ea typeface="+mn-ea"/>
                <a:cs typeface="+mn-cs"/>
              </a:rPr>
              <a:t>You just deploy your code (function) and it runs</a:t>
            </a:r>
          </a:p>
          <a:p>
            <a:pPr lvl="1"/>
            <a:r>
              <a:rPr lang="en-US" sz="1200" kern="1200" dirty="0">
                <a:solidFill>
                  <a:schemeClr val="tx1"/>
                </a:solidFill>
                <a:effectLst/>
                <a:latin typeface="+mn-lt"/>
                <a:ea typeface="+mn-ea"/>
                <a:cs typeface="+mn-cs"/>
              </a:rPr>
              <a:t>Your code runs within seconds and for very short period of time</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scales quickly </a:t>
            </a:r>
            <a:r>
              <a:rPr lang="en-US" sz="1200" kern="1200" dirty="0">
                <a:solidFill>
                  <a:schemeClr val="tx1"/>
                </a:solidFill>
                <a:effectLst/>
                <a:latin typeface="+mn-lt"/>
                <a:ea typeface="+mn-ea"/>
                <a:cs typeface="+mn-cs"/>
              </a:rPr>
              <a:t>(almost </a:t>
            </a:r>
            <a:r>
              <a:rPr lang="en-US" sz="1200" b="1" kern="1200" dirty="0">
                <a:solidFill>
                  <a:schemeClr val="tx1"/>
                </a:solidFill>
                <a:effectLst/>
                <a:latin typeface="+mn-lt"/>
                <a:ea typeface="+mn-ea"/>
                <a:cs typeface="+mn-cs"/>
              </a:rPr>
              <a:t>instantly</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vastly</a:t>
            </a:r>
            <a:r>
              <a:rPr lang="en-US" sz="1200" kern="1200" dirty="0">
                <a:solidFill>
                  <a:schemeClr val="tx1"/>
                </a:solidFill>
                <a:effectLst/>
                <a:latin typeface="+mn-lt"/>
                <a:ea typeface="+mn-ea"/>
                <a:cs typeface="+mn-cs"/>
              </a:rPr>
              <a:t> </a:t>
            </a:r>
          </a:p>
          <a:p>
            <a:pPr lvl="1"/>
            <a:r>
              <a:rPr lang="en-US" sz="1200" kern="1200" dirty="0">
                <a:solidFill>
                  <a:schemeClr val="tx1"/>
                </a:solidFill>
                <a:effectLst/>
                <a:latin typeface="+mn-lt"/>
                <a:ea typeface="+mn-ea"/>
                <a:cs typeface="+mn-cs"/>
              </a:rPr>
              <a:t>Automatically scales </a:t>
            </a:r>
            <a:r>
              <a:rPr lang="en-US" sz="1200" b="1" kern="1200" dirty="0">
                <a:solidFill>
                  <a:schemeClr val="tx1"/>
                </a:solidFill>
                <a:effectLst/>
                <a:latin typeface="+mn-lt"/>
                <a:ea typeface="+mn-ea"/>
                <a:cs typeface="+mn-cs"/>
              </a:rPr>
              <a:t>within seconds </a:t>
            </a:r>
            <a:endParaRPr lang="en-US" sz="1200" kern="1200" dirty="0">
              <a:solidFill>
                <a:schemeClr val="tx1"/>
              </a:solidFill>
              <a:effectLst/>
              <a:latin typeface="+mn-lt"/>
              <a:ea typeface="+mn-ea"/>
              <a:cs typeface="+mn-cs"/>
            </a:endParaRPr>
          </a:p>
          <a:p>
            <a:pPr lvl="1"/>
            <a:r>
              <a:rPr lang="en-US" sz="1200" b="1" kern="1200" dirty="0">
                <a:solidFill>
                  <a:schemeClr val="tx1"/>
                </a:solidFill>
                <a:effectLst/>
                <a:latin typeface="+mn-lt"/>
                <a:ea typeface="+mn-ea"/>
                <a:cs typeface="+mn-cs"/>
              </a:rPr>
              <a:t>No</a:t>
            </a:r>
            <a:r>
              <a:rPr lang="en-US" sz="1200" kern="1200" dirty="0">
                <a:solidFill>
                  <a:schemeClr val="tx1"/>
                </a:solidFill>
                <a:effectLst/>
                <a:latin typeface="+mn-lt"/>
                <a:ea typeface="+mn-ea"/>
                <a:cs typeface="+mn-cs"/>
              </a:rPr>
              <a:t> scale </a:t>
            </a:r>
            <a:r>
              <a:rPr lang="en-US" sz="1200" b="1" kern="1200" dirty="0">
                <a:solidFill>
                  <a:schemeClr val="tx1"/>
                </a:solidFill>
                <a:effectLst/>
                <a:latin typeface="+mn-lt"/>
                <a:ea typeface="+mn-ea"/>
                <a:cs typeface="+mn-cs"/>
              </a:rPr>
              <a:t>configuration</a:t>
            </a:r>
            <a:r>
              <a:rPr lang="en-US" sz="1200" kern="1200" dirty="0">
                <a:solidFill>
                  <a:schemeClr val="tx1"/>
                </a:solidFill>
                <a:effectLst/>
                <a:latin typeface="+mn-lt"/>
                <a:ea typeface="+mn-ea"/>
                <a:cs typeface="+mn-cs"/>
              </a:rPr>
              <a:t> is required (there is no way to configure scale or limits)</a:t>
            </a:r>
          </a:p>
          <a:p>
            <a:pPr lvl="1"/>
            <a:r>
              <a:rPr lang="en-US" sz="1200" kern="1200" dirty="0">
                <a:solidFill>
                  <a:schemeClr val="tx1"/>
                </a:solidFill>
                <a:effectLst/>
                <a:latin typeface="+mn-lt"/>
                <a:ea typeface="+mn-ea"/>
                <a:cs typeface="+mn-cs"/>
              </a:rPr>
              <a:t>Scales to match </a:t>
            </a:r>
            <a:r>
              <a:rPr lang="en-US" sz="1200" b="1" kern="1200" dirty="0">
                <a:solidFill>
                  <a:schemeClr val="tx1"/>
                </a:solidFill>
                <a:effectLst/>
                <a:latin typeface="+mn-lt"/>
                <a:ea typeface="+mn-ea"/>
                <a:cs typeface="+mn-cs"/>
              </a:rPr>
              <a:t>any given workload</a:t>
            </a:r>
            <a:r>
              <a:rPr lang="en-US" sz="1200" kern="1200" dirty="0">
                <a:solidFill>
                  <a:schemeClr val="tx1"/>
                </a:solidFill>
                <a:effectLst/>
                <a:latin typeface="+mn-lt"/>
                <a:ea typeface="+mn-ea"/>
                <a:cs typeface="+mn-cs"/>
              </a:rPr>
              <a:t>. Scales from zero to handle </a:t>
            </a:r>
            <a:r>
              <a:rPr lang="en-US" sz="1200" b="1" kern="1200" dirty="0">
                <a:solidFill>
                  <a:schemeClr val="tx1"/>
                </a:solidFill>
                <a:effectLst/>
                <a:latin typeface="+mn-lt"/>
                <a:ea typeface="+mn-ea"/>
                <a:cs typeface="+mn-cs"/>
              </a:rPr>
              <a:t>tens of thousands concurrent</a:t>
            </a:r>
            <a:r>
              <a:rPr lang="en-US" sz="1200" kern="1200" dirty="0">
                <a:solidFill>
                  <a:schemeClr val="tx1"/>
                </a:solidFill>
                <a:effectLst/>
                <a:latin typeface="+mn-lt"/>
                <a:ea typeface="+mn-ea"/>
                <a:cs typeface="+mn-cs"/>
              </a:rPr>
              <a:t> functions invocations within seconds </a:t>
            </a:r>
          </a:p>
          <a:p>
            <a:pPr lvl="1"/>
            <a:r>
              <a:rPr lang="en-US" sz="1200" kern="1200" dirty="0">
                <a:solidFill>
                  <a:schemeClr val="tx1"/>
                </a:solidFill>
                <a:effectLst/>
                <a:latin typeface="+mn-lt"/>
                <a:ea typeface="+mn-ea"/>
                <a:cs typeface="+mn-cs"/>
              </a:rPr>
              <a:t>Pay only for the time your code is running</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reacts to events</a:t>
            </a:r>
            <a:endParaRPr lang="en-US"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React, in near real-time, to events and triggers</a:t>
            </a:r>
          </a:p>
          <a:p>
            <a:pPr lvl="1"/>
            <a:r>
              <a:rPr lang="en-US" sz="1200" kern="1200" dirty="0">
                <a:solidFill>
                  <a:schemeClr val="tx1"/>
                </a:solidFill>
                <a:effectLst/>
                <a:latin typeface="+mn-lt"/>
                <a:ea typeface="+mn-ea"/>
                <a:cs typeface="+mn-cs"/>
              </a:rPr>
              <a:t>Triggered by virtually any event from Azure service or 3</a:t>
            </a:r>
            <a:r>
              <a:rPr lang="en-US" sz="1200" kern="1200" baseline="30000" dirty="0">
                <a:solidFill>
                  <a:schemeClr val="tx1"/>
                </a:solidFill>
                <a:effectLst/>
                <a:latin typeface="+mn-lt"/>
                <a:ea typeface="+mn-ea"/>
                <a:cs typeface="+mn-cs"/>
              </a:rPr>
              <a:t>rd</a:t>
            </a:r>
            <a:r>
              <a:rPr lang="en-US" sz="1200" kern="1200" dirty="0">
                <a:solidFill>
                  <a:schemeClr val="tx1"/>
                </a:solidFill>
                <a:effectLst/>
                <a:latin typeface="+mn-lt"/>
                <a:ea typeface="+mn-ea"/>
                <a:cs typeface="+mn-cs"/>
              </a:rPr>
              <a:t> party services</a:t>
            </a:r>
          </a:p>
          <a:p>
            <a:pPr lvl="1"/>
            <a:endParaRPr lang="en-US" sz="1200" kern="1200" dirty="0">
              <a:solidFill>
                <a:schemeClr val="tx1"/>
              </a:solidFill>
              <a:effectLst/>
              <a:latin typeface="+mn-lt"/>
              <a:ea typeface="+mn-ea"/>
              <a:cs typeface="+mn-cs"/>
            </a:endParaRPr>
          </a:p>
          <a:p>
            <a:pPr marL="0" indent="0">
              <a:buFont typeface="Arial" panose="020B0604020202020204" pitchFamily="34" charset="0"/>
              <a:buNone/>
            </a:pPr>
            <a:r>
              <a:rPr lang="en-US" dirty="0"/>
              <a:t>“Pinnacle of PaaS compute”</a:t>
            </a:r>
          </a:p>
          <a:p>
            <a:pPr marL="571500" indent="-571500">
              <a:buFont typeface="Arial" panose="020B0604020202020204" pitchFamily="34" charset="0"/>
              <a:buChar char="•"/>
            </a:pPr>
            <a:r>
              <a:rPr lang="en-US" dirty="0"/>
              <a:t>Not just hardware “servers”, but software servers are also </a:t>
            </a:r>
            <a:r>
              <a:rPr lang="en-US" b="1" dirty="0"/>
              <a:t>managed for you</a:t>
            </a:r>
          </a:p>
          <a:p>
            <a:pPr marL="571500" indent="-571500">
              <a:buFont typeface="Arial" panose="020B0604020202020204" pitchFamily="34" charset="0"/>
              <a:buChar char="•"/>
            </a:pPr>
            <a:r>
              <a:rPr lang="en-US" dirty="0"/>
              <a:t>Focus on </a:t>
            </a:r>
            <a:r>
              <a:rPr lang="en-US" b="1" dirty="0"/>
              <a:t>business logic</a:t>
            </a:r>
            <a:r>
              <a:rPr lang="en-US" dirty="0"/>
              <a:t>, not solving technical problems not </a:t>
            </a:r>
            <a:r>
              <a:rPr lang="en-US" b="1" dirty="0"/>
              <a:t>core to business</a:t>
            </a:r>
          </a:p>
          <a:p>
            <a:pPr marL="571500" indent="-571500">
              <a:buFont typeface="Arial" panose="020B0604020202020204" pitchFamily="34" charset="0"/>
              <a:buChar char="•"/>
            </a:pPr>
            <a:r>
              <a:rPr lang="en-US" dirty="0"/>
              <a:t>Lower effort to get started makes it easier to experiment (bots, etc.)</a:t>
            </a:r>
          </a:p>
          <a:p>
            <a:pPr lvl="1"/>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748916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Signs that a </a:t>
            </a:r>
            <a:r>
              <a:rPr lang="en-US" dirty="0" err="1"/>
              <a:t>serverless</a:t>
            </a:r>
            <a:r>
              <a:rPr lang="en-US" dirty="0"/>
              <a:t> pattern might be useful for a given scenario</a:t>
            </a:r>
          </a:p>
          <a:p>
            <a:pPr marL="742950" indent="-742950">
              <a:buAutoNum type="arabicPeriod"/>
            </a:pPr>
            <a:r>
              <a:rPr lang="en-US" dirty="0"/>
              <a:t>Stateless </a:t>
            </a:r>
            <a:r>
              <a:rPr lang="en-US" dirty="0">
                <a:sym typeface="Wingdings" panose="05000000000000000000" pitchFamily="2" charset="2"/>
              </a:rPr>
              <a:t> Scale</a:t>
            </a:r>
            <a:endParaRPr lang="en-US" dirty="0"/>
          </a:p>
          <a:p>
            <a:pPr marL="742950" indent="-742950">
              <a:buAutoNum type="arabicPeriod"/>
            </a:pPr>
            <a:r>
              <a:rPr lang="en-US" dirty="0"/>
              <a:t>Not worth deploying a traditional backend</a:t>
            </a:r>
          </a:p>
          <a:p>
            <a:pPr marL="742950" indent="-742950">
              <a:buAutoNum type="arabicPeriod"/>
            </a:pPr>
            <a:r>
              <a:rPr lang="en-US" dirty="0"/>
              <a:t>Workload is sporadic (very low &amp; high scale)</a:t>
            </a:r>
          </a:p>
          <a:p>
            <a:pPr marL="742950" indent="-742950">
              <a:buAutoNum type="arabicPeriod"/>
            </a:pPr>
            <a:r>
              <a:rPr lang="en-US" dirty="0"/>
              <a:t>Dev ops favored versus dedicated ops</a:t>
            </a:r>
          </a:p>
          <a:p>
            <a:pPr marL="742950" indent="-742950">
              <a:buAutoNum type="arabicPeriod"/>
            </a:pPr>
            <a:r>
              <a:rPr lang="en-US" dirty="0"/>
              <a:t>Lots of different services involved that need “glue”</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144673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462015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33694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192175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188648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39279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a:t>
            </a:r>
            <a:r>
              <a:rPr lang="en-US" dirty="0" err="1"/>
              <a:t>es</a:t>
            </a:r>
            <a:r>
              <a:rPr lang="en-US" dirty="0"/>
              <a:t> </a:t>
            </a:r>
            <a:r>
              <a:rPr lang="en-US" dirty="0" err="1"/>
              <a:t>una</a:t>
            </a:r>
            <a:r>
              <a:rPr lang="en-US" dirty="0"/>
              <a:t> </a:t>
            </a:r>
            <a:r>
              <a:rPr lang="en-US" dirty="0" err="1"/>
              <a:t>problema</a:t>
            </a:r>
            <a:r>
              <a:rPr lang="en-US" dirty="0"/>
              <a:t>!</a:t>
            </a:r>
          </a:p>
          <a:p>
            <a:r>
              <a:rPr lang="en-US" dirty="0" err="1"/>
              <a:t>yo</a:t>
            </a:r>
            <a:r>
              <a:rPr lang="en-US" dirty="0"/>
              <a:t> </a:t>
            </a:r>
            <a:r>
              <a:rPr lang="en-US" dirty="0" err="1"/>
              <a:t>seré</a:t>
            </a:r>
            <a:r>
              <a:rPr lang="en-US" dirty="0"/>
              <a:t> </a:t>
            </a:r>
            <a:r>
              <a:rPr lang="en-US" dirty="0" err="1"/>
              <a:t>su</a:t>
            </a:r>
            <a:r>
              <a:rPr lang="en-US" dirty="0"/>
              <a:t> </a:t>
            </a:r>
            <a:r>
              <a:rPr lang="en-US" dirty="0" err="1"/>
              <a:t>guía</a:t>
            </a:r>
            <a:endParaRPr lang="en-US" dirty="0"/>
          </a:p>
          <a:p>
            <a:endParaRPr lang="en-US" dirty="0"/>
          </a:p>
          <a:p>
            <a:r>
              <a:rPr lang="en-US" dirty="0" err="1"/>
              <a:t>Voy</a:t>
            </a:r>
            <a:r>
              <a:rPr lang="en-US" dirty="0"/>
              <a:t> a </a:t>
            </a:r>
            <a:r>
              <a:rPr lang="en-US" dirty="0" err="1"/>
              <a:t>dar</a:t>
            </a:r>
            <a:r>
              <a:rPr lang="en-US" dirty="0"/>
              <a:t> un </a:t>
            </a:r>
            <a:r>
              <a:rPr lang="en-US" dirty="0" err="1"/>
              <a:t>recorrido</a:t>
            </a:r>
            <a:r>
              <a:rPr lang="en-US" dirty="0"/>
              <a:t> </a:t>
            </a:r>
            <a:r>
              <a:rPr lang="en-US" dirty="0" err="1"/>
              <a:t>por</a:t>
            </a:r>
            <a:r>
              <a:rPr lang="en-US" dirty="0"/>
              <a:t> el </a:t>
            </a:r>
            <a:r>
              <a:rPr lang="en-US" dirty="0" err="1"/>
              <a:t>centro</a:t>
            </a:r>
            <a:r>
              <a:rPr lang="en-US" dirty="0"/>
              <a:t> </a:t>
            </a:r>
            <a:r>
              <a:rPr lang="en-US" dirty="0" err="1"/>
              <a:t>comercial</a:t>
            </a:r>
            <a:r>
              <a:rPr lang="en-US" dirty="0"/>
              <a:t> del AZURE!</a:t>
            </a:r>
          </a:p>
          <a:p>
            <a:endParaRPr lang="en-US" dirty="0"/>
          </a:p>
          <a:p>
            <a:r>
              <a:rPr lang="es-ES" dirty="0"/>
              <a:t>El centro comercial tiene diferentes secciones</a:t>
            </a:r>
          </a:p>
          <a:p>
            <a:r>
              <a:rPr lang="es-ES" dirty="0"/>
              <a:t>Y </a:t>
            </a:r>
            <a:r>
              <a:rPr lang="es-ES" dirty="0" err="1"/>
              <a:t>tambien</a:t>
            </a:r>
            <a:r>
              <a:rPr lang="es-ES" dirty="0"/>
              <a:t>, Azure tiene diferentes secciones mejor.</a:t>
            </a:r>
            <a:endParaRPr lang="en-US" dirty="0"/>
          </a:p>
          <a:p>
            <a:endParaRPr lang="en-US" dirty="0"/>
          </a:p>
          <a:p>
            <a:r>
              <a:rPr lang="en-US" dirty="0" err="1"/>
              <a:t>Vamos</a:t>
            </a:r>
            <a:r>
              <a:rPr lang="en-US" dirty="0"/>
              <a:t> a </a:t>
            </a:r>
            <a:r>
              <a:rPr lang="en-US" dirty="0" err="1"/>
              <a:t>caminar</a:t>
            </a:r>
            <a:r>
              <a:rPr lang="en-US" dirty="0"/>
              <a:t> </a:t>
            </a:r>
            <a:r>
              <a:rPr lang="en-US" dirty="0" err="1"/>
              <a:t>juntos</a:t>
            </a:r>
            <a:r>
              <a:rPr lang="en-US" dirty="0"/>
              <a:t> a </a:t>
            </a:r>
            <a:r>
              <a:rPr lang="en-US" dirty="0" err="1"/>
              <a:t>los</a:t>
            </a:r>
            <a:r>
              <a:rPr lang="en-US" dirty="0"/>
              <a:t> </a:t>
            </a:r>
            <a:r>
              <a:rPr lang="en-US" dirty="0" err="1"/>
              <a:t>secciones</a:t>
            </a:r>
            <a:r>
              <a:rPr lang="en-US" dirty="0"/>
              <a:t> del Azure (</a:t>
            </a:r>
            <a:r>
              <a:rPr lang="en-US" dirty="0" err="1"/>
              <a:t>centro</a:t>
            </a:r>
            <a:r>
              <a:rPr lang="en-US" dirty="0"/>
              <a:t> </a:t>
            </a:r>
            <a:r>
              <a:rPr lang="en-US" dirty="0" err="1"/>
              <a:t>comercial</a:t>
            </a:r>
            <a:r>
              <a:rPr lang="en-US" dirty="0"/>
              <a:t>.)</a:t>
            </a:r>
          </a:p>
          <a:p>
            <a:endParaRPr lang="en-US" dirty="0"/>
          </a:p>
          <a:p>
            <a:r>
              <a:rPr lang="es-ES" dirty="0"/>
              <a:t>No vamos a entrar en los detalles de cada servicio. Solo </a:t>
            </a:r>
            <a:r>
              <a:rPr lang="es-ES" dirty="0" err="1"/>
              <a:t>explorarémos</a:t>
            </a:r>
            <a:r>
              <a:rPr lang="es-ES" dirty="0"/>
              <a:t> los servicios en cada sección para que los conocen.</a:t>
            </a:r>
            <a:endParaRPr lang="en-US" dirty="0"/>
          </a:p>
          <a:p>
            <a:endParaRPr lang="en-US" dirty="0"/>
          </a:p>
          <a:p>
            <a:r>
              <a:rPr lang="en-US" dirty="0" err="1"/>
              <a:t>Despues</a:t>
            </a:r>
            <a:r>
              <a:rPr lang="en-US" dirty="0"/>
              <a:t> de </a:t>
            </a:r>
            <a:r>
              <a:rPr lang="en-US" dirty="0" err="1"/>
              <a:t>este</a:t>
            </a:r>
            <a:r>
              <a:rPr lang="en-US" dirty="0"/>
              <a:t> </a:t>
            </a:r>
            <a:r>
              <a:rPr lang="en-US" dirty="0" err="1"/>
              <a:t>presentacion</a:t>
            </a:r>
            <a:r>
              <a:rPr lang="en-US" dirty="0"/>
              <a:t>, </a:t>
            </a:r>
            <a:r>
              <a:rPr lang="en-US" dirty="0" err="1"/>
              <a:t>ustedes</a:t>
            </a:r>
            <a:r>
              <a:rPr lang="en-US" dirty="0"/>
              <a:t> </a:t>
            </a:r>
            <a:r>
              <a:rPr lang="en-US" dirty="0" err="1"/>
              <a:t>deben</a:t>
            </a:r>
            <a:r>
              <a:rPr lang="en-US" dirty="0"/>
              <a:t> </a:t>
            </a:r>
            <a:r>
              <a:rPr lang="en-US" dirty="0" err="1"/>
              <a:t>conocer</a:t>
            </a:r>
            <a:r>
              <a:rPr lang="en-US" dirty="0"/>
              <a:t> Azure </a:t>
            </a:r>
            <a:r>
              <a:rPr lang="en-US" dirty="0" err="1"/>
              <a:t>mejor</a:t>
            </a:r>
            <a:r>
              <a:rPr lang="en-US" dirty="0"/>
              <a:t>!</a:t>
            </a:r>
          </a:p>
          <a:p>
            <a:endParaRPr lang="en-US" dirty="0"/>
          </a:p>
          <a:p>
            <a:r>
              <a:rPr lang="en-US" dirty="0"/>
              <a:t>Y </a:t>
            </a:r>
            <a:r>
              <a:rPr lang="en-US" dirty="0" err="1"/>
              <a:t>tambien</a:t>
            </a:r>
            <a:r>
              <a:rPr lang="en-US" dirty="0"/>
              <a:t>, </a:t>
            </a:r>
            <a:r>
              <a:rPr lang="en-US" dirty="0" err="1"/>
              <a:t>ustedes</a:t>
            </a:r>
            <a:r>
              <a:rPr lang="en-US" dirty="0"/>
              <a:t> </a:t>
            </a:r>
            <a:r>
              <a:rPr lang="en-US" dirty="0" err="1"/>
              <a:t>deben</a:t>
            </a:r>
            <a:r>
              <a:rPr lang="en-US" dirty="0"/>
              <a:t> </a:t>
            </a:r>
            <a:r>
              <a:rPr lang="en-US" dirty="0" err="1"/>
              <a:t>poder</a:t>
            </a:r>
            <a:r>
              <a:rPr lang="en-US" dirty="0"/>
              <a:t> </a:t>
            </a:r>
            <a:r>
              <a:rPr lang="en-US" dirty="0" err="1"/>
              <a:t>dar</a:t>
            </a:r>
            <a:r>
              <a:rPr lang="en-US" dirty="0"/>
              <a:t> un </a:t>
            </a:r>
            <a:r>
              <a:rPr lang="en-US" dirty="0" err="1"/>
              <a:t>recorrido</a:t>
            </a:r>
            <a:r>
              <a:rPr lang="en-US" dirty="0"/>
              <a:t> </a:t>
            </a:r>
            <a:r>
              <a:rPr lang="en-US" dirty="0" err="1"/>
              <a:t>por</a:t>
            </a:r>
            <a:r>
              <a:rPr lang="en-US" dirty="0"/>
              <a:t> lo </a:t>
            </a:r>
            <a:r>
              <a:rPr lang="en-US" dirty="0" err="1"/>
              <a:t>mismo</a:t>
            </a:r>
            <a:r>
              <a:rPr lang="en-US" dirty="0"/>
              <a:t> a </a:t>
            </a:r>
            <a:r>
              <a:rPr lang="en-US" dirty="0" err="1"/>
              <a:t>sus</a:t>
            </a:r>
            <a:r>
              <a:rPr lang="en-US" dirty="0"/>
              <a:t> </a:t>
            </a:r>
            <a:r>
              <a:rPr lang="en-US" dirty="0" err="1"/>
              <a:t>clientes</a:t>
            </a:r>
            <a:r>
              <a:rPr lang="en-US" dirty="0"/>
              <a:t> y </a:t>
            </a:r>
            <a:r>
              <a:rPr lang="en-US" dirty="0" err="1"/>
              <a:t>sus</a:t>
            </a:r>
            <a:r>
              <a:rPr lang="en-US" dirty="0"/>
              <a:t> </a:t>
            </a:r>
            <a:r>
              <a:rPr lang="en-US" dirty="0" err="1"/>
              <a:t>socios</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07035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939327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hris</a:t>
            </a:r>
          </a:p>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FA2E45D9-6F23-48B0-9F93-9BB4FE9A61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72664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Tech Summit FY17</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3/2018 10:00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034588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logic-apps/logic-apps-what-are-logic-app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008561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314282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06</a:t>
            </a:fld>
            <a:endParaRPr lang="en-US" dirty="0"/>
          </a:p>
        </p:txBody>
      </p:sp>
    </p:spTree>
    <p:extLst>
      <p:ext uri="{BB962C8B-B14F-4D97-AF65-F5344CB8AC3E}">
        <p14:creationId xmlns:p14="http://schemas.microsoft.com/office/powerpoint/2010/main" val="3435812429"/>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DPS DAYS INCLUDED IN MANY AZURE PLANS</a:t>
            </a:r>
            <a:endParaRPr lang="en-US" dirty="0"/>
          </a:p>
        </p:txBody>
      </p:sp>
      <p:sp>
        <p:nvSpPr>
          <p:cNvPr id="4" name="Header Placeholder 3"/>
          <p:cNvSpPr>
            <a:spLocks noGrp="1"/>
          </p:cNvSpPr>
          <p:nvPr>
            <p:ph type="hdr" sz="quarter" idx="10"/>
          </p:nvPr>
        </p:nvSpPr>
        <p:spPr/>
        <p:txBody>
          <a:bodyPr/>
          <a:lstStyle/>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Ready 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37D11586-B927-4F6F-B616-F8429CD6D76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6/3/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3034108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331B57-0BE5-4F82-AA58-76F53EFF3ADA}"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8 10:00 P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3"/>
          <p:cNvSpPr>
            <a:spLocks noGrp="1"/>
          </p:cNvSpPr>
          <p:nvPr>
            <p:ph type="ftr" sz="quarter" idx="4"/>
          </p:nvPr>
        </p:nvSpPr>
        <p:spPr>
          <a:xfrm>
            <a:off x="0" y="8685213"/>
            <a:ext cx="6248400" cy="457200"/>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br>
            <a: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264973034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09</a:t>
            </a:fld>
            <a:endParaRPr lang="en-US" dirty="0"/>
          </a:p>
        </p:txBody>
      </p:sp>
    </p:spTree>
    <p:extLst>
      <p:ext uri="{BB962C8B-B14F-4D97-AF65-F5344CB8AC3E}">
        <p14:creationId xmlns:p14="http://schemas.microsoft.com/office/powerpoint/2010/main" val="103920350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x-none" dirty="0">
                <a:hlinkClick r:id="rId3"/>
              </a:rPr>
              <a:t>https://docs.microsoft.com/en-us/azure/virtual-machines/linux/endorsed-distro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ring your own image for windows server 2003</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x-none"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0</a:t>
            </a:fld>
            <a:endParaRPr lang="en-US" dirty="0"/>
          </a:p>
        </p:txBody>
      </p:sp>
    </p:spTree>
    <p:extLst>
      <p:ext uri="{BB962C8B-B14F-4D97-AF65-F5344CB8AC3E}">
        <p14:creationId xmlns:p14="http://schemas.microsoft.com/office/powerpoint/2010/main" val="11614415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18.xml"/><Relationship Id="rId5" Type="http://schemas.openxmlformats.org/officeDocument/2006/relationships/image" Target="../media/image29.png"/><Relationship Id="rId4" Type="http://schemas.openxmlformats.org/officeDocument/2006/relationships/image" Target="../media/image28.png"/></Relationships>
</file>

<file path=ppt/slideLayouts/_rels/slideLayout31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30.png"/><Relationship Id="rId7" Type="http://schemas.openxmlformats.org/officeDocument/2006/relationships/image" Target="../media/image28.png"/><Relationship Id="rId2" Type="http://schemas.openxmlformats.org/officeDocument/2006/relationships/image" Target="../media/image26.png"/><Relationship Id="rId1" Type="http://schemas.openxmlformats.org/officeDocument/2006/relationships/slideMaster" Target="../slideMasters/slideMaster18.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6.png"/><Relationship Id="rId1" Type="http://schemas.openxmlformats.org/officeDocument/2006/relationships/slideMaster" Target="../slideMasters/slideMaster18.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5.png"/><Relationship Id="rId1" Type="http://schemas.openxmlformats.org/officeDocument/2006/relationships/slideMaster" Target="../slideMasters/slideMaster18.xml"/><Relationship Id="rId4" Type="http://schemas.openxmlformats.org/officeDocument/2006/relationships/image" Target="../media/image29.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g"/><Relationship Id="rId1" Type="http://schemas.openxmlformats.org/officeDocument/2006/relationships/slideMaster" Target="../slideMasters/slideMaster19.xml"/><Relationship Id="rId5" Type="http://schemas.openxmlformats.org/officeDocument/2006/relationships/image" Target="../media/image37.png"/><Relationship Id="rId4" Type="http://schemas.microsoft.com/office/2007/relationships/hdphoto" Target="../media/hdphoto1.wdp"/></Relationships>
</file>

<file path=ppt/slideLayouts/_rels/slideLayout3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9.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9.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3.jpg"/><Relationship Id="rId1" Type="http://schemas.openxmlformats.org/officeDocument/2006/relationships/slideMaster" Target="../slideMasters/slideMaster20.xml"/><Relationship Id="rId4" Type="http://schemas.microsoft.com/office/2007/relationships/hdphoto" Target="../media/hdphoto3.wdp"/></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g"/><Relationship Id="rId1" Type="http://schemas.openxmlformats.org/officeDocument/2006/relationships/slideMaster" Target="../slideMasters/slideMaster20.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g"/><Relationship Id="rId1" Type="http://schemas.openxmlformats.org/officeDocument/2006/relationships/slideMaster" Target="../slideMasters/slideMaster20.xml"/><Relationship Id="rId6" Type="http://schemas.microsoft.com/office/2007/relationships/hdphoto" Target="../media/hdphoto3.wdp"/><Relationship Id="rId5" Type="http://schemas.openxmlformats.org/officeDocument/2006/relationships/image" Target="../media/image45.png"/><Relationship Id="rId4" Type="http://schemas.microsoft.com/office/2007/relationships/hdphoto" Target="../media/hdphoto4.wdp"/></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1.xml"/></Relationships>
</file>

<file path=ppt/slideLayouts/_rels/slideLayout38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1.xml"/></Relationships>
</file>

<file path=ppt/slideLayouts/_rels/slideLayout38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1.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5.png"/><Relationship Id="rId1" Type="http://schemas.openxmlformats.org/officeDocument/2006/relationships/slideMaster" Target="../slideMasters/slideMaster2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1.xml"/></Relationships>
</file>

<file path=ppt/slideLayouts/_rels/slideLayout40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9.png"/><Relationship Id="rId1" Type="http://schemas.openxmlformats.org/officeDocument/2006/relationships/slideMaster" Target="../slideMasters/slideMaster21.xml"/><Relationship Id="rId5" Type="http://schemas.microsoft.com/office/2007/relationships/hdphoto" Target="../media/hdphoto3.wdp"/><Relationship Id="rId4" Type="http://schemas.openxmlformats.org/officeDocument/2006/relationships/image" Target="../media/image45.png"/></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1.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1.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2.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2.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2.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2.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2.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2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4.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2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3.emf"/><Relationship Id="rId4" Type="http://schemas.openxmlformats.org/officeDocument/2006/relationships/oleObject" Target="../embeddings/oleObject1.bin"/></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2.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56.png"/><Relationship Id="rId5" Type="http://schemas.openxmlformats.org/officeDocument/2006/relationships/image" Target="../media/image55.emf"/><Relationship Id="rId4" Type="http://schemas.openxmlformats.org/officeDocument/2006/relationships/oleObject" Target="../embeddings/oleObject3.bin"/></Relationships>
</file>

<file path=ppt/slideLayouts/_rels/slideLayout473.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5.emf"/><Relationship Id="rId4" Type="http://schemas.openxmlformats.org/officeDocument/2006/relationships/oleObject" Target="../embeddings/oleObject4.bin"/></Relationships>
</file>

<file path=ppt/slideLayouts/_rels/slideLayout474.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5.emf"/><Relationship Id="rId4" Type="http://schemas.openxmlformats.org/officeDocument/2006/relationships/oleObject" Target="../embeddings/oleObject5.bin"/></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8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5.emf"/><Relationship Id="rId4" Type="http://schemas.openxmlformats.org/officeDocument/2006/relationships/oleObject" Target="../embeddings/oleObject6.bin"/></Relationships>
</file>

<file path=ppt/slideLayouts/_rels/slideLayout488.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5.emf"/><Relationship Id="rId4" Type="http://schemas.openxmlformats.org/officeDocument/2006/relationships/oleObject" Target="../embeddings/oleObject7.bin"/></Relationships>
</file>

<file path=ppt/slideLayouts/_rels/slideLayout489.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5.emf"/><Relationship Id="rId4" Type="http://schemas.openxmlformats.org/officeDocument/2006/relationships/oleObject" Target="../embeddings/oleObject8.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5.emf"/><Relationship Id="rId4" Type="http://schemas.openxmlformats.org/officeDocument/2006/relationships/oleObject" Target="../embeddings/oleObject9.bin"/></Relationships>
</file>

<file path=ppt/slideLayouts/_rels/slideLayout491.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57.png"/><Relationship Id="rId5" Type="http://schemas.openxmlformats.org/officeDocument/2006/relationships/image" Target="../media/image55.emf"/><Relationship Id="rId4" Type="http://schemas.openxmlformats.org/officeDocument/2006/relationships/oleObject" Target="../embeddings/oleObject10.bin"/></Relationships>
</file>

<file path=ppt/slideLayouts/_rels/slideLayout492.xml.rels><?xml version="1.0" encoding="UTF-8" standalone="yes"?>
<Relationships xmlns="http://schemas.openxmlformats.org/package/2006/relationships"><Relationship Id="rId2" Type="http://schemas.openxmlformats.org/officeDocument/2006/relationships/slideMaster" Target="../slideMasters/slideMaster25.xml"/><Relationship Id="rId1" Type="http://schemas.openxmlformats.org/officeDocument/2006/relationships/themeOverride" Target="../theme/themeOverride1.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25.xml"/></Relationships>
</file>

<file path=ppt/slideLayouts/_rels/slideLayout49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5.emf"/><Relationship Id="rId4" Type="http://schemas.openxmlformats.org/officeDocument/2006/relationships/oleObject" Target="../embeddings/oleObject11.bin"/></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57" indent="0">
              <a:buFontTx/>
              <a:buNone/>
              <a:defRPr sz="3200"/>
            </a:lvl2pPr>
            <a:lvl3pPr marL="914314" indent="0">
              <a:buFontTx/>
              <a:buNone/>
              <a:defRPr sz="2800"/>
            </a:lvl3pPr>
            <a:lvl4pPr marL="1371471" indent="0">
              <a:buFontTx/>
              <a:buNone/>
              <a:defRPr sz="2400"/>
            </a:lvl4pPr>
            <a:lvl5pPr marL="1828628"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09"/>
            <a:ext cx="1253869" cy="923330"/>
          </a:xfrm>
          <a:prstGeom prst="rect">
            <a:avLst/>
          </a:prstGeom>
        </p:spPr>
        <p:txBody>
          <a:bodyPr wrap="none" lIns="91432" tIns="45715" rIns="91432" bIns="45715">
            <a:spAutoFit/>
          </a:bodyPr>
          <a:lstStyle/>
          <a:p>
            <a:r>
              <a:rPr lang="en-US" sz="5400" dirty="0"/>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9" y="5823048"/>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9" y="6206895"/>
            <a:ext cx="11768137" cy="603708"/>
          </a:xfrm>
          <a:solidFill>
            <a:srgbClr val="FFF2CC"/>
          </a:solidFill>
        </p:spPr>
        <p:txBody>
          <a:bodyPr>
            <a:noAutofit/>
          </a:bodyPr>
          <a:lstStyle>
            <a:lvl1pPr marL="0" indent="0">
              <a:buFontTx/>
              <a:buNone/>
              <a:defRPr sz="1800" u="sng">
                <a:solidFill>
                  <a:srgbClr val="0070C0"/>
                </a:solidFill>
              </a:defRPr>
            </a:lvl1pPr>
            <a:lvl2pPr marL="457157" indent="0">
              <a:buFontTx/>
              <a:buNone/>
              <a:defRPr sz="1800" u="sng">
                <a:solidFill>
                  <a:srgbClr val="0070C0"/>
                </a:solidFill>
              </a:defRPr>
            </a:lvl2pPr>
            <a:lvl3pPr marL="914314" indent="0">
              <a:buFontTx/>
              <a:buNone/>
              <a:defRPr sz="1800" u="sng">
                <a:solidFill>
                  <a:srgbClr val="0070C0"/>
                </a:solidFill>
              </a:defRPr>
            </a:lvl3pPr>
            <a:lvl4pPr marL="1371471" indent="0">
              <a:buFontTx/>
              <a:buNone/>
              <a:defRPr sz="1800" u="sng">
                <a:solidFill>
                  <a:srgbClr val="0070C0"/>
                </a:solidFill>
              </a:defRPr>
            </a:lvl4pPr>
            <a:lvl5pPr marL="1828628"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31513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8406B1-5395-4EAD-BD16-C032EA563FF8}" type="datetimeFigureOut">
              <a:rPr lang="en-US" smtClean="0"/>
              <a:t>6/3/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0196786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840165"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79277" tIns="143422" rIns="179277" bIns="143422"/>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77" tIns="143422" rIns="179277" bIns="143422"/>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79277" tIns="143422" rIns="179277" bIns="143422"/>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498568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783925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22" tIns="89639" rIns="143422" bIns="89639"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1350" tIns="107566" rIns="161350" bIns="10756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77" tIns="143422" rIns="179277" bIns="143422"/>
          <a:lstStyle>
            <a:lvl1pPr marL="0" indent="0" algn="r">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77" tIns="143422" rIns="179277" bIns="143422" anchor="b"/>
          <a:lstStyle>
            <a:lvl1pPr marL="0" indent="0" algn="l">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3"/>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3085655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0007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6671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53" indent="0">
              <a:buFont typeface="Wingdings" panose="05000000000000000000" pitchFamily="2" charset="2"/>
              <a:buNone/>
              <a:defRPr sz="2400" b="0"/>
            </a:lvl2pPr>
            <a:lvl3pPr marL="441968" indent="0">
              <a:buFont typeface="Wingdings" panose="05000000000000000000" pitchFamily="2" charset="2"/>
              <a:buNone/>
              <a:tabLst/>
              <a:defRPr sz="2200" b="0"/>
            </a:lvl3pPr>
            <a:lvl4pPr marL="639608" indent="0">
              <a:buFont typeface="Wingdings" panose="05000000000000000000" pitchFamily="2" charset="2"/>
              <a:buNone/>
              <a:defRPr sz="2200" b="0"/>
            </a:lvl4pPr>
            <a:lvl5pPr marL="837250"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9407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00" b="0">
                <a:latin typeface="+mn-lt"/>
              </a:defRPr>
            </a:lvl1pPr>
            <a:lvl2pPr marL="418625" indent="-168072">
              <a:buFont typeface="Wingdings" panose="05000000000000000000" pitchFamily="2" charset="2"/>
              <a:buChar char=""/>
              <a:defRPr sz="2400" b="0"/>
            </a:lvl2pPr>
            <a:lvl3pPr marL="627160" indent="-185191">
              <a:buFont typeface="Wingdings" panose="05000000000000000000" pitchFamily="2" charset="2"/>
              <a:buChar char=""/>
              <a:tabLst/>
              <a:defRPr sz="2200" b="0"/>
            </a:lvl3pPr>
            <a:lvl4pPr marL="812350" indent="-172742">
              <a:buFont typeface="Wingdings" panose="05000000000000000000" pitchFamily="2" charset="2"/>
              <a:buChar char=""/>
              <a:defRPr sz="2200" b="0"/>
            </a:lvl4pPr>
            <a:lvl5pPr marL="1003766" indent="-166517">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281677" indent="-281677">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400"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200"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98248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88548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9" bIns="89639"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79277" tIns="143422" rIns="179277" bIns="143422">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94957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9" bIns="89639"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87036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8406B1-5395-4EAD-BD16-C032EA563FF8}" type="datetimeFigureOut">
              <a:rPr lang="en-US" smtClean="0"/>
              <a:t>6/3/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287473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25756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80893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3783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26638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123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063497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77" tIns="143422" rIns="179277" bIns="143422" rtlCol="0" anchor="ctr">
            <a:spAutoFit/>
          </a:bodyPr>
          <a:lstStyle/>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856767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2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77" tIns="179277" rIns="179277" bIns="179277" numCol="1" anchor="t" anchorCtr="0" compatLnSpc="1">
            <a:prstTxWarp prst="textNoShape">
              <a:avLst/>
            </a:prstTxWarp>
            <a:spAutoFit/>
          </a:bodyPr>
          <a:lstStyle/>
          <a:p>
            <a:pPr defTabSz="913924"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0576770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2394" tIns="76198" rIns="152394" bIns="76198"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2695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31" bIns="89631"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8937589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6/3/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33366470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19"/>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2" y="3878574"/>
            <a:ext cx="7171337" cy="1792326"/>
          </a:xfrm>
          <a:noFill/>
        </p:spPr>
        <p:txBody>
          <a:bodyPr tIns="107556" bIns="10755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1452076470"/>
      </p:ext>
    </p:extLst>
  </p:cSld>
  <p:clrMapOvr>
    <a:masterClrMapping/>
  </p:clrMapOvr>
  <p:transition spd="slow"/>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08565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9994"/>
          </a:xfrm>
        </p:spPr>
        <p:txBody>
          <a:bodyPr/>
          <a:lstStyle>
            <a:lvl1pPr>
              <a:defRPr sz="35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421833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795754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1971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49573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09" indent="0">
              <a:buNone/>
              <a:defRPr/>
            </a:lvl3pPr>
            <a:lvl4pPr marL="448018" indent="0">
              <a:buNone/>
              <a:defRPr/>
            </a:lvl4pPr>
            <a:lvl5pPr marL="67202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576361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5916549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7221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3"/>
            <a:ext cx="6947134" cy="995838"/>
          </a:xfrm>
          <a:noFill/>
        </p:spPr>
        <p:txBody>
          <a:bodyPr wrap="square" tIns="89631" bIns="89631"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61" tIns="143408" rIns="179261" bIns="143408">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4265407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6/3/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05896752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Tree>
    <p:extLst>
      <p:ext uri="{BB962C8B-B14F-4D97-AF65-F5344CB8AC3E}">
        <p14:creationId xmlns:p14="http://schemas.microsoft.com/office/powerpoint/2010/main" val="1957083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805575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6695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3534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53899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4936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461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33296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19316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04134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4681956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457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8022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13128192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7376443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972572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02823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a:t>Section title</a:t>
            </a:r>
          </a:p>
        </p:txBody>
      </p:sp>
    </p:spTree>
    <p:extLst>
      <p:ext uri="{BB962C8B-B14F-4D97-AF65-F5344CB8AC3E}">
        <p14:creationId xmlns:p14="http://schemas.microsoft.com/office/powerpoint/2010/main" val="36652368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601952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576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8254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02662704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983451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a:gradFill>
                  <a:gsLst>
                    <a:gs pos="0">
                      <a:srgbClr val="505050"/>
                    </a:gs>
                    <a:gs pos="100000">
                      <a:srgbClr val="505050"/>
                    </a:gs>
                  </a:gsLst>
                  <a:lin ang="5400000" scaled="0"/>
                </a:gradFill>
                <a:cs typeface="Segoe UI" pitchFamily="34" charset="0"/>
              </a:rPr>
              <a:t>© 2016 Microsoft Corporation. All rights reserved.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1342244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520821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400"/>
            <a:fld id="{72D4B4F5-9F56-4AF2-B8FC-381E478EDD58}" type="datetimeFigureOut">
              <a:rPr lang="en-US" smtClean="0">
                <a:solidFill>
                  <a:srgbClr val="505050"/>
                </a:solidFill>
              </a:rPr>
              <a:pPr defTabSz="914400"/>
              <a:t>6/3/2018</a:t>
            </a:fld>
            <a:endParaRPr lang="en-US">
              <a:solidFill>
                <a:srgbClr val="505050"/>
              </a:solidFill>
            </a:endParaRPr>
          </a:p>
        </p:txBody>
      </p:sp>
      <p:sp>
        <p:nvSpPr>
          <p:cNvPr id="3" name="Footer Placeholder 2"/>
          <p:cNvSpPr>
            <a:spLocks noGrp="1"/>
          </p:cNvSpPr>
          <p:nvPr>
            <p:ph type="ftr" sz="quarter" idx="11"/>
          </p:nvPr>
        </p:nvSpPr>
        <p:spPr/>
        <p:txBody>
          <a:bodyPr/>
          <a:lstStyle/>
          <a:p>
            <a:pPr defTabSz="914400"/>
            <a:endParaRPr lang="en-US">
              <a:solidFill>
                <a:srgbClr val="505050"/>
              </a:solidFill>
            </a:endParaRPr>
          </a:p>
        </p:txBody>
      </p:sp>
      <p:sp>
        <p:nvSpPr>
          <p:cNvPr id="4" name="Slide Number Placeholder 3"/>
          <p:cNvSpPr>
            <a:spLocks noGrp="1"/>
          </p:cNvSpPr>
          <p:nvPr>
            <p:ph type="sldNum" sz="quarter" idx="12"/>
          </p:nvPr>
        </p:nvSpPr>
        <p:spPr/>
        <p:txBody>
          <a:bodyPr/>
          <a:lstStyle/>
          <a:p>
            <a:pPr defTabSz="914400"/>
            <a:fld id="{5BC923CD-E977-4E78-9161-C57CCFBF0D9F}" type="slidenum">
              <a:rPr lang="en-US" smtClean="0">
                <a:solidFill>
                  <a:srgbClr val="505050"/>
                </a:solidFill>
              </a:rPr>
              <a:pPr defTabSz="914400"/>
              <a:t>‹#›</a:t>
            </a:fld>
            <a:endParaRPr lang="en-US">
              <a:solidFill>
                <a:srgbClr val="505050"/>
              </a:solidFill>
            </a:endParaRPr>
          </a:p>
        </p:txBody>
      </p:sp>
    </p:spTree>
    <p:extLst>
      <p:ext uri="{BB962C8B-B14F-4D97-AF65-F5344CB8AC3E}">
        <p14:creationId xmlns:p14="http://schemas.microsoft.com/office/powerpoint/2010/main" val="153972557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userDrawn="1">
  <p:cSld name="8_Title Slide Solid">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6" name="Rectangle 5"/>
          <p:cNvSpPr/>
          <p:nvPr userDrawn="1"/>
        </p:nvSpPr>
        <p:spPr bwMode="auto">
          <a:xfrm>
            <a:off x="269239" y="291074"/>
            <a:ext cx="6276531" cy="6278977"/>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13" tIns="143370" rIns="179213" bIns="143370"/>
          <a:lstStyle/>
          <a:p>
            <a:pPr algn="ctr" defTabSz="913751" fontAlgn="base">
              <a:lnSpc>
                <a:spcPct val="90000"/>
              </a:lnSpc>
              <a:spcBef>
                <a:spcPct val="0"/>
              </a:spcBef>
              <a:spcAft>
                <a:spcPct val="0"/>
              </a:spcAft>
              <a:defRPr/>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auto">
          <a:xfrm>
            <a:off x="515139" y="552662"/>
            <a:ext cx="1229471" cy="26285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Title 1"/>
          <p:cNvSpPr>
            <a:spLocks noGrp="1"/>
          </p:cNvSpPr>
          <p:nvPr>
            <p:ph type="ctrTitle"/>
          </p:nvPr>
        </p:nvSpPr>
        <p:spPr>
          <a:xfrm>
            <a:off x="375953" y="1413025"/>
            <a:ext cx="6171371" cy="2488894"/>
          </a:xfrm>
        </p:spPr>
        <p:txBody>
          <a:bodyPr/>
          <a:lstStyle>
            <a:lvl1pPr>
              <a:defRPr sz="5880" baseline="0">
                <a:solidFill>
                  <a:schemeClr val="bg1"/>
                </a:solidFill>
              </a:defRPr>
            </a:lvl1pPr>
          </a:lstStyle>
          <a:p>
            <a:r>
              <a:rPr lang="en-US"/>
              <a:t>Click to edit Master title style</a:t>
            </a:r>
          </a:p>
        </p:txBody>
      </p:sp>
      <p:sp>
        <p:nvSpPr>
          <p:cNvPr id="19" name="Subtitle 2"/>
          <p:cNvSpPr>
            <a:spLocks noGrp="1"/>
          </p:cNvSpPr>
          <p:nvPr>
            <p:ph type="subTitle" idx="1"/>
          </p:nvPr>
        </p:nvSpPr>
        <p:spPr>
          <a:xfrm>
            <a:off x="375958" y="5296817"/>
            <a:ext cx="5720047" cy="607067"/>
          </a:xfrm>
        </p:spPr>
        <p:txBody>
          <a:bodyPr anchor="ctr"/>
          <a:lstStyle>
            <a:lvl1pPr marL="0" indent="0" algn="l">
              <a:lnSpc>
                <a:spcPct val="100000"/>
              </a:lnSpc>
              <a:spcBef>
                <a:spcPts val="0"/>
              </a:spcBef>
              <a:buNone/>
              <a:defRPr sz="1567">
                <a:solidFill>
                  <a:schemeClr val="bg1"/>
                </a:solidFill>
                <a:latin typeface="+mj-lt"/>
              </a:defRPr>
            </a:lvl1pPr>
            <a:lvl2pPr marL="448020" indent="0" algn="ctr">
              <a:buNone/>
              <a:defRPr>
                <a:solidFill>
                  <a:schemeClr val="tx1">
                    <a:tint val="75000"/>
                  </a:schemeClr>
                </a:solidFill>
              </a:defRPr>
            </a:lvl2pPr>
            <a:lvl3pPr marL="896042" indent="0" algn="ctr">
              <a:buNone/>
              <a:defRPr>
                <a:solidFill>
                  <a:schemeClr val="tx1">
                    <a:tint val="75000"/>
                  </a:schemeClr>
                </a:solidFill>
              </a:defRPr>
            </a:lvl3pPr>
            <a:lvl4pPr marL="1344062" indent="0" algn="ctr">
              <a:buNone/>
              <a:defRPr>
                <a:solidFill>
                  <a:schemeClr val="tx1">
                    <a:tint val="75000"/>
                  </a:schemeClr>
                </a:solidFill>
              </a:defRPr>
            </a:lvl4pPr>
            <a:lvl5pPr marL="1792084" indent="0" algn="ctr">
              <a:buNone/>
              <a:defRPr>
                <a:solidFill>
                  <a:schemeClr val="tx1">
                    <a:tint val="75000"/>
                  </a:schemeClr>
                </a:solidFill>
              </a:defRPr>
            </a:lvl5pPr>
            <a:lvl6pPr marL="2240106" indent="0" algn="ctr">
              <a:buNone/>
              <a:defRPr>
                <a:solidFill>
                  <a:schemeClr val="tx1">
                    <a:tint val="75000"/>
                  </a:schemeClr>
                </a:solidFill>
              </a:defRPr>
            </a:lvl6pPr>
            <a:lvl7pPr marL="2688126" indent="0" algn="ctr">
              <a:buNone/>
              <a:defRPr>
                <a:solidFill>
                  <a:schemeClr val="tx1">
                    <a:tint val="75000"/>
                  </a:schemeClr>
                </a:solidFill>
              </a:defRPr>
            </a:lvl7pPr>
            <a:lvl8pPr marL="3136147"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345717212"/>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9_Title Slide Soli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7158" y="1"/>
            <a:ext cx="12206318" cy="6873565"/>
          </a:xfrm>
          <a:prstGeom prst="rect">
            <a:avLst/>
          </a:prstGeom>
        </p:spPr>
      </p:pic>
    </p:spTree>
    <p:extLst>
      <p:ext uri="{BB962C8B-B14F-4D97-AF65-F5344CB8AC3E}">
        <p14:creationId xmlns:p14="http://schemas.microsoft.com/office/powerpoint/2010/main" val="3456935755"/>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4" kern="1200" smtClean="0">
                <a:solidFill>
                  <a:schemeClr val="tx2"/>
                </a:solidFill>
                <a:latin typeface="+mj-lt"/>
                <a:ea typeface="+mn-ea"/>
                <a:cs typeface="+mn-cs"/>
              </a:defRPr>
            </a:lvl1pPr>
            <a:lvl2pPr marL="0" indent="0">
              <a:buNone/>
              <a:defRPr lang="en-US" sz="3107" kern="1200" smtClean="0">
                <a:solidFill>
                  <a:schemeClr val="bg1"/>
                </a:solidFill>
                <a:latin typeface="+mj-lt"/>
                <a:ea typeface="+mn-ea"/>
                <a:cs typeface="+mn-cs"/>
              </a:defRPr>
            </a:lvl2pPr>
            <a:lvl3pPr marL="0" indent="0">
              <a:buNone/>
              <a:defRPr lang="en-US" sz="3107" kern="1200" smtClean="0">
                <a:solidFill>
                  <a:schemeClr val="bg1"/>
                </a:solidFill>
                <a:latin typeface="+mj-lt"/>
                <a:ea typeface="+mn-ea"/>
                <a:cs typeface="+mn-cs"/>
              </a:defRPr>
            </a:lvl3pPr>
            <a:lvl4pPr marL="0" indent="0">
              <a:buNone/>
              <a:defRPr lang="en-US" sz="3107" kern="1200" smtClean="0">
                <a:solidFill>
                  <a:schemeClr val="bg1"/>
                </a:solidFill>
                <a:latin typeface="+mj-lt"/>
                <a:ea typeface="+mn-ea"/>
                <a:cs typeface="+mn-cs"/>
              </a:defRPr>
            </a:lvl4pPr>
            <a:lvl5pPr marL="0" indent="0">
              <a:buNone/>
              <a:defRPr lang="en-US" sz="3107"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319681525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197063816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Tree>
    <p:extLst>
      <p:ext uri="{BB962C8B-B14F-4D97-AF65-F5344CB8AC3E}">
        <p14:creationId xmlns:p14="http://schemas.microsoft.com/office/powerpoint/2010/main" val="961500496"/>
      </p:ext>
    </p:extLst>
  </p:cSld>
  <p:clrMapOvr>
    <a:masterClrMapping/>
  </p:clrMapOvr>
  <p:transition spd="med">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285511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03.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3141744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343851"/>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a:defRPr/>
            </a:pPr>
            <a:r>
              <a:rPr lang="en-US"/>
              <a:t>Microsoft Confidential</a:t>
            </a:r>
          </a:p>
        </p:txBody>
      </p:sp>
      <p:sp>
        <p:nvSpPr>
          <p:cNvPr id="4" name="Slide Number Placeholder 3"/>
          <p:cNvSpPr>
            <a:spLocks noGrp="1"/>
          </p:cNvSpPr>
          <p:nvPr>
            <p:ph type="sldNum" sz="quarter" idx="11"/>
          </p:nvPr>
        </p:nvSpPr>
        <p:spPr/>
        <p:txBody>
          <a:bodyPr/>
          <a:lstStyle/>
          <a:p>
            <a:pPr defTabSz="913154" fontAlgn="base">
              <a:spcBef>
                <a:spcPct val="0"/>
              </a:spcBef>
              <a:spcAft>
                <a:spcPct val="0"/>
              </a:spcAft>
            </a:pPr>
            <a:fld id="{83758903-653A-7442-ACA2-36E6579F0BEB}" type="slidenum">
              <a:rPr lang="en-US" smtClean="0">
                <a:ea typeface="ＭＳ Ｐゴシック" charset="0"/>
              </a:rPr>
              <a:pPr defTabSz="913154" fontAlgn="base">
                <a:spcBef>
                  <a:spcPct val="0"/>
                </a:spcBef>
                <a:spcAft>
                  <a:spcPct val="0"/>
                </a:spcAft>
              </a:pPr>
              <a:t>‹#›</a:t>
            </a:fld>
            <a:endParaRPr lang="en-US">
              <a:ea typeface="ＭＳ Ｐゴシック" charset="0"/>
            </a:endParaRPr>
          </a:p>
        </p:txBody>
      </p:sp>
      <p:sp>
        <p:nvSpPr>
          <p:cNvPr id="6" name="Content Placeholder 5"/>
          <p:cNvSpPr>
            <a:spLocks noGrp="1"/>
          </p:cNvSpPr>
          <p:nvPr>
            <p:ph sz="quarter" idx="12"/>
          </p:nvPr>
        </p:nvSpPr>
        <p:spPr>
          <a:xfrm>
            <a:off x="269239" y="1295021"/>
            <a:ext cx="11653523" cy="49574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55892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userDrawn="1">
  <p:cSld name="Closing logo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6" y="2"/>
            <a:ext cx="12191378" cy="6858623"/>
          </a:xfrm>
          <a:prstGeom prst="rect">
            <a:avLst/>
          </a:prstGeom>
        </p:spPr>
      </p:pic>
      <p:sp>
        <p:nvSpPr>
          <p:cNvPr id="6" name="Rectangle 5"/>
          <p:cNvSpPr/>
          <p:nvPr userDrawn="1"/>
        </p:nvSpPr>
        <p:spPr bwMode="gray">
          <a:xfrm>
            <a:off x="1"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68" fontAlgn="base">
              <a:spcBef>
                <a:spcPct val="0"/>
              </a:spcBef>
              <a:spcAft>
                <a:spcPct val="0"/>
              </a:spcAft>
            </a:pPr>
            <a:endParaRPr lang="en-US" sz="196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40624" y="6171618"/>
            <a:ext cx="4482123" cy="395317"/>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algn="r" defTabSz="913488" eaLnBrk="0" hangingPunct="0"/>
            <a:r>
              <a:rPr lang="en-US" sz="686">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204" y="5471930"/>
            <a:ext cx="3227129" cy="687975"/>
          </a:xfrm>
          <a:prstGeom prst="rect">
            <a:avLst/>
          </a:prstGeom>
        </p:spPr>
      </p:pic>
    </p:spTree>
    <p:extLst>
      <p:ext uri="{BB962C8B-B14F-4D97-AF65-F5344CB8AC3E}">
        <p14:creationId xmlns:p14="http://schemas.microsoft.com/office/powerpoint/2010/main" val="7064999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0" cy="863600"/>
          </a:xfrm>
        </p:spPr>
        <p:txBody>
          <a:bodyPr anchor="t" anchorCtr="0">
            <a:noAutofit/>
          </a:bodyPr>
          <a:lstStyle>
            <a:lvl1pPr>
              <a:defRPr sz="5330" cap="none" spc="-133" baseline="0">
                <a:solidFill>
                  <a:schemeClr val="accent1"/>
                </a:solidFill>
                <a:latin typeface="Segoe UI Light" pitchFamily="34" charset="0"/>
              </a:defRPr>
            </a:lvl1pPr>
          </a:lstStyle>
          <a:p>
            <a:r>
              <a:rPr lang="en-US"/>
              <a:t>Click To Edit Master Title Style</a:t>
            </a:r>
          </a:p>
        </p:txBody>
      </p:sp>
    </p:spTree>
    <p:extLst>
      <p:ext uri="{BB962C8B-B14F-4D97-AF65-F5344CB8AC3E}">
        <p14:creationId xmlns:p14="http://schemas.microsoft.com/office/powerpoint/2010/main" val="914678664"/>
      </p:ext>
    </p:extLst>
  </p:cSld>
  <p:clrMapOvr>
    <a:masterClrMapping/>
  </p:clrMapOvr>
  <p:transition spd="slow">
    <p:push/>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CD5DCCE-C9C1-4DF9-9B1A-B0AB57AAB398}" type="datetimeFigureOut">
              <a:rPr lang="en-US" smtClean="0"/>
              <a:t>6/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65361711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panose="020B0502040204020203" pitchFamily="34" charset="0"/>
                <a:cs typeface="Segoe UI" panose="020B0502040204020203" pitchFamily="34" charset="0"/>
              </a:defRPr>
            </a:lvl1pPr>
            <a:lvl2pPr>
              <a:defRPr b="0" i="0">
                <a:latin typeface="Segoe UI" panose="020B0502040204020203" pitchFamily="34" charset="0"/>
                <a:cs typeface="Segoe UI" panose="020B0502040204020203" pitchFamily="34" charset="0"/>
              </a:defRPr>
            </a:lvl2pPr>
            <a:lvl3pPr>
              <a:defRPr b="0" i="0">
                <a:latin typeface="Segoe UI" panose="020B0502040204020203" pitchFamily="34" charset="0"/>
                <a:cs typeface="Segoe UI" panose="020B0502040204020203" pitchFamily="34" charset="0"/>
              </a:defRPr>
            </a:lvl3pPr>
            <a:lvl4pPr>
              <a:defRPr b="0" i="0">
                <a:latin typeface="Segoe UI" panose="020B0502040204020203" pitchFamily="34" charset="0"/>
                <a:cs typeface="Segoe UI" panose="020B0502040204020203" pitchFamily="34" charset="0"/>
              </a:defRPr>
            </a:lvl4pPr>
            <a:lvl5pPr>
              <a:defRPr b="0" i="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39322284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CD5DCCE-C9C1-4DF9-9B1A-B0AB57AAB398}" type="datetimeFigureOut">
              <a:rPr lang="en-US" smtClean="0"/>
              <a:t>6/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76195136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D5DCCE-C9C1-4DF9-9B1A-B0AB57AAB398}" type="datetimeFigureOut">
              <a:rPr lang="en-US" smtClean="0"/>
              <a:t>6/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26008344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CD5DCCE-C9C1-4DF9-9B1A-B0AB57AAB398}" type="datetimeFigureOut">
              <a:rPr lang="en-US" smtClean="0"/>
              <a:t>6/3/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54358477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CD5DCCE-C9C1-4DF9-9B1A-B0AB57AAB398}" type="datetimeFigureOut">
              <a:rPr lang="en-US" smtClean="0"/>
              <a:t>6/3/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049880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03.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49972607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D5DCCE-C9C1-4DF9-9B1A-B0AB57AAB398}" type="datetimeFigureOut">
              <a:rPr lang="en-US" smtClean="0"/>
              <a:t>6/3/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5520691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6/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91756782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6/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21735510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70699012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1511895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6/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0669342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1895624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6/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150124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6/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0339210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6/3/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383079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03.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8566208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6/3/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73249030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6/3/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63502189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4839043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91932796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19072284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230027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88729670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377840919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583237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072667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03.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5771003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4450656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400781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225486482"/>
      </p:ext>
    </p:extLst>
  </p:cSld>
  <p:clrMapOvr>
    <a:overrideClrMapping bg1="dk1" tx1="lt1" bg2="dk2" tx2="lt2" accent1="accent1" accent2="accent2" accent3="accent3" accent4="accent4" accent5="accent5" accent6="accent6" hlink="hlink" folHlink="folHlink"/>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847106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252907274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1059244135"/>
      </p:ext>
    </p:extLst>
  </p:cSld>
  <p:clrMapOvr>
    <a:overrideClrMapping bg1="lt1" tx1="dk1" bg2="lt2" tx2="dk2" accent1="accent1" accent2="accent2" accent3="accent3" accent4="accent4" accent5="accent5" accent6="accent6" hlink="hlink" folHlink="folHlink"/>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455833" y="470067"/>
            <a:ext cx="1423303" cy="304828"/>
          </a:xfrm>
          <a:prstGeom prst="rect">
            <a:avLst/>
          </a:prstGeom>
        </p:spPr>
      </p:pic>
      <p:grpSp>
        <p:nvGrpSpPr>
          <p:cNvPr id="676" name="Group 675"/>
          <p:cNvGrpSpPr>
            <a:grpSpLocks noChangeAspect="1"/>
          </p:cNvGrpSpPr>
          <p:nvPr/>
        </p:nvGrpSpPr>
        <p:grpSpPr bwMode="gray">
          <a:xfrm>
            <a:off x="7440701" y="2676791"/>
            <a:ext cx="4751298" cy="4181209"/>
            <a:chOff x="7670801" y="3252788"/>
            <a:chExt cx="4017963" cy="3535362"/>
          </a:xfrm>
        </p:grpSpPr>
        <p:sp>
          <p:nvSpPr>
            <p:cNvPr id="67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669938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Walkin 2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455833" y="470067"/>
            <a:ext cx="1423303" cy="304828"/>
          </a:xfrm>
          <a:prstGeom prst="rect">
            <a:avLst/>
          </a:prstGeom>
        </p:spPr>
      </p:pic>
      <p:grpSp>
        <p:nvGrpSpPr>
          <p:cNvPr id="230" name="Group 229"/>
          <p:cNvGrpSpPr>
            <a:grpSpLocks noChangeAspect="1"/>
          </p:cNvGrpSpPr>
          <p:nvPr/>
        </p:nvGrpSpPr>
        <p:grpSpPr bwMode="gray">
          <a:xfrm>
            <a:off x="7440701" y="2676791"/>
            <a:ext cx="4751298" cy="4181209"/>
            <a:chOff x="7670801" y="3252788"/>
            <a:chExt cx="4017963" cy="3535362"/>
          </a:xfrm>
        </p:grpSpPr>
        <p:sp>
          <p:nvSpPr>
            <p:cNvPr id="231"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72204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448212" y="470067"/>
            <a:ext cx="1454257" cy="304828"/>
          </a:xfrm>
          <a:prstGeom prst="rect">
            <a:avLst/>
          </a:prstGeom>
        </p:spPr>
      </p:pic>
      <p:grpSp>
        <p:nvGrpSpPr>
          <p:cNvPr id="393" name="Group 392"/>
          <p:cNvGrpSpPr>
            <a:grpSpLocks noChangeAspect="1"/>
          </p:cNvGrpSpPr>
          <p:nvPr/>
        </p:nvGrpSpPr>
        <p:grpSpPr bwMode="gray">
          <a:xfrm>
            <a:off x="7440701" y="2676791"/>
            <a:ext cx="4751298" cy="4181209"/>
            <a:chOff x="7670801" y="3252788"/>
            <a:chExt cx="4017963" cy="3535362"/>
          </a:xfrm>
        </p:grpSpPr>
        <p:sp>
          <p:nvSpPr>
            <p:cNvPr id="39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231008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448212" y="470067"/>
            <a:ext cx="1454257" cy="304828"/>
          </a:xfrm>
          <a:prstGeom prst="rect">
            <a:avLst/>
          </a:prstGeom>
        </p:spPr>
      </p:pic>
      <p:grpSp>
        <p:nvGrpSpPr>
          <p:cNvPr id="616" name="Group 615"/>
          <p:cNvGrpSpPr>
            <a:grpSpLocks noChangeAspect="1"/>
          </p:cNvGrpSpPr>
          <p:nvPr/>
        </p:nvGrpSpPr>
        <p:grpSpPr bwMode="gray">
          <a:xfrm>
            <a:off x="7440701" y="2676791"/>
            <a:ext cx="4751298" cy="4181209"/>
            <a:chOff x="7670801" y="3252788"/>
            <a:chExt cx="4017963" cy="3535362"/>
          </a:xfrm>
        </p:grpSpPr>
        <p:sp>
          <p:nvSpPr>
            <p:cNvPr id="61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281509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Exam Tip">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314"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9" indent="0">
              <a:buNone/>
              <a:defRPr sz="2000"/>
            </a:lvl2pPr>
            <a:lvl3pPr marL="219408" indent="0">
              <a:buNone/>
              <a:defRPr sz="2000"/>
            </a:lvl3pPr>
            <a:lvl4pPr marL="466824" indent="0">
              <a:buNone/>
              <a:defRPr sz="1800"/>
            </a:lvl4pPr>
            <a:lvl5pPr marL="725133" indent="0">
              <a:buNone/>
              <a:defRPr sz="1800"/>
            </a:lvl5pPr>
          </a:lstStyle>
          <a:p>
            <a:pPr lvl="0"/>
            <a:endParaRPr lang="en-US" dirty="0"/>
          </a:p>
        </p:txBody>
      </p:sp>
      <p:sp>
        <p:nvSpPr>
          <p:cNvPr id="5" name="Rectangle 4"/>
          <p:cNvSpPr/>
          <p:nvPr userDrawn="1"/>
        </p:nvSpPr>
        <p:spPr>
          <a:xfrm>
            <a:off x="268081" y="347873"/>
            <a:ext cx="3209533" cy="923330"/>
          </a:xfrm>
          <a:prstGeom prst="rect">
            <a:avLst/>
          </a:prstGeom>
        </p:spPr>
        <p:txBody>
          <a:bodyPr wrap="none" lIns="91432" tIns="45715" rIns="91432" bIns="45715">
            <a:spAutoFit/>
          </a:bodyPr>
          <a:lstStyle/>
          <a:p>
            <a:pPr algn="l"/>
            <a:r>
              <a:rPr lang="en-US" sz="540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57" indent="0">
              <a:buFontTx/>
              <a:buNone/>
              <a:defRPr sz="2000" u="sng">
                <a:solidFill>
                  <a:srgbClr val="0070C0"/>
                </a:solidFill>
              </a:defRPr>
            </a:lvl2pPr>
            <a:lvl3pPr marL="914314" indent="0">
              <a:buFontTx/>
              <a:buNone/>
              <a:defRPr sz="2000" u="sng">
                <a:solidFill>
                  <a:srgbClr val="0070C0"/>
                </a:solidFill>
              </a:defRPr>
            </a:lvl3pPr>
            <a:lvl4pPr marL="1371471" indent="0">
              <a:buFontTx/>
              <a:buNone/>
              <a:defRPr sz="2000" u="sng">
                <a:solidFill>
                  <a:srgbClr val="0070C0"/>
                </a:solidFill>
              </a:defRPr>
            </a:lvl4pPr>
            <a:lvl5pPr marL="1828628"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4005241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03.06.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68889230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454013" y="470067"/>
            <a:ext cx="1423303" cy="304828"/>
          </a:xfrm>
          <a:prstGeom prst="rect">
            <a:avLst/>
          </a:prstGeom>
        </p:spPr>
      </p:pic>
      <p:grpSp>
        <p:nvGrpSpPr>
          <p:cNvPr id="229" name="Group 228"/>
          <p:cNvGrpSpPr>
            <a:grpSpLocks noChangeAspect="1"/>
          </p:cNvGrpSpPr>
          <p:nvPr/>
        </p:nvGrpSpPr>
        <p:grpSpPr bwMode="gray">
          <a:xfrm>
            <a:off x="7440701" y="2676791"/>
            <a:ext cx="4751298" cy="4181209"/>
            <a:chOff x="7670801" y="3252788"/>
            <a:chExt cx="4017963" cy="3535362"/>
          </a:xfrm>
        </p:grpSpPr>
        <p:sp>
          <p:nvSpPr>
            <p:cNvPr id="230"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1516596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454013" y="470067"/>
            <a:ext cx="1423303" cy="304828"/>
          </a:xfrm>
          <a:prstGeom prst="rect">
            <a:avLst/>
          </a:prstGeom>
        </p:spPr>
      </p:pic>
      <p:grpSp>
        <p:nvGrpSpPr>
          <p:cNvPr id="575" name="Group 574"/>
          <p:cNvGrpSpPr>
            <a:grpSpLocks noChangeAspect="1"/>
          </p:cNvGrpSpPr>
          <p:nvPr/>
        </p:nvGrpSpPr>
        <p:grpSpPr bwMode="gray">
          <a:xfrm>
            <a:off x="7440701" y="2676791"/>
            <a:ext cx="4751298" cy="4181209"/>
            <a:chOff x="7670801" y="3252788"/>
            <a:chExt cx="4017963" cy="3535362"/>
          </a:xfrm>
        </p:grpSpPr>
        <p:sp>
          <p:nvSpPr>
            <p:cNvPr id="576"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6"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4945885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43290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8429521"/>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47441828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08430111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5641318"/>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96300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54209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5922652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03.06.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90316253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grpSp>
        <p:nvGrpSpPr>
          <p:cNvPr id="3" name="Group 2"/>
          <p:cNvGrpSpPr>
            <a:grpSpLocks noChangeAspect="1"/>
          </p:cNvGrpSpPr>
          <p:nvPr/>
        </p:nvGrpSpPr>
        <p:grpSpPr bwMode="gray">
          <a:xfrm>
            <a:off x="8702982" y="3787616"/>
            <a:ext cx="3489016" cy="3070384"/>
            <a:chOff x="7670801" y="3252788"/>
            <a:chExt cx="4017963" cy="3535362"/>
          </a:xfrm>
        </p:grpSpPr>
        <p:sp>
          <p:nvSpPr>
            <p:cNvPr id="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8413513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2 Accent Color 1">
    <p:bg>
      <p:bgPr>
        <a:solidFill>
          <a:schemeClr val="accent1"/>
        </a:solidFill>
        <a:effectLst/>
      </p:bgPr>
    </p:bg>
    <p:spTree>
      <p:nvGrpSpPr>
        <p:cNvPr id="1" name=""/>
        <p:cNvGrpSpPr/>
        <p:nvPr/>
      </p:nvGrpSpPr>
      <p:grpSpPr>
        <a:xfrm>
          <a:off x="0" y="0"/>
          <a:ext cx="0" cy="0"/>
          <a:chOff x="0" y="0"/>
          <a:chExt cx="0" cy="0"/>
        </a:xfrm>
      </p:grpSpPr>
      <p:grpSp>
        <p:nvGrpSpPr>
          <p:cNvPr id="226" name="Group 225"/>
          <p:cNvGrpSpPr>
            <a:grpSpLocks noChangeAspect="1"/>
          </p:cNvGrpSpPr>
          <p:nvPr/>
        </p:nvGrpSpPr>
        <p:grpSpPr bwMode="gray">
          <a:xfrm>
            <a:off x="8702982" y="3787615"/>
            <a:ext cx="3489017" cy="3070385"/>
            <a:chOff x="7670801" y="3252788"/>
            <a:chExt cx="4017963" cy="3535362"/>
          </a:xfrm>
        </p:grpSpPr>
        <p:sp>
          <p:nvSpPr>
            <p:cNvPr id="22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06664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968099396"/>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8177651"/>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14862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5279812"/>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743407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622877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78DA1-15F6-4685-A16A-7A036BCA5F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8DBF78-1CC9-466E-871A-917DEDF707E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FDA40D2-3F14-48E1-A121-820861DDAE6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D84DE02-4661-4D54-99A5-564AA979E200}"/>
              </a:ext>
            </a:extLst>
          </p:cNvPr>
          <p:cNvSpPr>
            <a:spLocks noGrp="1"/>
          </p:cNvSpPr>
          <p:nvPr>
            <p:ph type="dt" sz="half" idx="10"/>
          </p:nvPr>
        </p:nvSpPr>
        <p:spPr/>
        <p:txBody>
          <a:bodyPr/>
          <a:lstStyle/>
          <a:p>
            <a:fld id="{F8100082-4701-46E9-9D8D-E959BA581C26}" type="datetimeFigureOut">
              <a:rPr lang="en-US" smtClean="0"/>
              <a:t>6/3/2018</a:t>
            </a:fld>
            <a:endParaRPr lang="en-US"/>
          </a:p>
        </p:txBody>
      </p:sp>
      <p:sp>
        <p:nvSpPr>
          <p:cNvPr id="6" name="Footer Placeholder 5">
            <a:extLst>
              <a:ext uri="{FF2B5EF4-FFF2-40B4-BE49-F238E27FC236}">
                <a16:creationId xmlns:a16="http://schemas.microsoft.com/office/drawing/2014/main" id="{45403502-6C63-4DFC-9109-CBD98150AB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3B158F-AF93-4A4D-BA9E-7691595540DC}"/>
              </a:ext>
            </a:extLst>
          </p:cNvPr>
          <p:cNvSpPr>
            <a:spLocks noGrp="1"/>
          </p:cNvSpPr>
          <p:nvPr>
            <p:ph type="sldNum" sz="quarter" idx="12"/>
          </p:nvPr>
        </p:nvSpPr>
        <p:spPr/>
        <p:txBody>
          <a:bodyPr/>
          <a:lstStyle/>
          <a:p>
            <a:fld id="{F46CFF7C-B075-44CB-8339-688B8B1BA1C4}" type="slidenum">
              <a:rPr lang="en-US" smtClean="0"/>
              <a:t>‹#›</a:t>
            </a:fld>
            <a:endParaRPr lang="en-US"/>
          </a:p>
        </p:txBody>
      </p:sp>
    </p:spTree>
    <p:extLst>
      <p:ext uri="{BB962C8B-B14F-4D97-AF65-F5344CB8AC3E}">
        <p14:creationId xmlns:p14="http://schemas.microsoft.com/office/powerpoint/2010/main" val="181005186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22112DF-AEA9-46D0-9198-E39315499B29}" type="datetimeFigureOut">
              <a:rPr lang="en-US" smtClean="0"/>
              <a:t>6/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2105632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03.06.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111523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6/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1784632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Segoe UI Light" panose="020B0502040204020203" pitchFamily="34" charset="0"/>
                <a:cs typeface="Segoe UI Light"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22112DF-AEA9-46D0-9198-E39315499B29}" type="datetimeFigureOut">
              <a:rPr lang="en-US" smtClean="0"/>
              <a:t>6/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18901548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22112DF-AEA9-46D0-9198-E39315499B29}" type="datetimeFigureOut">
              <a:rPr lang="en-US" smtClean="0"/>
              <a:t>6/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824524403"/>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22112DF-AEA9-46D0-9198-E39315499B29}" type="datetimeFigureOut">
              <a:rPr lang="en-US" smtClean="0"/>
              <a:t>6/3/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38917300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22112DF-AEA9-46D0-9198-E39315499B29}" type="datetimeFigureOut">
              <a:rPr lang="en-US" smtClean="0"/>
              <a:t>6/3/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55264812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22112DF-AEA9-46D0-9198-E39315499B29}" type="datetimeFigureOut">
              <a:rPr lang="en-US" smtClean="0"/>
              <a:t>6/3/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0632481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6/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85835672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6/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28464295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6/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53903751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6/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1998338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03.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9910783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44608"/>
          </a:xfrm>
        </p:spPr>
        <p:txBody>
          <a:bodyPr>
            <a:spAutoFit/>
          </a:bodyPr>
          <a:lstStyle>
            <a:lvl1pPr>
              <a:defRPr>
                <a:gradFill>
                  <a:gsLst>
                    <a:gs pos="1250">
                      <a:srgbClr val="FFFFFF"/>
                    </a:gs>
                    <a:gs pos="99000">
                      <a:srgbClr val="FFFFFF"/>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9117807"/>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354"/>
            <a:ext cx="8964247" cy="1075884"/>
          </a:xfrm>
        </p:spPr>
        <p:txBody>
          <a:bodyPr lIns="146304" tIns="91440" rIns="146304" bIns="91440"/>
          <a:lstStyle>
            <a:lvl1pPr>
              <a:lnSpc>
                <a:spcPts val="6176"/>
              </a:lnSpc>
              <a:defRPr sz="5685"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7284951" y="6717485"/>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486691" y="6717485"/>
            <a:ext cx="555597" cy="134484"/>
          </a:xfrm>
        </p:spPr>
        <p:txBody>
          <a:bodyPr/>
          <a:lstStyle/>
          <a:p>
            <a:fld id="{27258FFF-F925-446B-8502-81C933981705}" type="slidenum">
              <a:rPr lang="en-US"/>
              <a:pPr/>
              <a:t>‹#›</a:t>
            </a:fld>
            <a:endParaRPr lang="en-US"/>
          </a:p>
        </p:txBody>
      </p:sp>
      <p:sp>
        <p:nvSpPr>
          <p:cNvPr id="8" name="Text Placeholder 7"/>
          <p:cNvSpPr>
            <a:spLocks noGrp="1"/>
          </p:cNvSpPr>
          <p:nvPr>
            <p:ph type="body" sz="quarter" idx="13" hasCustomPrompt="1"/>
          </p:nvPr>
        </p:nvSpPr>
        <p:spPr>
          <a:xfrm>
            <a:off x="269243" y="2084175"/>
            <a:ext cx="8964251" cy="4003179"/>
          </a:xfrm>
        </p:spPr>
        <p:txBody>
          <a:bodyPr/>
          <a:lstStyle>
            <a:lvl1pPr marL="228761" indent="-228761">
              <a:spcBef>
                <a:spcPts val="1176"/>
              </a:spcBef>
              <a:defRPr sz="2548">
                <a:latin typeface="+mn-lt"/>
              </a:defRPr>
            </a:lvl1pPr>
            <a:lvl2pPr marL="676942" indent="-228761">
              <a:spcBef>
                <a:spcPts val="1176"/>
              </a:spcBef>
              <a:buSzPct val="100000"/>
              <a:buFont typeface="Segoe UI" pitchFamily="34" charset="0"/>
              <a:buChar char="‐"/>
              <a:defRPr/>
            </a:lvl2pPr>
            <a:lvl3pPr marL="1125124" indent="-228761">
              <a:spcBef>
                <a:spcPts val="1176"/>
              </a:spcBef>
              <a:buFont typeface="Wingdings" pitchFamily="2" charset="2"/>
              <a:buChar char="§"/>
              <a:defRPr/>
            </a:lvl3pPr>
            <a:lvl4pPr marL="1568637" indent="-336137">
              <a:spcBef>
                <a:spcPts val="1176"/>
              </a:spcBef>
              <a:buFont typeface="+mj-lt"/>
              <a:buAutoNum type="arabicPeriod"/>
              <a:defRPr/>
            </a:lvl4pPr>
            <a:lvl5pPr marL="1907887" indent="-336137">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371904"/>
      </p:ext>
    </p:extLst>
  </p:cSld>
  <p:clrMapOvr>
    <a:masterClrMapping/>
  </p:clrMapOvr>
  <p:transition spd="slow">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58pt Title/24pt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284951" y="6592650"/>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a:pPr/>
              <a:t>‹#›</a:t>
            </a:fld>
            <a:endParaRPr lang="en-US"/>
          </a:p>
        </p:txBody>
      </p:sp>
      <p:sp>
        <p:nvSpPr>
          <p:cNvPr id="6" name="Title 1"/>
          <p:cNvSpPr>
            <a:spLocks noGrp="1"/>
          </p:cNvSpPr>
          <p:nvPr>
            <p:ph type="ctrTitle" hasCustomPrompt="1"/>
          </p:nvPr>
        </p:nvSpPr>
        <p:spPr>
          <a:xfrm>
            <a:off x="269246" y="2100820"/>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269304" y="3877279"/>
            <a:ext cx="8534712" cy="1034783"/>
          </a:xfrm>
        </p:spPr>
        <p:txBody>
          <a:bodyPr/>
          <a:lstStyle>
            <a:lvl1pPr marL="0" indent="0" algn="l">
              <a:buNone/>
              <a:defRPr sz="2157">
                <a:solidFill>
                  <a:schemeClr val="bg1"/>
                </a:solidFill>
                <a:latin typeface="+mn-lt"/>
              </a:defRPr>
            </a:lvl1pPr>
            <a:lvl2pPr marL="448182" indent="0" algn="ctr">
              <a:buNone/>
              <a:defRPr>
                <a:solidFill>
                  <a:schemeClr val="tx1">
                    <a:tint val="75000"/>
                  </a:schemeClr>
                </a:solidFill>
              </a:defRPr>
            </a:lvl2pPr>
            <a:lvl3pPr marL="896364" indent="0" algn="ctr">
              <a:buNone/>
              <a:defRPr>
                <a:solidFill>
                  <a:schemeClr val="tx1">
                    <a:tint val="75000"/>
                  </a:schemeClr>
                </a:solidFill>
              </a:defRPr>
            </a:lvl3pPr>
            <a:lvl4pPr marL="1344546" indent="0" algn="ctr">
              <a:buNone/>
              <a:defRPr>
                <a:solidFill>
                  <a:schemeClr val="tx1">
                    <a:tint val="75000"/>
                  </a:schemeClr>
                </a:solidFill>
              </a:defRPr>
            </a:lvl4pPr>
            <a:lvl5pPr marL="1792729" indent="0" algn="ctr">
              <a:buNone/>
              <a:defRPr>
                <a:solidFill>
                  <a:schemeClr val="tx1">
                    <a:tint val="75000"/>
                  </a:schemeClr>
                </a:solidFill>
              </a:defRPr>
            </a:lvl5pPr>
            <a:lvl6pPr marL="2240911" indent="0" algn="ctr">
              <a:buNone/>
              <a:defRPr>
                <a:solidFill>
                  <a:schemeClr val="tx1">
                    <a:tint val="75000"/>
                  </a:schemeClr>
                </a:solidFill>
              </a:defRPr>
            </a:lvl6pPr>
            <a:lvl7pPr marL="2689093" indent="0" algn="ctr">
              <a:buNone/>
              <a:defRPr>
                <a:solidFill>
                  <a:schemeClr val="tx1">
                    <a:tint val="75000"/>
                  </a:schemeClr>
                </a:solidFill>
              </a:defRPr>
            </a:lvl7pPr>
            <a:lvl8pPr marL="3137275" indent="0" algn="ctr">
              <a:buNone/>
              <a:defRPr>
                <a:solidFill>
                  <a:schemeClr val="tx1">
                    <a:tint val="75000"/>
                  </a:schemeClr>
                </a:solidFill>
              </a:defRPr>
            </a:lvl8pPr>
            <a:lvl9pPr marL="358545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020233200"/>
      </p:ext>
    </p:extLst>
  </p:cSld>
  <p:clrMapOvr>
    <a:masterClrMapping/>
  </p:clrMapOvr>
  <p:transition spd="slow">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001926"/>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28127964"/>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1" y="1"/>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5"/>
            <a:ext cx="6276527" cy="1793104"/>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8191" t="2125" r="40806" b="346"/>
          <a:stretch/>
        </p:blipFill>
        <p:spPr>
          <a:xfrm>
            <a:off x="6813132" y="-1"/>
            <a:ext cx="5378869" cy="6877308"/>
          </a:xfrm>
          <a:prstGeom prst="rect">
            <a:avLst/>
          </a:prstGeom>
        </p:spPr>
      </p:pic>
    </p:spTree>
    <p:extLst>
      <p:ext uri="{BB962C8B-B14F-4D97-AF65-F5344CB8AC3E}">
        <p14:creationId xmlns:p14="http://schemas.microsoft.com/office/powerpoint/2010/main" val="1634313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4923637"/>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image background">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prstGeom prst="rect">
            <a:avLst/>
          </a:prstGeom>
        </p:spPr>
        <p:txBody>
          <a:bodyPr vert="horz"/>
          <a:lstStyle>
            <a:lvl1pPr>
              <a:buFontTx/>
              <a:buNone/>
              <a:defRPr sz="1867">
                <a:solidFill>
                  <a:srgbClr val="000000"/>
                </a:solidFill>
                <a:latin typeface="+mn-lt"/>
              </a:defRPr>
            </a:lvl1pPr>
          </a:lstStyle>
          <a:p>
            <a:r>
              <a:rPr lang="en-US"/>
              <a:t>Drag picture to placeholder or click icon to add</a:t>
            </a:r>
          </a:p>
        </p:txBody>
      </p:sp>
      <p:sp>
        <p:nvSpPr>
          <p:cNvPr id="17" name="Title 16"/>
          <p:cNvSpPr>
            <a:spLocks noGrp="1"/>
          </p:cNvSpPr>
          <p:nvPr>
            <p:ph type="title" hasCustomPrompt="1"/>
          </p:nvPr>
        </p:nvSpPr>
        <p:spPr>
          <a:xfrm>
            <a:off x="0" y="1219200"/>
            <a:ext cx="4876800" cy="2438400"/>
          </a:xfrm>
          <a:prstGeom prst="rect">
            <a:avLst/>
          </a:prstGeom>
          <a:solidFill>
            <a:schemeClr val="accent1">
              <a:alpha val="94000"/>
            </a:schemeClr>
          </a:solidFill>
        </p:spPr>
        <p:txBody>
          <a:bodyPr vert="horz" lIns="182880" tIns="137160">
            <a:normAutofit/>
          </a:bodyPr>
          <a:lstStyle>
            <a:lvl1pPr algn="l">
              <a:defRPr sz="4000">
                <a:latin typeface="Segoe UI Light" pitchFamily="34" charset="0"/>
                <a:cs typeface="Segoe UI Light" pitchFamily="34" charset="0"/>
              </a:defRPr>
            </a:lvl1pPr>
          </a:lstStyle>
          <a:p>
            <a:pPr lvl="0"/>
            <a:r>
              <a:rPr lang="en-US"/>
              <a:t>Click to edit slide content</a:t>
            </a:r>
          </a:p>
        </p:txBody>
      </p:sp>
      <p:sp>
        <p:nvSpPr>
          <p:cNvPr id="8" name="Text Placeholder 18"/>
          <p:cNvSpPr>
            <a:spLocks noGrp="1"/>
          </p:cNvSpPr>
          <p:nvPr>
            <p:ph type="body" sz="quarter" idx="16" hasCustomPrompt="1"/>
          </p:nvPr>
        </p:nvSpPr>
        <p:spPr>
          <a:xfrm>
            <a:off x="0" y="3651805"/>
            <a:ext cx="2438400" cy="1219200"/>
          </a:xfrm>
          <a:prstGeom prst="rect">
            <a:avLst/>
          </a:prstGeom>
          <a:solidFill>
            <a:schemeClr val="bg2">
              <a:alpha val="89000"/>
            </a:schemeClr>
          </a:solidFill>
        </p:spPr>
        <p:txBody>
          <a:bodyPr vert="horz" lIns="182880" tIns="137160">
            <a:normAutofit/>
          </a:bodyPr>
          <a:lstStyle>
            <a:lvl1pPr marL="0" indent="0">
              <a:lnSpc>
                <a:spcPct val="100000"/>
              </a:lnSpc>
              <a:buFontTx/>
              <a:buNone/>
              <a:defRPr sz="1867" baseline="0">
                <a:solidFill>
                  <a:schemeClr val="tx1"/>
                </a:solidFill>
                <a:latin typeface="+mn-lt"/>
              </a:defRPr>
            </a:lvl1pPr>
            <a:lvl2pPr marL="0" indent="0">
              <a:buFontTx/>
              <a:buNone/>
              <a:defRPr sz="1867" baseline="0">
                <a:latin typeface="Segoe Pro Light"/>
              </a:defRPr>
            </a:lvl2pPr>
            <a:lvl3pPr marL="0" indent="0">
              <a:buFontTx/>
              <a:buNone/>
              <a:defRPr sz="1867" baseline="0">
                <a:latin typeface="Segoe Pro Light"/>
              </a:defRPr>
            </a:lvl3pPr>
            <a:lvl4pPr marL="0" indent="0">
              <a:buFontTx/>
              <a:buNone/>
              <a:defRPr sz="1867" baseline="0">
                <a:latin typeface="Segoe Pro Light"/>
              </a:defRPr>
            </a:lvl4pPr>
            <a:lvl5pPr marL="0" indent="0">
              <a:buFontTx/>
              <a:buNone/>
              <a:defRPr sz="1867" baseline="0">
                <a:latin typeface="Segoe Pro Light"/>
              </a:defRPr>
            </a:lvl5pPr>
          </a:lstStyle>
          <a:p>
            <a:pPr lvl="0"/>
            <a:r>
              <a:rPr lang="en-US"/>
              <a:t>Click to edit slide content</a:t>
            </a:r>
          </a:p>
        </p:txBody>
      </p:sp>
      <p:sp>
        <p:nvSpPr>
          <p:cNvPr id="3" name="Picture Placeholder 2"/>
          <p:cNvSpPr>
            <a:spLocks noGrp="1"/>
          </p:cNvSpPr>
          <p:nvPr>
            <p:ph type="pic" sz="quarter" idx="17"/>
          </p:nvPr>
        </p:nvSpPr>
        <p:spPr>
          <a:xfrm>
            <a:off x="101600" y="24384"/>
            <a:ext cx="1524000" cy="559816"/>
          </a:xfrm>
        </p:spPr>
        <p:txBody>
          <a:bodyPr/>
          <a:lstStyle/>
          <a:p>
            <a:endParaRPr lang="en-US"/>
          </a:p>
        </p:txBody>
      </p:sp>
    </p:spTree>
    <p:extLst>
      <p:ext uri="{BB962C8B-B14F-4D97-AF65-F5344CB8AC3E}">
        <p14:creationId xmlns:p14="http://schemas.microsoft.com/office/powerpoint/2010/main" val="417183782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slide, color background">
    <p:spTree>
      <p:nvGrpSpPr>
        <p:cNvPr id="1" name=""/>
        <p:cNvGrpSpPr/>
        <p:nvPr/>
      </p:nvGrpSpPr>
      <p:grpSpPr>
        <a:xfrm>
          <a:off x="0" y="0"/>
          <a:ext cx="0" cy="0"/>
          <a:chOff x="0" y="0"/>
          <a:chExt cx="0" cy="0"/>
        </a:xfrm>
      </p:grpSpPr>
      <p:sp>
        <p:nvSpPr>
          <p:cNvPr id="17" name="Title 16"/>
          <p:cNvSpPr>
            <a:spLocks noGrp="1"/>
          </p:cNvSpPr>
          <p:nvPr>
            <p:ph type="title" hasCustomPrompt="1"/>
          </p:nvPr>
        </p:nvSpPr>
        <p:spPr>
          <a:xfrm>
            <a:off x="0" y="1219200"/>
            <a:ext cx="4876800" cy="2438400"/>
          </a:xfrm>
          <a:prstGeom prst="rect">
            <a:avLst/>
          </a:prstGeom>
          <a:solidFill>
            <a:schemeClr val="accent1"/>
          </a:solidFill>
        </p:spPr>
        <p:txBody>
          <a:bodyPr vert="horz" lIns="182880" tIns="137160">
            <a:normAutofit/>
          </a:bodyPr>
          <a:lstStyle>
            <a:lvl1pPr algn="l">
              <a:defRPr sz="4000">
                <a:latin typeface="Segoe UI Light" pitchFamily="34" charset="0"/>
                <a:cs typeface="Segoe UI Light" pitchFamily="34" charset="0"/>
              </a:defRPr>
            </a:lvl1pPr>
          </a:lstStyle>
          <a:p>
            <a:pPr lvl="0"/>
            <a:r>
              <a:rPr lang="en-US"/>
              <a:t>Click to edit slide content</a:t>
            </a:r>
          </a:p>
        </p:txBody>
      </p:sp>
      <p:sp>
        <p:nvSpPr>
          <p:cNvPr id="8" name="Text Placeholder 18"/>
          <p:cNvSpPr>
            <a:spLocks noGrp="1"/>
          </p:cNvSpPr>
          <p:nvPr>
            <p:ph type="body" sz="quarter" idx="16" hasCustomPrompt="1"/>
          </p:nvPr>
        </p:nvSpPr>
        <p:spPr>
          <a:xfrm>
            <a:off x="0" y="3651805"/>
            <a:ext cx="2438400" cy="1219200"/>
          </a:xfrm>
          <a:prstGeom prst="rect">
            <a:avLst/>
          </a:prstGeom>
          <a:solidFill>
            <a:schemeClr val="accent2">
              <a:alpha val="89000"/>
            </a:schemeClr>
          </a:solidFill>
        </p:spPr>
        <p:txBody>
          <a:bodyPr vert="horz" lIns="182880" tIns="137160">
            <a:normAutofit/>
          </a:bodyPr>
          <a:lstStyle>
            <a:lvl1pPr marL="0" indent="0">
              <a:lnSpc>
                <a:spcPct val="100000"/>
              </a:lnSpc>
              <a:buFontTx/>
              <a:buNone/>
              <a:defRPr sz="1867" baseline="0">
                <a:solidFill>
                  <a:schemeClr val="bg1"/>
                </a:solidFill>
                <a:latin typeface="+mn-lt"/>
              </a:defRPr>
            </a:lvl1pPr>
            <a:lvl2pPr marL="0" indent="0">
              <a:buFontTx/>
              <a:buNone/>
              <a:defRPr sz="1867" baseline="0">
                <a:latin typeface="Segoe Pro Light"/>
              </a:defRPr>
            </a:lvl2pPr>
            <a:lvl3pPr marL="0" indent="0">
              <a:buFontTx/>
              <a:buNone/>
              <a:defRPr sz="1867" baseline="0">
                <a:latin typeface="Segoe Pro Light"/>
              </a:defRPr>
            </a:lvl3pPr>
            <a:lvl4pPr marL="0" indent="0">
              <a:buFontTx/>
              <a:buNone/>
              <a:defRPr sz="1867" baseline="0">
                <a:latin typeface="Segoe Pro Light"/>
              </a:defRPr>
            </a:lvl4pPr>
            <a:lvl5pPr marL="0" indent="0">
              <a:buFontTx/>
              <a:buNone/>
              <a:defRPr sz="1867" baseline="0">
                <a:latin typeface="Segoe Pro Light"/>
              </a:defRPr>
            </a:lvl5pPr>
          </a:lstStyle>
          <a:p>
            <a:pPr lvl="0"/>
            <a:r>
              <a:rPr lang="en-US"/>
              <a:t>Click to edit slide content</a:t>
            </a:r>
          </a:p>
        </p:txBody>
      </p:sp>
      <p:sp>
        <p:nvSpPr>
          <p:cNvPr id="5" name="Picture Placeholder 2"/>
          <p:cNvSpPr>
            <a:spLocks noGrp="1"/>
          </p:cNvSpPr>
          <p:nvPr>
            <p:ph type="pic" sz="quarter" idx="17"/>
          </p:nvPr>
        </p:nvSpPr>
        <p:spPr>
          <a:xfrm>
            <a:off x="101600" y="24384"/>
            <a:ext cx="1524000" cy="559816"/>
          </a:xfrm>
        </p:spPr>
        <p:txBody>
          <a:bodyPr/>
          <a:lstStyle/>
          <a:p>
            <a:endParaRPr lang="en-US"/>
          </a:p>
        </p:txBody>
      </p:sp>
    </p:spTree>
    <p:extLst>
      <p:ext uri="{BB962C8B-B14F-4D97-AF65-F5344CB8AC3E}">
        <p14:creationId xmlns:p14="http://schemas.microsoft.com/office/powerpoint/2010/main" val="43382674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ext content, larg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842C66BA-9684-4EBB-8590-214CD9F28CEB}" type="datetime1">
              <a:rPr lang="en-US"/>
              <a:t>6/3/2018</a:t>
            </a:fld>
            <a:endParaRPr lang="en-US"/>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pPr/>
              <a:t>‹#›</a:t>
            </a:fld>
            <a:endParaRPr lang="en-US"/>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lstStyle>
            <a:lvl1pPr marL="0" indent="0">
              <a:spcBef>
                <a:spcPts val="400"/>
              </a:spcBef>
              <a:buFontTx/>
              <a:buNone/>
              <a:defRPr sz="4000" baseline="0">
                <a:solidFill>
                  <a:schemeClr val="tx1"/>
                </a:solidFill>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36230415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03.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38586057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ext content, large, 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472351D8-3534-4183-9294-3361DBF2770E}" type="datetime1">
              <a:rPr lang="en-US"/>
              <a:pPr/>
              <a:t>6/3/2018</a:t>
            </a:fld>
            <a:endParaRPr lang="en-US"/>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pPr/>
              <a:t>‹#›</a:t>
            </a:fld>
            <a:endParaRPr lang="en-US"/>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normAutofit/>
          </a:bodyPr>
          <a:lstStyle>
            <a:lvl1pPr marL="0" indent="0">
              <a:spcBef>
                <a:spcPts val="400"/>
              </a:spcBef>
              <a:buFontTx/>
              <a:buNone/>
              <a:defRPr sz="4000" baseline="0">
                <a:solidFill>
                  <a:schemeClr val="tx1"/>
                </a:solidFill>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1303513092"/>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ext content, normal,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508C8FE4-FDB2-4EBB-9AAA-620FA7746FED}" type="datetime1">
              <a:rPr lang="en-US"/>
              <a:t>6/3/2018</a:t>
            </a:fld>
            <a:endParaRPr lang="en-US"/>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pPr/>
              <a:t>‹#›</a:t>
            </a:fld>
            <a:endParaRPr lang="en-US"/>
          </a:p>
        </p:txBody>
      </p:sp>
      <p:sp>
        <p:nvSpPr>
          <p:cNvPr id="14" name="Content Placeholder 13"/>
          <p:cNvSpPr>
            <a:spLocks noGrp="1"/>
          </p:cNvSpPr>
          <p:nvPr>
            <p:ph sz="quarter" idx="13" hasCustomPrompt="1"/>
          </p:nvPr>
        </p:nvSpPr>
        <p:spPr>
          <a:xfrm>
            <a:off x="3657600" y="1219200"/>
            <a:ext cx="8229600" cy="5054600"/>
          </a:xfrm>
          <a:prstGeom prst="rect">
            <a:avLst/>
          </a:prstGeom>
        </p:spPr>
        <p:txBody>
          <a:bodyPr vert="horz" lIns="182880" tIns="137160">
            <a:normAutofit/>
          </a:bodyPr>
          <a:lstStyle>
            <a:lvl1pPr marL="0" indent="0">
              <a:spcBef>
                <a:spcPts val="400"/>
              </a:spcBef>
              <a:buFontTx/>
              <a:buNone/>
              <a:defRPr sz="1867" baseline="0">
                <a:solidFill>
                  <a:schemeClr val="tx1"/>
                </a:solidFill>
                <a:latin typeface="+mn-lt"/>
              </a:defRPr>
            </a:lvl1pPr>
          </a:lstStyle>
          <a:p>
            <a:pPr lvl="0"/>
            <a:r>
              <a:rPr lang="en-US"/>
              <a:t>Click to edit slide content</a:t>
            </a:r>
          </a:p>
        </p:txBody>
      </p:sp>
    </p:spTree>
    <p:extLst>
      <p:ext uri="{BB962C8B-B14F-4D97-AF65-F5344CB8AC3E}">
        <p14:creationId xmlns:p14="http://schemas.microsoft.com/office/powerpoint/2010/main" val="275329969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tile text, color 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a:normAutofit/>
          </a:bodyPr>
          <a:lstStyle>
            <a:lvl1pPr>
              <a:lnSpc>
                <a:spcPct val="100000"/>
              </a:lnSpc>
              <a:defRPr sz="2667"/>
            </a:lvl1pPr>
          </a:lstStyle>
          <a:p>
            <a:pPr lvl="0"/>
            <a:r>
              <a:rPr lang="en-US"/>
              <a:t>Click to edit slide content</a:t>
            </a:r>
          </a:p>
        </p:txBody>
      </p:sp>
      <p:sp>
        <p:nvSpPr>
          <p:cNvPr id="3" name="Date Placeholder 2"/>
          <p:cNvSpPr>
            <a:spLocks noGrp="1"/>
          </p:cNvSpPr>
          <p:nvPr>
            <p:ph type="dt" sz="half" idx="10"/>
          </p:nvPr>
        </p:nvSpPr>
        <p:spPr/>
        <p:txBody>
          <a:bodyPr/>
          <a:lstStyle>
            <a:lvl1pPr>
              <a:lnSpc>
                <a:spcPct val="120000"/>
              </a:lnSpc>
              <a:defRPr>
                <a:solidFill>
                  <a:schemeClr val="tx1"/>
                </a:solidFill>
              </a:defRPr>
            </a:lvl1pPr>
          </a:lstStyle>
          <a:p>
            <a:fld id="{ACC3B02E-172E-4004-B639-FE5070F3D7E1}" type="datetime1">
              <a:rPr lang="en-US"/>
              <a:t>6/3/2018</a:t>
            </a:fld>
            <a:endParaRPr lang="en-US"/>
          </a:p>
        </p:txBody>
      </p:sp>
      <p:sp>
        <p:nvSpPr>
          <p:cNvPr id="4" name="Slide Number Placeholder 3"/>
          <p:cNvSpPr>
            <a:spLocks noGrp="1"/>
          </p:cNvSpPr>
          <p:nvPr>
            <p:ph type="sldNum" sz="quarter" idx="11"/>
          </p:nvPr>
        </p:nvSpPr>
        <p:spPr/>
        <p:txBody>
          <a:bodyPr/>
          <a:lstStyle>
            <a:lvl1pPr>
              <a:lnSpc>
                <a:spcPct val="120000"/>
              </a:lnSpc>
              <a:defRPr>
                <a:solidFill>
                  <a:schemeClr val="tx1"/>
                </a:solidFill>
              </a:defRPr>
            </a:lvl1pPr>
          </a:lstStyle>
          <a:p>
            <a:fld id="{74A398B2-5A34-1A4A-811E-F4027282568C}" type="slidenum">
              <a:rPr lang="en-US"/>
              <a:pPr/>
              <a:t>‹#›</a:t>
            </a:fld>
            <a:endParaRPr lang="en-US"/>
          </a:p>
        </p:txBody>
      </p:sp>
      <p:sp>
        <p:nvSpPr>
          <p:cNvPr id="12" name="Text Placeholder 11"/>
          <p:cNvSpPr>
            <a:spLocks noGrp="1"/>
          </p:cNvSpPr>
          <p:nvPr>
            <p:ph type="body" sz="quarter" idx="12" hasCustomPrompt="1"/>
          </p:nvPr>
        </p:nvSpPr>
        <p:spPr>
          <a:xfrm>
            <a:off x="2438400" y="1219200"/>
            <a:ext cx="4876800" cy="4875781"/>
          </a:xfrm>
          <a:solidFill>
            <a:schemeClr val="accent2"/>
          </a:solidFill>
        </p:spPr>
        <p:txBody>
          <a:bodyPr>
            <a:noAutofit/>
          </a:bodyPr>
          <a:lstStyle>
            <a:lvl1pPr>
              <a:lnSpc>
                <a:spcPct val="120000"/>
              </a:lnSpc>
              <a:defRPr sz="1867">
                <a:solidFill>
                  <a:schemeClr val="bg1"/>
                </a:solidFill>
              </a:defRPr>
            </a:lvl1pPr>
            <a:lvl2pPr>
              <a:lnSpc>
                <a:spcPct val="120000"/>
              </a:lnSpc>
              <a:defRPr sz="1867">
                <a:solidFill>
                  <a:schemeClr val="bg1"/>
                </a:solidFill>
              </a:defRPr>
            </a:lvl2pPr>
            <a:lvl3pPr>
              <a:lnSpc>
                <a:spcPct val="120000"/>
              </a:lnSpc>
              <a:defRPr sz="1867">
                <a:solidFill>
                  <a:schemeClr val="bg1"/>
                </a:solidFill>
              </a:defRPr>
            </a:lvl3pPr>
            <a:lvl4pPr>
              <a:lnSpc>
                <a:spcPct val="120000"/>
              </a:lnSpc>
              <a:defRPr sz="1867">
                <a:solidFill>
                  <a:schemeClr val="bg1"/>
                </a:solidFill>
              </a:defRPr>
            </a:lvl4pPr>
            <a:lvl5pPr>
              <a:lnSpc>
                <a:spcPct val="120000"/>
              </a:lnSpc>
              <a:defRPr sz="1867">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14" hasCustomPrompt="1"/>
          </p:nvPr>
        </p:nvSpPr>
        <p:spPr>
          <a:xfrm>
            <a:off x="7315200" y="1219200"/>
            <a:ext cx="4876800" cy="4875781"/>
          </a:xfrm>
          <a:solidFill>
            <a:schemeClr val="accent1"/>
          </a:solidFill>
        </p:spPr>
        <p:txBody>
          <a:bodyPr>
            <a:noAutofit/>
          </a:bodyPr>
          <a:lstStyle>
            <a:lvl1pPr>
              <a:lnSpc>
                <a:spcPct val="120000"/>
              </a:lnSpc>
              <a:defRPr sz="1867">
                <a:solidFill>
                  <a:schemeClr val="tx1"/>
                </a:solidFill>
              </a:defRPr>
            </a:lvl1pPr>
            <a:lvl2pPr>
              <a:lnSpc>
                <a:spcPct val="120000"/>
              </a:lnSpc>
              <a:defRPr sz="1867">
                <a:solidFill>
                  <a:schemeClr val="tx1"/>
                </a:solidFill>
              </a:defRPr>
            </a:lvl2pPr>
            <a:lvl3pPr>
              <a:lnSpc>
                <a:spcPct val="120000"/>
              </a:lnSpc>
              <a:defRPr sz="1867">
                <a:solidFill>
                  <a:schemeClr val="tx1"/>
                </a:solidFill>
              </a:defRPr>
            </a:lvl3pPr>
            <a:lvl4pPr>
              <a:lnSpc>
                <a:spcPct val="120000"/>
              </a:lnSpc>
              <a:defRPr sz="1867">
                <a:solidFill>
                  <a:schemeClr val="tx1"/>
                </a:solidFill>
              </a:defRPr>
            </a:lvl4pPr>
            <a:lvl5pPr>
              <a:lnSpc>
                <a:spcPct val="120000"/>
              </a:lnSpc>
              <a:defRPr sz="1867">
                <a:solidFill>
                  <a:schemeClr val="tx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952182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ection divider with color 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4876800" cy="2438400"/>
          </a:xfrm>
          <a:solidFill>
            <a:schemeClr val="accent1">
              <a:alpha val="90000"/>
            </a:schemeClr>
          </a:solidFill>
        </p:spPr>
        <p:txBody>
          <a:bodyPr>
            <a:normAutofit/>
          </a:bodyPr>
          <a:lstStyle>
            <a:lvl1pPr>
              <a:lnSpc>
                <a:spcPct val="100000"/>
              </a:lnSpc>
              <a:defRPr sz="4000">
                <a:latin typeface="Segoe UI Light" pitchFamily="34" charset="0"/>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defRPr>
            </a:lvl1pPr>
          </a:lstStyle>
          <a:p>
            <a:fld id="{4B4B4AAB-5440-4A50-83AF-1B64C8A00BEE}" type="datetime1">
              <a:rPr lang="en-US"/>
              <a:t>6/3/2018</a:t>
            </a:fld>
            <a:endParaRPr lang="en-US"/>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74A398B2-5A34-1A4A-811E-F4027282568C}" type="slidenum">
              <a:rPr lang="en-US"/>
              <a:pPr/>
              <a:t>‹#›</a:t>
            </a:fld>
            <a:endParaRPr lang="en-US"/>
          </a:p>
        </p:txBody>
      </p:sp>
    </p:spTree>
    <p:extLst>
      <p:ext uri="{BB962C8B-B14F-4D97-AF65-F5344CB8AC3E}">
        <p14:creationId xmlns:p14="http://schemas.microsoft.com/office/powerpoint/2010/main" val="354041861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able of Contents white">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8" y="1219200"/>
            <a:ext cx="7922992" cy="4876800"/>
          </a:xfrm>
          <a:prstGeom prst="rect">
            <a:avLst/>
          </a:prstGeom>
        </p:spPr>
        <p:txBody>
          <a:bodyPr vert="horz" lIns="91440" tIns="45720">
            <a:normAutofit/>
          </a:bodyPr>
          <a:lstStyle>
            <a:lvl1pPr marL="0" indent="0">
              <a:spcBef>
                <a:spcPts val="800"/>
              </a:spcBef>
              <a:buFontTx/>
              <a:buNone/>
              <a:tabLst>
                <a:tab pos="840296" algn="l"/>
              </a:tabLst>
              <a:defRPr sz="2667" baseline="0">
                <a:solidFill>
                  <a:schemeClr val="tx1"/>
                </a:solidFill>
                <a:latin typeface="+mn-lt"/>
                <a:cs typeface="Segoe UI Light"/>
              </a:defRPr>
            </a:lvl1pPr>
            <a:lvl2pPr marL="0" indent="0">
              <a:spcBef>
                <a:spcPts val="800"/>
              </a:spcBef>
              <a:buFontTx/>
              <a:buNone/>
              <a:defRPr sz="4000">
                <a:latin typeface="Segoe Pro Light"/>
                <a:cs typeface="Segoe Pro Light"/>
              </a:defRPr>
            </a:lvl2pPr>
            <a:lvl3pPr marL="0" indent="0">
              <a:spcBef>
                <a:spcPts val="800"/>
              </a:spcBef>
              <a:buFontTx/>
              <a:buNone/>
              <a:defRPr sz="4000">
                <a:latin typeface="Segoe Pro Light"/>
                <a:cs typeface="Segoe Pro Light"/>
              </a:defRPr>
            </a:lvl3pPr>
            <a:lvl4pPr marL="0" indent="0">
              <a:spcBef>
                <a:spcPts val="800"/>
              </a:spcBef>
              <a:buFontTx/>
              <a:buNone/>
              <a:defRPr sz="4000">
                <a:latin typeface="Segoe Pro Light"/>
                <a:cs typeface="Segoe Pro Light"/>
              </a:defRPr>
            </a:lvl4pPr>
            <a:lvl5pPr marL="0" indent="0">
              <a:spcBef>
                <a:spcPts val="800"/>
              </a:spcBef>
              <a:buFontTx/>
              <a:buNone/>
              <a:defRPr sz="4000">
                <a:latin typeface="Segoe Pro Light"/>
                <a:cs typeface="Segoe Pro Light"/>
              </a:defRPr>
            </a:lvl5pPr>
          </a:lstStyle>
          <a:p>
            <a:pPr lvl="0"/>
            <a:r>
              <a:rPr lang="en-US"/>
              <a:t>4	Section Title</a:t>
            </a:r>
          </a:p>
        </p:txBody>
      </p:sp>
      <p:sp>
        <p:nvSpPr>
          <p:cNvPr id="5" name="Text Placeholder 12"/>
          <p:cNvSpPr>
            <a:spLocks noGrp="1"/>
          </p:cNvSpPr>
          <p:nvPr>
            <p:ph type="body" sz="quarter" idx="14" hasCustomPrompt="1"/>
          </p:nvPr>
        </p:nvSpPr>
        <p:spPr>
          <a:xfrm>
            <a:off x="0" y="1219200"/>
            <a:ext cx="2438400" cy="4851400"/>
          </a:xfrm>
          <a:prstGeom prst="rect">
            <a:avLst/>
          </a:prstGeom>
          <a:noFill/>
        </p:spPr>
        <p:txBody>
          <a:bodyPr vert="horz"/>
          <a:lstStyle>
            <a:lvl1pPr marL="0" indent="0">
              <a:spcBef>
                <a:spcPts val="800"/>
              </a:spcBef>
              <a:buFontTx/>
              <a:buNone/>
              <a:defRPr sz="1867" baseline="0">
                <a:solidFill>
                  <a:schemeClr val="tx1"/>
                </a:solidFill>
                <a:latin typeface="+mn-lt"/>
                <a:cs typeface="Segoe UI Semibold"/>
              </a:defRPr>
            </a:lvl1pPr>
          </a:lstStyle>
          <a:p>
            <a:pPr lvl="0"/>
            <a:r>
              <a:rPr lang="en-US"/>
              <a:t>Enter header here.</a:t>
            </a:r>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91440" bIns="45720" rtlCol="0" anchor="b"/>
          <a:lstStyle>
            <a:lvl1pPr algn="l">
              <a:defRPr sz="1067" kern="800">
                <a:solidFill>
                  <a:schemeClr val="tx1"/>
                </a:solidFill>
                <a:latin typeface="+mn-lt"/>
                <a:cs typeface="Segoe UI Light"/>
              </a:defRPr>
            </a:lvl1pPr>
          </a:lstStyle>
          <a:p>
            <a:fld id="{A1ECD65C-9544-4245-A12D-FFA80AC6675E}" type="datetime1">
              <a:rPr lang="en-US"/>
              <a:pPr/>
              <a:t>6/3/2018</a:t>
            </a:fld>
            <a:endParaRPr lang="en-US"/>
          </a:p>
        </p:txBody>
      </p:sp>
      <p:sp>
        <p:nvSpPr>
          <p:cNvPr id="7"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solidFill>
                <a:latin typeface="+mn-lt"/>
                <a:cs typeface="Segoe UI Light"/>
              </a:defRPr>
            </a:lvl1pPr>
          </a:lstStyle>
          <a:p>
            <a:fld id="{74A398B2-5A34-1A4A-811E-F4027282568C}" type="slidenum">
              <a:rPr lang="en-US"/>
              <a:pPr/>
              <a:t>‹#›</a:t>
            </a:fld>
            <a:endParaRPr lang="en-US"/>
          </a:p>
        </p:txBody>
      </p:sp>
    </p:spTree>
    <p:extLst>
      <p:ext uri="{BB962C8B-B14F-4D97-AF65-F5344CB8AC3E}">
        <p14:creationId xmlns:p14="http://schemas.microsoft.com/office/powerpoint/2010/main" val="274996309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able of Contents color">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8" y="1219200"/>
            <a:ext cx="7922992" cy="4876800"/>
          </a:xfrm>
          <a:prstGeom prst="rect">
            <a:avLst/>
          </a:prstGeom>
        </p:spPr>
        <p:txBody>
          <a:bodyPr vert="horz" lIns="91440" tIns="45720">
            <a:normAutofit/>
          </a:bodyPr>
          <a:lstStyle>
            <a:lvl1pPr marL="0" indent="0">
              <a:spcBef>
                <a:spcPts val="800"/>
              </a:spcBef>
              <a:buFontTx/>
              <a:buNone/>
              <a:tabLst>
                <a:tab pos="840296" algn="l"/>
              </a:tabLst>
              <a:defRPr sz="2667" baseline="0">
                <a:solidFill>
                  <a:schemeClr val="tx1"/>
                </a:solidFill>
                <a:latin typeface="+mn-lt"/>
                <a:cs typeface="Segoe UI Light"/>
              </a:defRPr>
            </a:lvl1pPr>
            <a:lvl2pPr marL="0" indent="0">
              <a:spcBef>
                <a:spcPts val="800"/>
              </a:spcBef>
              <a:buFontTx/>
              <a:buNone/>
              <a:defRPr sz="4000">
                <a:latin typeface="Segoe Pro Light"/>
                <a:cs typeface="Segoe Pro Light"/>
              </a:defRPr>
            </a:lvl2pPr>
            <a:lvl3pPr marL="0" indent="0">
              <a:spcBef>
                <a:spcPts val="800"/>
              </a:spcBef>
              <a:buFontTx/>
              <a:buNone/>
              <a:defRPr sz="4000">
                <a:latin typeface="Segoe Pro Light"/>
                <a:cs typeface="Segoe Pro Light"/>
              </a:defRPr>
            </a:lvl3pPr>
            <a:lvl4pPr marL="0" indent="0">
              <a:spcBef>
                <a:spcPts val="800"/>
              </a:spcBef>
              <a:buFontTx/>
              <a:buNone/>
              <a:defRPr sz="4000">
                <a:latin typeface="Segoe Pro Light"/>
                <a:cs typeface="Segoe Pro Light"/>
              </a:defRPr>
            </a:lvl4pPr>
            <a:lvl5pPr marL="0" indent="0">
              <a:spcBef>
                <a:spcPts val="800"/>
              </a:spcBef>
              <a:buFontTx/>
              <a:buNone/>
              <a:defRPr sz="4000">
                <a:latin typeface="Segoe Pro Light"/>
                <a:cs typeface="Segoe Pro Light"/>
              </a:defRPr>
            </a:lvl5pPr>
          </a:lstStyle>
          <a:p>
            <a:pPr lvl="0"/>
            <a:r>
              <a:rPr lang="en-US"/>
              <a:t>4	Section Title</a:t>
            </a:r>
          </a:p>
        </p:txBody>
      </p:sp>
      <p:sp>
        <p:nvSpPr>
          <p:cNvPr id="7" name="Text Placeholder 12"/>
          <p:cNvSpPr>
            <a:spLocks noGrp="1"/>
          </p:cNvSpPr>
          <p:nvPr>
            <p:ph type="body" sz="quarter" idx="14" hasCustomPrompt="1"/>
          </p:nvPr>
        </p:nvSpPr>
        <p:spPr>
          <a:xfrm>
            <a:off x="0" y="1219200"/>
            <a:ext cx="2438400" cy="4851400"/>
          </a:xfrm>
          <a:prstGeom prst="rect">
            <a:avLst/>
          </a:prstGeom>
          <a:noFill/>
        </p:spPr>
        <p:txBody>
          <a:bodyPr vert="horz"/>
          <a:lstStyle>
            <a:lvl1pPr marL="0" indent="0">
              <a:spcBef>
                <a:spcPts val="800"/>
              </a:spcBef>
              <a:buFontTx/>
              <a:buNone/>
              <a:defRPr sz="1867" baseline="0">
                <a:solidFill>
                  <a:schemeClr val="tx1"/>
                </a:solidFill>
                <a:latin typeface="+mn-lt"/>
                <a:cs typeface="Segoe UI Semibold"/>
              </a:defRPr>
            </a:lvl1pPr>
          </a:lstStyle>
          <a:p>
            <a:pPr lvl="0"/>
            <a:r>
              <a:rPr lang="en-US"/>
              <a:t>Enter header here.</a:t>
            </a:r>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91440" bIns="45720" rtlCol="0" anchor="b"/>
          <a:lstStyle>
            <a:lvl1pPr algn="l">
              <a:defRPr sz="1067" kern="800">
                <a:solidFill>
                  <a:schemeClr val="tx1">
                    <a:tint val="75000"/>
                  </a:schemeClr>
                </a:solidFill>
                <a:latin typeface="+mn-lt"/>
                <a:cs typeface="Segoe UI Light"/>
              </a:defRPr>
            </a:lvl1pPr>
          </a:lstStyle>
          <a:p>
            <a:fld id="{8B0D55CE-5BC1-4D8C-B427-C560EB3BEBB5}" type="datetime1">
              <a:rPr lang="en-US"/>
              <a:t>6/3/2018</a:t>
            </a:fld>
            <a:endParaRPr lang="en-US"/>
          </a:p>
        </p:txBody>
      </p:sp>
      <p:sp>
        <p:nvSpPr>
          <p:cNvPr id="5"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tint val="75000"/>
                  </a:schemeClr>
                </a:solidFill>
                <a:latin typeface="+mn-lt"/>
                <a:cs typeface="Segoe UI Light"/>
              </a:defRPr>
            </a:lvl1pPr>
          </a:lstStyle>
          <a:p>
            <a:fld id="{74A398B2-5A34-1A4A-811E-F4027282568C}" type="slidenum">
              <a:rPr lang="en-US"/>
              <a:pPr/>
              <a:t>‹#›</a:t>
            </a:fld>
            <a:endParaRPr lang="en-US"/>
          </a:p>
        </p:txBody>
      </p:sp>
    </p:spTree>
    <p:extLst>
      <p:ext uri="{BB962C8B-B14F-4D97-AF65-F5344CB8AC3E}">
        <p14:creationId xmlns:p14="http://schemas.microsoft.com/office/powerpoint/2010/main" val="100853561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Contact Page">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0" y="0"/>
            <a:ext cx="12192000" cy="6858000"/>
          </a:xfrm>
        </p:spPr>
        <p:txBody>
          <a:bodyPr/>
          <a:lstStyle>
            <a:lvl1pPr algn="r">
              <a:defRPr>
                <a:solidFill>
                  <a:schemeClr val="bg1"/>
                </a:solidFill>
              </a:defRPr>
            </a:lvl1pPr>
          </a:lstStyle>
          <a:p>
            <a:endParaRPr lang="en-US"/>
          </a:p>
        </p:txBody>
      </p:sp>
      <p:sp>
        <p:nvSpPr>
          <p:cNvPr id="10" name="Text Placeholder 9"/>
          <p:cNvSpPr>
            <a:spLocks noGrp="1"/>
          </p:cNvSpPr>
          <p:nvPr>
            <p:ph type="body" sz="quarter" idx="12" hasCustomPrompt="1"/>
          </p:nvPr>
        </p:nvSpPr>
        <p:spPr>
          <a:xfrm>
            <a:off x="0" y="1219200"/>
            <a:ext cx="4876800" cy="2438400"/>
          </a:xfrm>
          <a:solidFill>
            <a:schemeClr val="accent1">
              <a:alpha val="90000"/>
            </a:schemeClr>
          </a:solidFill>
        </p:spPr>
        <p:txBody>
          <a:bodyPr>
            <a:noAutofit/>
          </a:bodyPr>
          <a:lstStyle>
            <a:lvl1pPr>
              <a:lnSpc>
                <a:spcPct val="110000"/>
              </a:lnSpc>
              <a:defRPr sz="1867">
                <a:solidFill>
                  <a:schemeClr val="tx1"/>
                </a:solidFill>
                <a:latin typeface="+mn-lt"/>
                <a:cs typeface="Segoe UI Semibold"/>
              </a:defRPr>
            </a:lvl1pPr>
            <a:lvl2pPr>
              <a:lnSpc>
                <a:spcPct val="110000"/>
              </a:lnSpc>
              <a:defRPr sz="1867">
                <a:solidFill>
                  <a:schemeClr val="tx1"/>
                </a:solidFill>
                <a:latin typeface="+mn-lt"/>
                <a:cs typeface="Segoe UI Semibold"/>
              </a:defRPr>
            </a:lvl2pPr>
            <a:lvl3pPr>
              <a:lnSpc>
                <a:spcPct val="110000"/>
              </a:lnSpc>
              <a:defRPr sz="1867">
                <a:solidFill>
                  <a:schemeClr val="tx1"/>
                </a:solidFill>
                <a:latin typeface="+mn-lt"/>
                <a:cs typeface="Segoe UI Semibold"/>
              </a:defRPr>
            </a:lvl3pPr>
            <a:lvl4pPr>
              <a:lnSpc>
                <a:spcPct val="110000"/>
              </a:lnSpc>
              <a:defRPr sz="1867">
                <a:solidFill>
                  <a:schemeClr val="tx1"/>
                </a:solidFill>
                <a:latin typeface="+mn-lt"/>
                <a:cs typeface="Segoe UI Semibold"/>
              </a:defRPr>
            </a:lvl4pPr>
            <a:lvl5pPr>
              <a:lnSpc>
                <a:spcPct val="110000"/>
              </a:lnSpc>
              <a:defRPr sz="1867">
                <a:solidFill>
                  <a:schemeClr val="tx1"/>
                </a:solidFill>
                <a:latin typeface="+mn-lt"/>
                <a:cs typeface="Segoe UI Semibold"/>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8" name="Picture Placeholder 2"/>
          <p:cNvSpPr>
            <a:spLocks noGrp="1"/>
          </p:cNvSpPr>
          <p:nvPr>
            <p:ph type="pic" sz="quarter" idx="19"/>
          </p:nvPr>
        </p:nvSpPr>
        <p:spPr>
          <a:xfrm>
            <a:off x="101600" y="24384"/>
            <a:ext cx="1524000" cy="559816"/>
          </a:xfrm>
        </p:spPr>
        <p:txBody>
          <a:bodyPr/>
          <a:lstStyle>
            <a:lvl1pPr>
              <a:defRPr>
                <a:solidFill>
                  <a:srgbClr val="000000"/>
                </a:solidFill>
              </a:defRPr>
            </a:lvl1pPr>
          </a:lstStyle>
          <a:p>
            <a:endParaRPr lang="en-US"/>
          </a:p>
        </p:txBody>
      </p:sp>
      <p:sp>
        <p:nvSpPr>
          <p:cNvPr id="6" name="TextBox 5"/>
          <p:cNvSpPr txBox="1"/>
          <p:nvPr userDrawn="1"/>
        </p:nvSpPr>
        <p:spPr>
          <a:xfrm>
            <a:off x="132544" y="5874210"/>
            <a:ext cx="11754657" cy="810478"/>
          </a:xfrm>
          <a:prstGeom prst="rect">
            <a:avLst/>
          </a:prstGeom>
          <a:noFill/>
        </p:spPr>
        <p:txBody>
          <a:bodyPr wrap="square" rtlCol="0">
            <a:spAutoFit/>
          </a:bodyPr>
          <a:lstStyle/>
          <a:p>
            <a:pPr>
              <a:lnSpc>
                <a:spcPts val="1413"/>
              </a:lnSpc>
            </a:pPr>
            <a:r>
              <a:rPr lang="en-US" sz="1067" kern="1200">
                <a:solidFill>
                  <a:schemeClr val="tx1"/>
                </a:solidFill>
                <a:latin typeface="+mn-lt"/>
                <a:ea typeface="+mn-ea"/>
                <a:cs typeface="+mn-cs"/>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67">
              <a:solidFill>
                <a:schemeClr val="tx1"/>
              </a:solidFill>
            </a:endParaRPr>
          </a:p>
        </p:txBody>
      </p:sp>
    </p:spTree>
    <p:extLst>
      <p:ext uri="{BB962C8B-B14F-4D97-AF65-F5344CB8AC3E}">
        <p14:creationId xmlns:p14="http://schemas.microsoft.com/office/powerpoint/2010/main" val="149707171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8746037"/>
      </p:ext>
    </p:extLst>
  </p:cSld>
  <p:clrMapOvr>
    <a:masterClrMapping/>
  </p:clrMapOvr>
  <p:transition>
    <p:wipe dir="r"/>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22387" y="436419"/>
            <a:ext cx="11401220" cy="553999"/>
          </a:xfrm>
        </p:spPr>
        <p:txBody>
          <a:bodyPr/>
          <a:lstStyle>
            <a:lvl1pPr algn="l" defTabSz="914236" rtl="0" eaLnBrk="1" latinLnBrk="0" hangingPunct="1">
              <a:lnSpc>
                <a:spcPct val="90000"/>
              </a:lnSpc>
              <a:spcBef>
                <a:spcPct val="0"/>
              </a:spcBef>
              <a:buNone/>
              <a:defRPr lang="en-US" sz="4000" b="0" kern="1200" cap="none" spc="-100" baseline="0" dirty="0">
                <a:ln w="3175">
                  <a:noFill/>
                </a:ln>
                <a:solidFill>
                  <a:schemeClr val="tx2">
                    <a:alpha val="99000"/>
                  </a:schemeClr>
                </a:solidFill>
                <a:effectLst/>
                <a:latin typeface="Segoe UI Light" pitchFamily="34" charset="0"/>
                <a:ea typeface="+mn-ea"/>
                <a:cs typeface="Arial" charset="0"/>
              </a:defRPr>
            </a:lvl1pPr>
          </a:lstStyle>
          <a:p>
            <a:r>
              <a:rPr lang="en-US"/>
              <a:t>Click to edit Master title style</a:t>
            </a:r>
          </a:p>
        </p:txBody>
      </p:sp>
      <p:sp>
        <p:nvSpPr>
          <p:cNvPr id="3" name="Slide Number Placeholder 2"/>
          <p:cNvSpPr>
            <a:spLocks noGrp="1"/>
          </p:cNvSpPr>
          <p:nvPr>
            <p:ph type="sldNum" sz="quarter" idx="10"/>
          </p:nvPr>
        </p:nvSpPr>
        <p:spPr>
          <a:xfrm>
            <a:off x="11769201" y="6458928"/>
            <a:ext cx="398711" cy="365125"/>
          </a:xfrm>
          <a:prstGeom prst="rect">
            <a:avLst/>
          </a:prstGeom>
        </p:spPr>
        <p:txBody>
          <a:bodyPr lIns="76179" tIns="38089" rIns="76179" bIns="38089"/>
          <a:lstStyle/>
          <a:p>
            <a:pPr defTabSz="913672"/>
            <a:fld id="{B60359E2-F1E6-40F3-81C3-5A646FA87138}" type="slidenum">
              <a:rPr lang="en-US" smtClean="0">
                <a:solidFill>
                  <a:srgbClr val="FFFFFF"/>
                </a:solidFill>
              </a:rPr>
              <a:pPr defTabSz="913672"/>
              <a:t>‹#›</a:t>
            </a:fld>
            <a:endParaRPr lang="en-US">
              <a:solidFill>
                <a:srgbClr val="FFFFFF"/>
              </a:solidFill>
            </a:endParaRPr>
          </a:p>
        </p:txBody>
      </p:sp>
      <p:sp>
        <p:nvSpPr>
          <p:cNvPr id="5" name="Footer Placeholder 3"/>
          <p:cNvSpPr>
            <a:spLocks noGrp="1"/>
          </p:cNvSpPr>
          <p:nvPr>
            <p:ph type="ftr" sz="quarter" idx="3"/>
          </p:nvPr>
        </p:nvSpPr>
        <p:spPr>
          <a:xfrm>
            <a:off x="4165870" y="6569278"/>
            <a:ext cx="3860271" cy="253292"/>
          </a:xfrm>
          <a:prstGeom prst="rect">
            <a:avLst/>
          </a:prstGeom>
        </p:spPr>
        <p:txBody>
          <a:bodyPr vert="horz" lIns="76179" tIns="38089" rIns="76179" bIns="38089" rtlCol="0" anchor="ctr"/>
          <a:lstStyle>
            <a:lvl1pPr algn="ctr">
              <a:defRPr sz="1100">
                <a:solidFill>
                  <a:schemeClr val="tx1">
                    <a:tint val="75000"/>
                  </a:schemeClr>
                </a:solidFill>
              </a:defRPr>
            </a:lvl1pPr>
          </a:lstStyle>
          <a:p>
            <a:pPr defTabSz="913672"/>
            <a:r>
              <a:rPr lang="en-US">
                <a:solidFill>
                  <a:srgbClr val="FFFFFF">
                    <a:tint val="75000"/>
                  </a:srgbClr>
                </a:solidFill>
              </a:rPr>
              <a:t>Microsoft Confidential - Signed NDA Required</a:t>
            </a:r>
          </a:p>
        </p:txBody>
      </p:sp>
    </p:spTree>
    <p:extLst>
      <p:ext uri="{BB962C8B-B14F-4D97-AF65-F5344CB8AC3E}">
        <p14:creationId xmlns:p14="http://schemas.microsoft.com/office/powerpoint/2010/main" val="2350916323"/>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775312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03.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1974400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17524946"/>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19248" y="1447801"/>
            <a:ext cx="11151917" cy="19735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903941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7125890"/>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3035960"/>
          </a:xfrm>
          <a:prstGeom prst="rect">
            <a:avLst/>
          </a:prstGeom>
        </p:spPr>
        <p:txBody>
          <a:bodyPr wrap="square">
            <a:spAutoFit/>
          </a:bodyPr>
          <a:lstStyle>
            <a:lvl1pPr marL="281700" indent="-281700">
              <a:spcBef>
                <a:spcPts val="1200"/>
              </a:spcBef>
              <a:buClr>
                <a:schemeClr val="tx1"/>
              </a:buClr>
              <a:buFont typeface="Arial" pitchFamily="34" charset="0"/>
              <a:buChar char="•"/>
              <a:defRPr sz="3529"/>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3035960"/>
          </a:xfrm>
          <a:prstGeom prst="rect">
            <a:avLst/>
          </a:prstGeom>
        </p:spPr>
        <p:txBody>
          <a:bodyPr wrap="square">
            <a:spAutoFit/>
          </a:bodyPr>
          <a:lstStyle>
            <a:lvl1pPr marL="281700" indent="-281700">
              <a:spcBef>
                <a:spcPts val="1200"/>
              </a:spcBef>
              <a:buClr>
                <a:schemeClr val="tx1"/>
              </a:buClr>
              <a:buFont typeface="Arial" pitchFamily="34" charset="0"/>
              <a:buChar char="•"/>
              <a:defRPr sz="3529"/>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256597"/>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2711056"/>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1" y="7225045"/>
            <a:ext cx="430129" cy="228169"/>
          </a:xfrm>
          <a:prstGeom prst="rect">
            <a:avLst/>
          </a:prstGeom>
        </p:spPr>
        <p:txBody>
          <a:bodyPr lIns="89635" tIns="44816" rIns="89635" bIns="44816"/>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a:solidFill>
                  <a:srgbClr val="FFFFFF"/>
                </a:solidFill>
              </a:rPr>
              <a:t>3</a:t>
            </a:r>
          </a:p>
        </p:txBody>
      </p:sp>
      <p:sp>
        <p:nvSpPr>
          <p:cNvPr id="16" name="Title 1"/>
          <p:cNvSpPr>
            <a:spLocks noGrp="1"/>
          </p:cNvSpPr>
          <p:nvPr>
            <p:ph type="title" hasCustomPrompt="1"/>
          </p:nvPr>
        </p:nvSpPr>
        <p:spPr>
          <a:xfrm>
            <a:off x="266921" y="289511"/>
            <a:ext cx="11655840" cy="809388"/>
          </a:xfrm>
        </p:spPr>
        <p:txBody>
          <a:bodyPr/>
          <a:lstStyle>
            <a:lvl1pPr>
              <a:defRPr>
                <a:solidFill>
                  <a:schemeClr val="bg1">
                    <a:alpha val="99000"/>
                  </a:schemeClr>
                </a:solidFill>
              </a:defRPr>
            </a:lvl1pPr>
          </a:lstStyle>
          <a:p>
            <a:r>
              <a:rPr lang="en-US"/>
              <a:t>Slide title</a:t>
            </a:r>
          </a:p>
        </p:txBody>
      </p:sp>
      <p:sp>
        <p:nvSpPr>
          <p:cNvPr id="17" name="Text Placeholder 4"/>
          <p:cNvSpPr>
            <a:spLocks noGrp="1"/>
          </p:cNvSpPr>
          <p:nvPr>
            <p:ph type="body" sz="quarter" idx="15" hasCustomPrompt="1"/>
          </p:nvPr>
        </p:nvSpPr>
        <p:spPr>
          <a:xfrm>
            <a:off x="266927" y="1008623"/>
            <a:ext cx="11655835" cy="718467"/>
          </a:xfrm>
          <a:noFill/>
        </p:spPr>
        <p:txBody>
          <a:bodyPr lIns="146290" tIns="109717" rIns="146290" bIns="109717">
            <a:noAutofit/>
          </a:bodyPr>
          <a:lstStyle>
            <a:lvl1pPr marL="0" indent="0">
              <a:spcBef>
                <a:spcPts val="0"/>
              </a:spcBef>
              <a:buNone/>
              <a:defRPr sz="2745" spc="0" baseline="0">
                <a:solidFill>
                  <a:srgbClr val="0054A6">
                    <a:alpha val="99000"/>
                  </a:srgbClr>
                </a:solidFill>
                <a:latin typeface="+mj-lt"/>
              </a:defRPr>
            </a:lvl1pPr>
          </a:lstStyle>
          <a:p>
            <a:pPr lvl="0"/>
            <a:r>
              <a:rPr lang="en-US"/>
              <a:t>Secondary title</a:t>
            </a:r>
          </a:p>
        </p:txBody>
      </p:sp>
    </p:spTree>
    <p:extLst>
      <p:ext uri="{BB962C8B-B14F-4D97-AF65-F5344CB8AC3E}">
        <p14:creationId xmlns:p14="http://schemas.microsoft.com/office/powerpoint/2010/main" val="1968583122"/>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Five-tiles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a:lstStyle>
            <a:lvl1pPr>
              <a:defRPr>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bg1">
                    <a:lumMod val="75000"/>
                    <a:lumOff val="25000"/>
                  </a:schemeClr>
                </a:solidFill>
                <a:latin typeface="+mn-lt"/>
              </a:defRPr>
            </a:lvl1pPr>
          </a:lstStyle>
          <a:p>
            <a:fld id="{44641CE5-313F-464D-B311-4AE8EFC7A795}" type="datetime1">
              <a:rPr lang="en-US"/>
              <a:t>6/3/2018</a:t>
            </a:fld>
            <a:endParaRPr lang="en-US"/>
          </a:p>
        </p:txBody>
      </p:sp>
      <p:sp>
        <p:nvSpPr>
          <p:cNvPr id="4" name="Slide Number Placeholder 3"/>
          <p:cNvSpPr>
            <a:spLocks noGrp="1"/>
          </p:cNvSpPr>
          <p:nvPr>
            <p:ph type="sldNum" sz="quarter" idx="11"/>
          </p:nvPr>
        </p:nvSpPr>
        <p:spPr/>
        <p:txBody>
          <a:bodyPr/>
          <a:lstStyle>
            <a:lvl1pPr>
              <a:defRPr>
                <a:solidFill>
                  <a:schemeClr val="bg1">
                    <a:lumMod val="75000"/>
                    <a:lumOff val="25000"/>
                  </a:schemeClr>
                </a:solidFill>
                <a:latin typeface="+mn-lt"/>
              </a:defRPr>
            </a:lvl1pPr>
          </a:lstStyle>
          <a:p>
            <a:fld id="{74A398B2-5A34-1A4A-811E-F4027282568C}" type="slidenum">
              <a:rPr lang="en-US"/>
              <a:pPr/>
              <a:t>‹#›</a:t>
            </a:fld>
            <a:endParaRPr lang="en-US"/>
          </a:p>
        </p:txBody>
      </p:sp>
      <p:sp>
        <p:nvSpPr>
          <p:cNvPr id="10" name="Text Placeholder 14"/>
          <p:cNvSpPr>
            <a:spLocks noGrp="1"/>
          </p:cNvSpPr>
          <p:nvPr>
            <p:ph type="body" sz="quarter" idx="12" hasCustomPrompt="1"/>
          </p:nvPr>
        </p:nvSpPr>
        <p:spPr>
          <a:xfrm>
            <a:off x="0" y="3657600"/>
            <a:ext cx="2438400" cy="2438400"/>
          </a:xfrm>
          <a:solidFill>
            <a:schemeClr val="bg2"/>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1" name="Text Placeholder 14"/>
          <p:cNvSpPr>
            <a:spLocks noGrp="1"/>
          </p:cNvSpPr>
          <p:nvPr>
            <p:ph type="body" sz="quarter" idx="13" hasCustomPrompt="1"/>
          </p:nvPr>
        </p:nvSpPr>
        <p:spPr>
          <a:xfrm>
            <a:off x="2438400" y="3657600"/>
            <a:ext cx="2438400" cy="2438400"/>
          </a:xfrm>
          <a:solidFill>
            <a:schemeClr val="accent3"/>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14"/>
          <p:cNvSpPr>
            <a:spLocks noGrp="1"/>
          </p:cNvSpPr>
          <p:nvPr>
            <p:ph type="body" sz="quarter" idx="14" hasCustomPrompt="1"/>
          </p:nvPr>
        </p:nvSpPr>
        <p:spPr>
          <a:xfrm>
            <a:off x="4876800" y="3657600"/>
            <a:ext cx="2438400" cy="2438400"/>
          </a:xfrm>
          <a:solidFill>
            <a:schemeClr val="accent4"/>
          </a:solidFill>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3" name="Text Placeholder 14"/>
          <p:cNvSpPr>
            <a:spLocks noGrp="1"/>
          </p:cNvSpPr>
          <p:nvPr>
            <p:ph type="body" sz="quarter" idx="15" hasCustomPrompt="1"/>
          </p:nvPr>
        </p:nvSpPr>
        <p:spPr>
          <a:xfrm>
            <a:off x="7315200" y="3657600"/>
            <a:ext cx="2438400" cy="2438400"/>
          </a:xfrm>
          <a:solidFill>
            <a:schemeClr val="accent5"/>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4" name="Text Placeholder 14"/>
          <p:cNvSpPr>
            <a:spLocks noGrp="1"/>
          </p:cNvSpPr>
          <p:nvPr>
            <p:ph type="body" sz="quarter" idx="16" hasCustomPrompt="1"/>
          </p:nvPr>
        </p:nvSpPr>
        <p:spPr>
          <a:xfrm>
            <a:off x="9753600" y="3657600"/>
            <a:ext cx="2438400" cy="2438400"/>
          </a:xfrm>
          <a:solidFill>
            <a:schemeClr val="accent6"/>
          </a:solidFill>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6934776"/>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1" tIns="45711" rIns="45711" bIns="45711" numCol="1" spcCol="0" rtlCol="0" fromWordArt="0" anchor="ctr" anchorCtr="0" forceAA="0" compatLnSpc="1">
            <a:prstTxWarp prst="textNoShape">
              <a:avLst/>
            </a:prstTxWarp>
            <a:noAutofit/>
          </a:bodyPr>
          <a:lstStyle/>
          <a:p>
            <a:pPr algn="ctr" defTabSz="913893" fontAlgn="base">
              <a:spcBef>
                <a:spcPct val="0"/>
              </a:spcBef>
              <a:spcAft>
                <a:spcPct val="0"/>
              </a:spcAft>
            </a:pPr>
            <a:endParaRPr lang="en-US" sz="1863">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2416"/>
            <a:ext cx="11653521" cy="1760867"/>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3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6" tIns="45716" rIns="45716" bIns="45716" numCol="1" spcCol="0" rtlCol="0" fromWordArt="0" anchor="ctr" anchorCtr="0" forceAA="0" compatLnSpc="1">
            <a:prstTxWarp prst="textNoShape">
              <a:avLst/>
            </a:prstTxWarp>
            <a:noAutofit/>
          </a:bodyPr>
          <a:lstStyle/>
          <a:p>
            <a:pPr algn="ctr" defTabSz="913986"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5287685"/>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7"/>
            <a:ext cx="11151917" cy="609400"/>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50" y="1447801"/>
            <a:ext cx="11151917" cy="20520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7563595"/>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1"/>
            <a:ext cx="11151917" cy="19735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100606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03.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14020542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26"/>
            <a:ext cx="5487829" cy="443199"/>
          </a:xfrm>
        </p:spPr>
        <p:txBody>
          <a:bodyPr anchor="b"/>
          <a:lstStyle>
            <a:lvl1pPr marL="0" indent="0">
              <a:lnSpc>
                <a:spcPct val="90000"/>
              </a:lnSpc>
              <a:spcBef>
                <a:spcPts val="0"/>
              </a:spcBef>
              <a:buNone/>
              <a:defRPr sz="3200" b="0">
                <a:latin typeface="Segoe UI Light" pitchFamily="34" charset="0"/>
              </a:defRPr>
            </a:lvl1pPr>
            <a:lvl2pPr marL="456794" indent="0">
              <a:buNone/>
              <a:defRPr sz="2000" b="1"/>
            </a:lvl2pPr>
            <a:lvl3pPr marL="913618" indent="0">
              <a:buNone/>
              <a:defRPr sz="1900" b="1"/>
            </a:lvl3pPr>
            <a:lvl4pPr marL="1370422" indent="0">
              <a:buNone/>
              <a:defRPr sz="1600" b="1"/>
            </a:lvl4pPr>
            <a:lvl5pPr marL="1827237" indent="0">
              <a:buNone/>
              <a:defRPr sz="1600" b="1"/>
            </a:lvl5pPr>
            <a:lvl6pPr marL="2284031" indent="0">
              <a:buNone/>
              <a:defRPr sz="1600" b="1"/>
            </a:lvl6pPr>
            <a:lvl7pPr marL="2740850" indent="0">
              <a:buNone/>
              <a:defRPr sz="1600" b="1"/>
            </a:lvl7pPr>
            <a:lvl8pPr marL="3197659" indent="0">
              <a:buNone/>
              <a:defRPr sz="1600" b="1"/>
            </a:lvl8pPr>
            <a:lvl9pPr marL="3654471"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2909" indent="-402909">
              <a:buSzPct val="80000"/>
              <a:buFont typeface="Arial" pitchFamily="34" charset="0"/>
              <a:buChar char="•"/>
              <a:defRPr sz="2800"/>
            </a:lvl1pPr>
            <a:lvl2pPr marL="743913" indent="-322001">
              <a:buSzPct val="80000"/>
              <a:buFont typeface="Arial" pitchFamily="34" charset="0"/>
              <a:buChar char="•"/>
              <a:defRPr sz="2800"/>
            </a:lvl2pPr>
            <a:lvl3pPr marL="1026277" indent="-282341" defTabSz="1029437">
              <a:buSzPct val="80000"/>
              <a:buFont typeface="Arial" pitchFamily="34" charset="0"/>
              <a:buChar char="•"/>
              <a:defRPr sz="2400"/>
            </a:lvl3pPr>
            <a:lvl4pPr marL="1316542" indent="-287103">
              <a:buSzPct val="80000"/>
              <a:buFont typeface="Arial" pitchFamily="34" charset="0"/>
              <a:buChar char="•"/>
              <a:defRPr sz="2000"/>
            </a:lvl4pPr>
            <a:lvl5pPr marL="1540208" indent="-223656">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26"/>
            <a:ext cx="5487829" cy="443199"/>
          </a:xfrm>
        </p:spPr>
        <p:txBody>
          <a:bodyPr anchor="b"/>
          <a:lstStyle>
            <a:lvl1pPr marL="0" indent="0">
              <a:lnSpc>
                <a:spcPct val="90000"/>
              </a:lnSpc>
              <a:spcBef>
                <a:spcPts val="0"/>
              </a:spcBef>
              <a:buNone/>
              <a:defRPr sz="3200" b="0">
                <a:latin typeface="Segoe UI Light" pitchFamily="34" charset="0"/>
              </a:defRPr>
            </a:lvl1pPr>
            <a:lvl2pPr marL="456794" indent="0">
              <a:buNone/>
              <a:defRPr sz="2000" b="1"/>
            </a:lvl2pPr>
            <a:lvl3pPr marL="913618" indent="0">
              <a:buNone/>
              <a:defRPr sz="1900" b="1"/>
            </a:lvl3pPr>
            <a:lvl4pPr marL="1370422" indent="0">
              <a:buNone/>
              <a:defRPr sz="1600" b="1"/>
            </a:lvl4pPr>
            <a:lvl5pPr marL="1827237" indent="0">
              <a:buNone/>
              <a:defRPr sz="1600" b="1"/>
            </a:lvl5pPr>
            <a:lvl6pPr marL="2284031" indent="0">
              <a:buNone/>
              <a:defRPr sz="1600" b="1"/>
            </a:lvl6pPr>
            <a:lvl7pPr marL="2740850" indent="0">
              <a:buNone/>
              <a:defRPr sz="1600" b="1"/>
            </a:lvl7pPr>
            <a:lvl8pPr marL="3197659" indent="0">
              <a:buNone/>
              <a:defRPr sz="1600" b="1"/>
            </a:lvl8pPr>
            <a:lvl9pPr marL="365447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085" indent="-296085">
              <a:buSzPct val="80000"/>
              <a:buFont typeface="Arial" pitchFamily="34" charset="0"/>
              <a:buChar char="•"/>
              <a:defRPr lang="en-US" sz="2800" kern="1200" dirty="0">
                <a:gradFill>
                  <a:gsLst>
                    <a:gs pos="0">
                      <a:srgbClr val="595959"/>
                    </a:gs>
                    <a:gs pos="86000">
                      <a:srgbClr val="595959"/>
                    </a:gs>
                  </a:gsLst>
                  <a:lin ang="5400000" scaled="0"/>
                </a:gradFill>
                <a:latin typeface="+mn-lt"/>
                <a:ea typeface="+mn-ea"/>
                <a:cs typeface="+mn-cs"/>
              </a:defRPr>
            </a:lvl1pPr>
            <a:lvl2pPr marL="456810" indent="-456810">
              <a:buSzPct val="80000"/>
              <a:buFont typeface="Arial" pitchFamily="34" charset="0"/>
              <a:buChar char="•"/>
              <a:defRPr lang="en-US" sz="2800" kern="1200" dirty="0">
                <a:gradFill>
                  <a:gsLst>
                    <a:gs pos="0">
                      <a:srgbClr val="595959"/>
                    </a:gs>
                    <a:gs pos="86000">
                      <a:srgbClr val="595959"/>
                    </a:gs>
                  </a:gsLst>
                  <a:lin ang="5400000" scaled="0"/>
                </a:gradFill>
                <a:latin typeface="+mn-lt"/>
                <a:ea typeface="+mn-ea"/>
                <a:cs typeface="+mn-cs"/>
              </a:defRPr>
            </a:lvl2pPr>
            <a:lvl3pPr marL="764549" indent="-342625">
              <a:buSzPct val="80000"/>
              <a:buFont typeface="Arial" pitchFamily="34" charset="0"/>
              <a:buChar char="•"/>
              <a:defRPr lang="en-US" sz="2400" kern="1200" dirty="0">
                <a:gradFill>
                  <a:gsLst>
                    <a:gs pos="0">
                      <a:srgbClr val="595959"/>
                    </a:gs>
                    <a:gs pos="86000">
                      <a:srgbClr val="595959"/>
                    </a:gs>
                  </a:gsLst>
                  <a:lin ang="5400000" scaled="0"/>
                </a:gradFill>
                <a:latin typeface="+mn-lt"/>
                <a:ea typeface="+mn-ea"/>
                <a:cs typeface="+mn-cs"/>
              </a:defRPr>
            </a:lvl3pPr>
            <a:lvl4pPr marL="1372064" indent="-34262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4pPr>
            <a:lvl5pPr marL="1086549" indent="-34262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064" indent="-342625">
              <a:defRPr sz="1600"/>
            </a:lvl6pPr>
            <a:lvl7pPr marL="1602069" indent="-285516">
              <a:defRPr sz="1600"/>
            </a:lvl7pPr>
            <a:lvl8pPr>
              <a:defRPr sz="1600"/>
            </a:lvl8pPr>
            <a:lvl9pPr>
              <a:defRPr sz="1600"/>
            </a:lvl9pPr>
          </a:lstStyle>
          <a:p>
            <a:pPr marL="402909" lvl="0" indent="-402909" algn="l" defTabSz="913618" rtl="0" eaLnBrk="1" latinLnBrk="0" hangingPunct="1">
              <a:lnSpc>
                <a:spcPct val="90000"/>
              </a:lnSpc>
              <a:spcBef>
                <a:spcPct val="20000"/>
              </a:spcBef>
              <a:buSzPct val="80000"/>
            </a:pPr>
            <a:r>
              <a:rPr lang="en-US"/>
              <a:t>Click to edit Master text styles</a:t>
            </a:r>
          </a:p>
          <a:p>
            <a:pPr marL="402909" lvl="1" indent="-402909" algn="l" defTabSz="913618" rtl="0" eaLnBrk="1" latinLnBrk="0" hangingPunct="1">
              <a:lnSpc>
                <a:spcPct val="90000"/>
              </a:lnSpc>
              <a:spcBef>
                <a:spcPct val="20000"/>
              </a:spcBef>
              <a:buSzPct val="80000"/>
            </a:pPr>
            <a:r>
              <a:rPr lang="en-US"/>
              <a:t>Second level</a:t>
            </a:r>
          </a:p>
          <a:p>
            <a:pPr marL="402909" lvl="2" indent="-402909" algn="l" defTabSz="913618" rtl="0" eaLnBrk="1" latinLnBrk="0" hangingPunct="1">
              <a:lnSpc>
                <a:spcPct val="90000"/>
              </a:lnSpc>
              <a:spcBef>
                <a:spcPct val="20000"/>
              </a:spcBef>
              <a:buSzPct val="80000"/>
            </a:pPr>
            <a:r>
              <a:rPr lang="en-US"/>
              <a:t>Third level</a:t>
            </a:r>
          </a:p>
          <a:p>
            <a:pPr marL="402909" lvl="3" indent="-402909" algn="l" defTabSz="913618" rtl="0" eaLnBrk="1" latinLnBrk="0" hangingPunct="1">
              <a:lnSpc>
                <a:spcPct val="90000"/>
              </a:lnSpc>
              <a:spcBef>
                <a:spcPct val="20000"/>
              </a:spcBef>
              <a:buSzPct val="80000"/>
            </a:pPr>
            <a:r>
              <a:rPr lang="en-US"/>
              <a:t>Fourth level</a:t>
            </a:r>
          </a:p>
          <a:p>
            <a:pPr marL="402909" lvl="4" indent="-402909" algn="l" defTabSz="913618" rtl="0" eaLnBrk="1" latinLnBrk="0" hangingPunct="1">
              <a:lnSpc>
                <a:spcPct val="90000"/>
              </a:lnSpc>
              <a:spcBef>
                <a:spcPct val="20000"/>
              </a:spcBef>
              <a:buSzPct val="80000"/>
            </a:pPr>
            <a:r>
              <a:rPr lang="en-US"/>
              <a:t>Fifth level</a:t>
            </a:r>
          </a:p>
        </p:txBody>
      </p:sp>
    </p:spTree>
    <p:extLst>
      <p:ext uri="{BB962C8B-B14F-4D97-AF65-F5344CB8AC3E}">
        <p14:creationId xmlns:p14="http://schemas.microsoft.com/office/powerpoint/2010/main" val="3946649506"/>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0"/>
            <a:ext cx="5487829" cy="2443747"/>
          </a:xfrm>
        </p:spPr>
        <p:txBody>
          <a:bodyPr/>
          <a:lstStyle>
            <a:lvl1pPr marL="341038" indent="-341038">
              <a:lnSpc>
                <a:spcPct val="90000"/>
              </a:lnSpc>
              <a:buSzPct val="80000"/>
              <a:buFont typeface="Arial" pitchFamily="34" charset="0"/>
              <a:buChar char="•"/>
              <a:defRPr sz="3200"/>
            </a:lvl1pPr>
            <a:lvl2pPr marL="626552" indent="-285516">
              <a:lnSpc>
                <a:spcPct val="90000"/>
              </a:lnSpc>
              <a:buSzPct val="80000"/>
              <a:buFont typeface="Arial" pitchFamily="34" charset="0"/>
              <a:buChar char="•"/>
              <a:defRPr sz="2800"/>
            </a:lvl2pPr>
            <a:lvl3pPr marL="913654" indent="-287103">
              <a:lnSpc>
                <a:spcPct val="90000"/>
              </a:lnSpc>
              <a:buSzPct val="80000"/>
              <a:buFont typeface="Arial" pitchFamily="34" charset="0"/>
              <a:buChar char="•"/>
              <a:defRPr sz="2400"/>
            </a:lvl3pPr>
            <a:lvl4pPr marL="1711505" indent="-225241">
              <a:lnSpc>
                <a:spcPct val="90000"/>
              </a:lnSpc>
              <a:buSzPct val="80000"/>
              <a:buFont typeface="Arial" pitchFamily="34" charset="0"/>
              <a:buChar char="•"/>
              <a:defRPr sz="2000"/>
            </a:lvl4pPr>
            <a:lvl5pPr marL="1943098" indent="-231580">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0"/>
            <a:ext cx="5487829" cy="2443747"/>
          </a:xfrm>
        </p:spPr>
        <p:txBody>
          <a:bodyPr/>
          <a:lstStyle>
            <a:lvl1pPr marL="456810" indent="-456810">
              <a:lnSpc>
                <a:spcPct val="90000"/>
              </a:lnSpc>
              <a:buSzPct val="80000"/>
              <a:buFont typeface="Arial" pitchFamily="34" charset="0"/>
              <a:buChar char="•"/>
              <a:defRPr lang="en-US" sz="3200" kern="1200" dirty="0">
                <a:gradFill>
                  <a:gsLst>
                    <a:gs pos="0">
                      <a:srgbClr val="595959"/>
                    </a:gs>
                    <a:gs pos="86000">
                      <a:srgbClr val="595959"/>
                    </a:gs>
                  </a:gsLst>
                  <a:lin ang="5400000" scaled="0"/>
                </a:gradFill>
                <a:latin typeface="+mn-lt"/>
                <a:ea typeface="+mn-ea"/>
                <a:cs typeface="+mn-cs"/>
              </a:defRPr>
            </a:lvl1pPr>
            <a:lvl2pPr marL="797860" indent="-456810">
              <a:lnSpc>
                <a:spcPct val="90000"/>
              </a:lnSpc>
              <a:buSzPct val="80000"/>
              <a:buFont typeface="Arial" pitchFamily="34" charset="0"/>
              <a:buChar char="•"/>
              <a:defRPr lang="en-US" sz="2800" kern="1200" dirty="0">
                <a:gradFill>
                  <a:gsLst>
                    <a:gs pos="0">
                      <a:srgbClr val="595959"/>
                    </a:gs>
                    <a:gs pos="86000">
                      <a:srgbClr val="595959"/>
                    </a:gs>
                  </a:gsLst>
                  <a:lin ang="5400000" scaled="0"/>
                </a:gradFill>
                <a:latin typeface="+mn-lt"/>
                <a:ea typeface="+mn-ea"/>
                <a:cs typeface="+mn-cs"/>
              </a:defRPr>
            </a:lvl2pPr>
            <a:lvl3pPr marL="969177" indent="-342625">
              <a:lnSpc>
                <a:spcPct val="90000"/>
              </a:lnSpc>
              <a:buSzPct val="80000"/>
              <a:buFont typeface="Arial" pitchFamily="34" charset="0"/>
              <a:buChar char="•"/>
              <a:defRPr lang="en-US" sz="2400" kern="1200" dirty="0">
                <a:gradFill>
                  <a:gsLst>
                    <a:gs pos="0">
                      <a:srgbClr val="595959"/>
                    </a:gs>
                    <a:gs pos="86000">
                      <a:srgbClr val="595959"/>
                    </a:gs>
                  </a:gsLst>
                  <a:lin ang="5400000" scaled="0"/>
                </a:gradFill>
                <a:latin typeface="+mn-lt"/>
                <a:ea typeface="+mn-ea"/>
                <a:cs typeface="+mn-cs"/>
              </a:defRPr>
            </a:lvl3pPr>
            <a:lvl4pPr marL="1828898" indent="-34262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4pPr>
            <a:lvl5pPr marL="2054135" indent="-34262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038" lvl="0" indent="-341038" algn="l" defTabSz="913618" rtl="0" eaLnBrk="1" latinLnBrk="0" hangingPunct="1">
              <a:lnSpc>
                <a:spcPct val="90000"/>
              </a:lnSpc>
              <a:spcBef>
                <a:spcPct val="20000"/>
              </a:spcBef>
              <a:buSzPct val="80000"/>
              <a:buFont typeface="Arial" pitchFamily="34" charset="0"/>
              <a:buChar char="•"/>
            </a:pPr>
            <a:r>
              <a:rPr lang="en-US"/>
              <a:t>Click to edit Master text styles</a:t>
            </a:r>
          </a:p>
          <a:p>
            <a:pPr marL="341038" lvl="1" indent="-341038" algn="l" defTabSz="913618" rtl="0" eaLnBrk="1" latinLnBrk="0" hangingPunct="1">
              <a:lnSpc>
                <a:spcPct val="90000"/>
              </a:lnSpc>
              <a:spcBef>
                <a:spcPct val="20000"/>
              </a:spcBef>
              <a:buSzPct val="80000"/>
              <a:buFont typeface="Arial" pitchFamily="34" charset="0"/>
              <a:buChar char="•"/>
            </a:pPr>
            <a:r>
              <a:rPr lang="en-US"/>
              <a:t>Second level</a:t>
            </a:r>
          </a:p>
          <a:p>
            <a:pPr marL="341038" lvl="2" indent="-341038" algn="l" defTabSz="913618" rtl="0" eaLnBrk="1" latinLnBrk="0" hangingPunct="1">
              <a:lnSpc>
                <a:spcPct val="90000"/>
              </a:lnSpc>
              <a:spcBef>
                <a:spcPct val="20000"/>
              </a:spcBef>
              <a:buSzPct val="80000"/>
              <a:buFont typeface="Arial" pitchFamily="34" charset="0"/>
              <a:buChar char="•"/>
            </a:pPr>
            <a:r>
              <a:rPr lang="en-US"/>
              <a:t>Third level</a:t>
            </a:r>
          </a:p>
          <a:p>
            <a:pPr marL="341038" lvl="3" indent="-341038" algn="l" defTabSz="913618" rtl="0" eaLnBrk="1" latinLnBrk="0" hangingPunct="1">
              <a:lnSpc>
                <a:spcPct val="90000"/>
              </a:lnSpc>
              <a:spcBef>
                <a:spcPct val="20000"/>
              </a:spcBef>
              <a:buSzPct val="80000"/>
              <a:buFont typeface="Arial" pitchFamily="34" charset="0"/>
              <a:buChar char="•"/>
            </a:pPr>
            <a:r>
              <a:rPr lang="en-US"/>
              <a:t>Fourth level</a:t>
            </a:r>
          </a:p>
          <a:p>
            <a:pPr marL="341038" lvl="4" indent="-341038" algn="l" defTabSz="913618" rtl="0" eaLnBrk="1" latinLnBrk="0" hangingPunct="1">
              <a:lnSpc>
                <a:spcPct val="90000"/>
              </a:lnSpc>
              <a:spcBef>
                <a:spcPct val="20000"/>
              </a:spcBef>
              <a:buSzPct val="80000"/>
              <a:buFont typeface="Arial" pitchFamily="34" charset="0"/>
              <a:buChar char="•"/>
            </a:pPr>
            <a:r>
              <a:rPr lang="en-US"/>
              <a:t>Fifth level</a:t>
            </a:r>
          </a:p>
        </p:txBody>
      </p:sp>
    </p:spTree>
    <p:extLst>
      <p:ext uri="{BB962C8B-B14F-4D97-AF65-F5344CB8AC3E}">
        <p14:creationId xmlns:p14="http://schemas.microsoft.com/office/powerpoint/2010/main" val="74774433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354"/>
            <a:ext cx="8964247" cy="1075884"/>
          </a:xfrm>
        </p:spPr>
        <p:txBody>
          <a:bodyPr lIns="146304" tIns="91440" rIns="146304" bIns="91440"/>
          <a:lstStyle>
            <a:lvl1pPr>
              <a:lnSpc>
                <a:spcPts val="6176"/>
              </a:lnSpc>
              <a:defRPr sz="5685"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7284951" y="6717485"/>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486691" y="6717485"/>
            <a:ext cx="555597" cy="134484"/>
          </a:xfrm>
        </p:spPr>
        <p:txBody>
          <a:bodyPr/>
          <a:lstStyle/>
          <a:p>
            <a:fld id="{27258FFF-F925-446B-8502-81C933981705}" type="slidenum">
              <a:rPr lang="en-US"/>
              <a:pPr/>
              <a:t>‹#›</a:t>
            </a:fld>
            <a:endParaRPr lang="en-US"/>
          </a:p>
        </p:txBody>
      </p:sp>
      <p:sp>
        <p:nvSpPr>
          <p:cNvPr id="8" name="Text Placeholder 7"/>
          <p:cNvSpPr>
            <a:spLocks noGrp="1"/>
          </p:cNvSpPr>
          <p:nvPr>
            <p:ph type="body" sz="quarter" idx="13" hasCustomPrompt="1"/>
          </p:nvPr>
        </p:nvSpPr>
        <p:spPr>
          <a:xfrm>
            <a:off x="269243" y="2084175"/>
            <a:ext cx="8964251" cy="4003179"/>
          </a:xfrm>
        </p:spPr>
        <p:txBody>
          <a:bodyPr/>
          <a:lstStyle>
            <a:lvl1pPr marL="228761" indent="-228761">
              <a:spcBef>
                <a:spcPts val="1176"/>
              </a:spcBef>
              <a:defRPr sz="2548">
                <a:latin typeface="+mn-lt"/>
              </a:defRPr>
            </a:lvl1pPr>
            <a:lvl2pPr marL="676942" indent="-228761">
              <a:spcBef>
                <a:spcPts val="1176"/>
              </a:spcBef>
              <a:buSzPct val="100000"/>
              <a:buFont typeface="Segoe UI" pitchFamily="34" charset="0"/>
              <a:buChar char="‐"/>
              <a:defRPr/>
            </a:lvl2pPr>
            <a:lvl3pPr marL="1125124" indent="-228761">
              <a:spcBef>
                <a:spcPts val="1176"/>
              </a:spcBef>
              <a:buFont typeface="Wingdings" pitchFamily="2" charset="2"/>
              <a:buChar char="§"/>
              <a:defRPr/>
            </a:lvl3pPr>
            <a:lvl4pPr marL="1568637" indent="-336137">
              <a:spcBef>
                <a:spcPts val="1176"/>
              </a:spcBef>
              <a:buFont typeface="+mj-lt"/>
              <a:buAutoNum type="arabicPeriod"/>
              <a:defRPr/>
            </a:lvl4pPr>
            <a:lvl5pPr marL="1907887" indent="-336137">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8950481"/>
      </p:ext>
    </p:extLst>
  </p:cSld>
  <p:clrMapOvr>
    <a:masterClrMapping/>
  </p:clrMapOvr>
  <p:transition spd="slow">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58pt Title/24pt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284951" y="6592650"/>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a:pPr/>
              <a:t>‹#›</a:t>
            </a:fld>
            <a:endParaRPr lang="en-US"/>
          </a:p>
        </p:txBody>
      </p:sp>
      <p:sp>
        <p:nvSpPr>
          <p:cNvPr id="6" name="Title 1"/>
          <p:cNvSpPr>
            <a:spLocks noGrp="1"/>
          </p:cNvSpPr>
          <p:nvPr>
            <p:ph type="ctrTitle" hasCustomPrompt="1"/>
          </p:nvPr>
        </p:nvSpPr>
        <p:spPr>
          <a:xfrm>
            <a:off x="269246" y="2100820"/>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269304" y="3877279"/>
            <a:ext cx="8534712" cy="1034783"/>
          </a:xfrm>
        </p:spPr>
        <p:txBody>
          <a:bodyPr/>
          <a:lstStyle>
            <a:lvl1pPr marL="0" indent="0" algn="l">
              <a:buNone/>
              <a:defRPr sz="2157">
                <a:solidFill>
                  <a:schemeClr val="bg1"/>
                </a:solidFill>
                <a:latin typeface="+mn-lt"/>
              </a:defRPr>
            </a:lvl1pPr>
            <a:lvl2pPr marL="448182" indent="0" algn="ctr">
              <a:buNone/>
              <a:defRPr>
                <a:solidFill>
                  <a:schemeClr val="tx1">
                    <a:tint val="75000"/>
                  </a:schemeClr>
                </a:solidFill>
              </a:defRPr>
            </a:lvl2pPr>
            <a:lvl3pPr marL="896364" indent="0" algn="ctr">
              <a:buNone/>
              <a:defRPr>
                <a:solidFill>
                  <a:schemeClr val="tx1">
                    <a:tint val="75000"/>
                  </a:schemeClr>
                </a:solidFill>
              </a:defRPr>
            </a:lvl3pPr>
            <a:lvl4pPr marL="1344546" indent="0" algn="ctr">
              <a:buNone/>
              <a:defRPr>
                <a:solidFill>
                  <a:schemeClr val="tx1">
                    <a:tint val="75000"/>
                  </a:schemeClr>
                </a:solidFill>
              </a:defRPr>
            </a:lvl4pPr>
            <a:lvl5pPr marL="1792729" indent="0" algn="ctr">
              <a:buNone/>
              <a:defRPr>
                <a:solidFill>
                  <a:schemeClr val="tx1">
                    <a:tint val="75000"/>
                  </a:schemeClr>
                </a:solidFill>
              </a:defRPr>
            </a:lvl5pPr>
            <a:lvl6pPr marL="2240911" indent="0" algn="ctr">
              <a:buNone/>
              <a:defRPr>
                <a:solidFill>
                  <a:schemeClr val="tx1">
                    <a:tint val="75000"/>
                  </a:schemeClr>
                </a:solidFill>
              </a:defRPr>
            </a:lvl6pPr>
            <a:lvl7pPr marL="2689093" indent="0" algn="ctr">
              <a:buNone/>
              <a:defRPr>
                <a:solidFill>
                  <a:schemeClr val="tx1">
                    <a:tint val="75000"/>
                  </a:schemeClr>
                </a:solidFill>
              </a:defRPr>
            </a:lvl7pPr>
            <a:lvl8pPr marL="3137275" indent="0" algn="ctr">
              <a:buNone/>
              <a:defRPr>
                <a:solidFill>
                  <a:schemeClr val="tx1">
                    <a:tint val="75000"/>
                  </a:schemeClr>
                </a:solidFill>
              </a:defRPr>
            </a:lvl8pPr>
            <a:lvl9pPr marL="358545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399247112"/>
      </p:ext>
    </p:extLst>
  </p:cSld>
  <p:clrMapOvr>
    <a:masterClrMapping/>
  </p:clrMapOvr>
  <p:transition spd="slow">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6000"/>
            </a:lvl1pPr>
          </a:lstStyle>
          <a:p>
            <a:r>
              <a:rPr lang="en-US"/>
              <a:t>Click to edit Master title style</a:t>
            </a:r>
          </a:p>
        </p:txBody>
      </p:sp>
      <p:sp>
        <p:nvSpPr>
          <p:cNvPr id="3" name="Subtitle 2"/>
          <p:cNvSpPr>
            <a:spLocks noGrp="1"/>
          </p:cNvSpPr>
          <p:nvPr>
            <p:ph type="subTitle" idx="1"/>
          </p:nvPr>
        </p:nvSpPr>
        <p:spPr>
          <a:xfrm>
            <a:off x="606176" y="3602037"/>
            <a:ext cx="11034445" cy="1655763"/>
          </a:xfrm>
        </p:spPr>
        <p:txBody>
          <a:bodyPr>
            <a:normAutofit/>
          </a:bodyPr>
          <a:lstStyle>
            <a:lvl1pPr marL="0" indent="0" algn="l">
              <a:buNone/>
              <a:defRPr sz="3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96932097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3"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a:pPr/>
              <a:t>‹#›</a:t>
            </a:fld>
            <a:endParaRPr lang="en-US"/>
          </a:p>
        </p:txBody>
      </p:sp>
      <p:sp>
        <p:nvSpPr>
          <p:cNvPr id="5" name="Text Placeholder 4"/>
          <p:cNvSpPr>
            <a:spLocks noGrp="1"/>
          </p:cNvSpPr>
          <p:nvPr>
            <p:ph type="body" sz="quarter" idx="13" hasCustomPrompt="1"/>
          </p:nvPr>
        </p:nvSpPr>
        <p:spPr>
          <a:xfrm>
            <a:off x="560388" y="1534098"/>
            <a:ext cx="11080749" cy="437593"/>
          </a:xfrm>
        </p:spPr>
        <p:txBody>
          <a:bodyPr>
            <a:normAutofit/>
          </a:bodyPr>
          <a:lstStyle>
            <a:lvl1pPr marL="0" indent="0">
              <a:buFontTx/>
              <a:buNone/>
              <a:defRPr sz="2000" cap="all" baseline="0"/>
            </a:lvl1pPr>
            <a:lvl5pPr>
              <a:defRPr/>
            </a:lvl5pPr>
          </a:lstStyle>
          <a:p>
            <a:pPr lvl="0"/>
            <a:r>
              <a:rPr lang="en-US"/>
              <a:t>Secondary refining headline</a:t>
            </a:r>
          </a:p>
        </p:txBody>
      </p:sp>
    </p:spTree>
    <p:extLst>
      <p:ext uri="{BB962C8B-B14F-4D97-AF65-F5344CB8AC3E}">
        <p14:creationId xmlns:p14="http://schemas.microsoft.com/office/powerpoint/2010/main" val="456074759"/>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94505"/>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1452792"/>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96354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96354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5011896"/>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1" y="1"/>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5"/>
            <a:ext cx="6276527" cy="1793104"/>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8191" t="2125" r="40806" b="346"/>
          <a:stretch/>
        </p:blipFill>
        <p:spPr>
          <a:xfrm>
            <a:off x="6813132" y="-1"/>
            <a:ext cx="5378869" cy="6877308"/>
          </a:xfrm>
          <a:prstGeom prst="rect">
            <a:avLst/>
          </a:prstGeom>
        </p:spPr>
      </p:pic>
    </p:spTree>
    <p:extLst>
      <p:ext uri="{BB962C8B-B14F-4D97-AF65-F5344CB8AC3E}">
        <p14:creationId xmlns:p14="http://schemas.microsoft.com/office/powerpoint/2010/main" val="226317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a:gradFill>
                  <a:gsLst>
                    <a:gs pos="0">
                      <a:schemeClr val="accent3"/>
                    </a:gs>
                    <a:gs pos="86000">
                      <a:schemeClr val="accent3"/>
                    </a:gs>
                  </a:gsLst>
                  <a:lin ang="5400000" scaled="0"/>
                </a:gradFill>
              </a:rPr>
              <a:t>© 2014 Microsoft Corporation </a:t>
            </a:r>
            <a:fld id="{0D099E2A-118A-4377-8F98-2DF40BCBA9FE}" type="slidenum">
              <a:rPr lang="en-US"/>
              <a:pPr/>
              <a:t>‹#›</a:t>
            </a:fld>
            <a:endParaRPr lang="en-US"/>
          </a:p>
        </p:txBody>
      </p:sp>
    </p:spTree>
    <p:extLst>
      <p:ext uri="{BB962C8B-B14F-4D97-AF65-F5344CB8AC3E}">
        <p14:creationId xmlns:p14="http://schemas.microsoft.com/office/powerpoint/2010/main" val="473825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8488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4"/>
            <a:ext cx="11653835" cy="896517"/>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1663939"/>
            <a:ext cx="10757097" cy="1865303"/>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71657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4"/>
            <a:ext cx="11653835" cy="896517"/>
          </a:xfrm>
        </p:spPr>
        <p:txBody>
          <a:bodyPr/>
          <a:lstStyle>
            <a:lvl1pPr>
              <a:defRPr sz="5687">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1663939"/>
            <a:ext cx="10757097" cy="490299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8369406"/>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832883"/>
          </a:xfrm>
        </p:spPr>
        <p:txBody>
          <a:bodyPr/>
          <a:lstStyle>
            <a:lvl1pPr marL="0" indent="0">
              <a:buNone/>
              <a:defRPr sz="4705"/>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562003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6/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091864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6577943"/>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6/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817913569"/>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6/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67803684"/>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6/3/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516167179"/>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6/3/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00076310"/>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6/3/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9065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1"/>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8" y="434680"/>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5" y="1413777"/>
            <a:ext cx="5332362" cy="2087516"/>
          </a:xfrm>
          <a:noFill/>
        </p:spPr>
        <p:txBody>
          <a:bodyPr lIns="393155" tIns="393155" rIns="146290" bIns="91432"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2"/>
            <a:ext cx="5340096" cy="877163"/>
          </a:xfrm>
        </p:spPr>
        <p:txBody>
          <a:bodyPr lIns="393155" bIns="393155"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512594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292655"/>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9666668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6939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64282869"/>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36519838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2360708215"/>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1226592"/>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1583818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096117516"/>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93134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725097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02546777"/>
      </p:ext>
    </p:extLst>
  </p:cSld>
  <p:clrMapOvr>
    <a:overrideClrMapping bg1="dk1" tx1="lt1" bg2="dk2" tx2="lt2" accent1="accent1" accent2="accent2" accent3="accent3" accent4="accent4" accent5="accent5" accent6="accent6" hlink="hlink" folHlink="folHlink"/>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823131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348977874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4224911008"/>
      </p:ext>
    </p:extLst>
  </p:cSld>
  <p:clrMapOvr>
    <a:overrideClrMapping bg1="lt1" tx1="dk1" bg2="lt2" tx2="dk2" accent1="accent1" accent2="accent2" accent3="accent3" accent4="accent4" accent5="accent5" accent6="accent6" hlink="hlink" folHlink="folHlink"/>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3/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628071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3/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7009247"/>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3/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3564132"/>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6/3/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27597735"/>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FE36A07-46FC-4E71-A304-E2131C14BD2E}" type="datetimeFigureOut">
              <a:rPr lang="en-US" smtClean="0">
                <a:solidFill>
                  <a:prstClr val="black">
                    <a:tint val="75000"/>
                  </a:prstClr>
                </a:solidFill>
              </a:rPr>
              <a:pPr/>
              <a:t>6/3/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83667024"/>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FE36A07-46FC-4E71-A304-E2131C14BD2E}" type="datetimeFigureOut">
              <a:rPr lang="en-US" smtClean="0">
                <a:solidFill>
                  <a:prstClr val="black">
                    <a:tint val="75000"/>
                  </a:prstClr>
                </a:solidFill>
              </a:rPr>
              <a:pPr/>
              <a:t>6/3/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288965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95513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51349682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E36A07-46FC-4E71-A304-E2131C14BD2E}" type="datetimeFigureOut">
              <a:rPr lang="en-US" smtClean="0">
                <a:solidFill>
                  <a:prstClr val="black">
                    <a:tint val="75000"/>
                  </a:prstClr>
                </a:solidFill>
              </a:rPr>
              <a:pPr/>
              <a:t>6/3/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3704287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6/3/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64595413"/>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6/3/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69934047"/>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3/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57239600"/>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3/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42593078"/>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03.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04191579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03.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41512495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03.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86440122"/>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03.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74657104"/>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03.06.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51807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40506424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03.06.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79677645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03.06.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23067316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03.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355129326"/>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03.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208833481"/>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03.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966247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03.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00948123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p:cSld name="Welcome Slide">
    <p:spTree>
      <p:nvGrpSpPr>
        <p:cNvPr id="1" name=""/>
        <p:cNvGrpSpPr/>
        <p:nvPr/>
      </p:nvGrpSpPr>
      <p:grpSpPr>
        <a:xfrm>
          <a:off x="0" y="0"/>
          <a:ext cx="0" cy="0"/>
          <a:chOff x="0" y="0"/>
          <a:chExt cx="0" cy="0"/>
        </a:xfrm>
      </p:grpSpPr>
      <p:pic>
        <p:nvPicPr>
          <p:cNvPr id="4"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C:\Users\i-jbatsc\Desktop\images\images\azure\azure_illustration_layer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240742" y="1701884"/>
            <a:ext cx="9347200" cy="426483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i-jbatsc\Desktop\images\images\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27086052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C:\Users\i-jbatsc\Desktop\images\images\logo.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18458645"/>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0941479"/>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17601" y="1600202"/>
            <a:ext cx="10464800" cy="4525963"/>
          </a:xfrm>
        </p:spPr>
        <p:txBody>
          <a:bodyPr/>
          <a:lstStyle>
            <a:lvl1pPr marL="457120" indent="-457120">
              <a:buFontTx/>
              <a:buBlip>
                <a:blip r:embed="rId2"/>
              </a:buBlip>
              <a:defRPr/>
            </a:lvl1pPr>
            <a:lvl2pPr marL="990427" indent="-380933">
              <a:buFontTx/>
              <a:buBlip>
                <a:blip r:embed="rId2"/>
              </a:buBlip>
              <a:defRPr/>
            </a:lvl2pPr>
            <a:lvl3pPr marL="1523733" indent="-304747">
              <a:buFontTx/>
              <a:buBlip>
                <a:blip r:embed="rId2"/>
              </a:buBlip>
              <a:defRPr/>
            </a:lvl3pPr>
            <a:lvl4pPr marL="2133227" indent="-304747">
              <a:buFontTx/>
              <a:buBlip>
                <a:blip r:embed="rId2"/>
              </a:buBlip>
              <a:defRPr/>
            </a:lvl4pPr>
            <a:lvl5pPr marL="2742720" indent="-304747">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6/3/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sp>
        <p:nvSpPr>
          <p:cNvPr id="7"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rmAutofit/>
          </a:bodyPr>
          <a:lstStyle>
            <a:lvl1pPr algn="l">
              <a:defRPr/>
            </a:lvl1pPr>
          </a:lstStyle>
          <a:p>
            <a:r>
              <a:rPr lang="en-US"/>
              <a:t>Click to edit Master title style</a:t>
            </a:r>
          </a:p>
        </p:txBody>
      </p:sp>
      <p:pic>
        <p:nvPicPr>
          <p:cNvPr id="8" name="Picture 2" descr="C:\Users\i-jbatsc\Desktop\images\images\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764202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57332069"/>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98901" y="1752705"/>
            <a:ext cx="5083527" cy="1016001"/>
          </a:xfrm>
        </p:spPr>
        <p:txBody>
          <a:bodyPr anchor="b">
            <a:normAutofit/>
          </a:bodyPr>
          <a:lstStyle>
            <a:lvl1pPr algn="l">
              <a:defRPr sz="3700" b="0">
                <a:solidFill>
                  <a:srgbClr val="FFFFFF"/>
                </a:solidFill>
              </a:defRPr>
            </a:lvl1pPr>
          </a:lstStyle>
          <a:p>
            <a:r>
              <a:rPr lang="en-US"/>
              <a:t>Click to edit Master title style</a:t>
            </a:r>
          </a:p>
        </p:txBody>
      </p:sp>
      <p:sp>
        <p:nvSpPr>
          <p:cNvPr id="4" name="Text Placeholder 3"/>
          <p:cNvSpPr>
            <a:spLocks noGrp="1"/>
          </p:cNvSpPr>
          <p:nvPr>
            <p:ph type="body" sz="half" idx="2"/>
          </p:nvPr>
        </p:nvSpPr>
        <p:spPr>
          <a:xfrm>
            <a:off x="6491128" y="2785533"/>
            <a:ext cx="5091289" cy="2421467"/>
          </a:xfrm>
        </p:spPr>
        <p:txBody>
          <a:bodyPr>
            <a:normAutofit/>
          </a:bodyPr>
          <a:lstStyle>
            <a:lvl1pPr marL="0" indent="0">
              <a:buNone/>
              <a:defRPr sz="2400">
                <a:solidFill>
                  <a:srgbClr val="FFFFFF"/>
                </a:solidFill>
              </a:defRPr>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4034CBBE-2C6C-4E19-B43A-70A96445ED5B}" type="datetimeFigureOut">
              <a:rPr lang="en-US" smtClean="0">
                <a:solidFill>
                  <a:prstClr val="black">
                    <a:tint val="75000"/>
                  </a:prstClr>
                </a:solidFill>
              </a:rPr>
              <a:pPr/>
              <a:t>6/3/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4EFFE98-0587-46E8-89E2-604B65FE2138}" type="slidenum">
              <a:rPr lang="en-US" smtClean="0">
                <a:solidFill>
                  <a:prstClr val="black">
                    <a:tint val="75000"/>
                  </a:prstClr>
                </a:solidFill>
              </a:rPr>
              <a:pPr/>
              <a:t>‹#›</a:t>
            </a:fld>
            <a:endParaRPr lang="en-US">
              <a:solidFill>
                <a:prstClr val="black">
                  <a:tint val="75000"/>
                </a:prstClr>
              </a:solidFill>
            </a:endParaRPr>
          </a:p>
        </p:txBody>
      </p:sp>
      <p:sp>
        <p:nvSpPr>
          <p:cNvPr id="3" name="Picture Placeholder 2"/>
          <p:cNvSpPr>
            <a:spLocks noGrp="1"/>
          </p:cNvSpPr>
          <p:nvPr>
            <p:ph type="pic" idx="1"/>
          </p:nvPr>
        </p:nvSpPr>
        <p:spPr>
          <a:xfrm>
            <a:off x="812800" y="1950720"/>
            <a:ext cx="4754880" cy="2926080"/>
          </a:xfrm>
          <a:prstGeom prst="rect">
            <a:avLst/>
          </a:prstGeom>
          <a:solidFill>
            <a:srgbClr val="B8D4DE"/>
          </a:solidFill>
          <a:ln w="76200">
            <a:solidFill>
              <a:schemeClr val="bg1">
                <a:lumMod val="85000"/>
              </a:schemeClr>
            </a:solidFill>
          </a:ln>
          <a:effectLst>
            <a:reflection blurRad="12700" stA="30000" endPos="30000" dist="5000" dir="5400000" sy="-100000" algn="bl" rotWithShape="0"/>
          </a:effectLst>
          <a:scene3d>
            <a:camera prst="perspectiveContrastingLeftFacing" fov="600000">
              <a:rot lat="240000" lon="19799999" rev="0"/>
            </a:camera>
            <a:lightRig rig="threePt" dir="t">
              <a:rot lat="0" lon="0" rev="2700000"/>
            </a:lightRig>
          </a:scene3d>
          <a:sp3d/>
        </p:spPr>
        <p:txBody>
          <a:bodyPr/>
          <a:lstStyle>
            <a:lvl1pPr marL="0" indent="0" algn="ctr">
              <a:buNone/>
              <a:defRPr sz="4300">
                <a:solidFill>
                  <a:schemeClr val="bg1"/>
                </a:solidFill>
              </a:defRPr>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387358430"/>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63084" y="4406902"/>
            <a:ext cx="10363200" cy="1362075"/>
          </a:xfrm>
        </p:spPr>
        <p:txBody>
          <a:bodyPr anchor="t"/>
          <a:lstStyle>
            <a:lvl1pPr algn="l">
              <a:defRPr sz="5300" b="0" cap="none">
                <a:solidFill>
                  <a:schemeClr val="tx1"/>
                </a:solidFill>
                <a:effectLst/>
                <a:latin typeface="Segoe UI" pitchFamily="34" charset="0"/>
                <a:ea typeface="Segoe UI" pitchFamily="34" charset="0"/>
                <a:cs typeface="Segoe UI" pitchFamily="34" charset="0"/>
              </a:defRPr>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6/3/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74051235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1" y="177906"/>
            <a:ext cx="10363200" cy="884239"/>
          </a:xfrm>
        </p:spPr>
        <p:txBody>
          <a:bodyPr/>
          <a:lstStyle>
            <a:lvl1pPr>
              <a:defRPr>
                <a:effectLst/>
                <a:latin typeface="Segoe UI" pitchFamily="34" charset="0"/>
                <a:ea typeface="Segoe UI" pitchFamily="34" charset="0"/>
                <a:cs typeface="Segoe UI" pitchFamily="34" charset="0"/>
              </a:defRPr>
            </a:lvl1pPr>
          </a:lstStyle>
          <a:p>
            <a:r>
              <a:rPr lang="en-US"/>
              <a:t>Click to edit Master title style</a:t>
            </a:r>
          </a:p>
        </p:txBody>
      </p:sp>
      <p:sp>
        <p:nvSpPr>
          <p:cNvPr id="3" name="Content Placeholder 2"/>
          <p:cNvSpPr>
            <a:spLocks noGrp="1"/>
          </p:cNvSpPr>
          <p:nvPr>
            <p:ph sz="half" idx="1"/>
          </p:nvPr>
        </p:nvSpPr>
        <p:spPr>
          <a:xfrm>
            <a:off x="1320800" y="1828801"/>
            <a:ext cx="53848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07200" y="1828801"/>
            <a:ext cx="45720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86E19E8-A673-43B0-9B30-51374D85A278}" type="datetimeFigureOut">
              <a:rPr lang="en-US" smtClean="0">
                <a:solidFill>
                  <a:prstClr val="black">
                    <a:tint val="75000"/>
                  </a:prstClr>
                </a:solidFill>
              </a:rPr>
              <a:pPr/>
              <a:t>6/3/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668348651"/>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8" y="1535114"/>
            <a:ext cx="5389033"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78" y="2174875"/>
            <a:ext cx="5389033"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FDB083A-04D8-4B57-ABAC-46E7416338DF}" type="datetimeFigureOut">
              <a:rPr lang="en-US" smtClean="0">
                <a:solidFill>
                  <a:prstClr val="black">
                    <a:tint val="75000"/>
                  </a:prstClr>
                </a:solidFill>
              </a:rPr>
              <a:pPr/>
              <a:t>6/3/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10"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08641532"/>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6/3/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6"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553091598"/>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6/3/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7908843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FDB083A-04D8-4B57-ABAC-46E7416338DF}" type="datetimeFigureOut">
              <a:rPr lang="en-US" smtClean="0">
                <a:solidFill>
                  <a:prstClr val="black">
                    <a:tint val="75000"/>
                  </a:prstClr>
                </a:solidFill>
              </a:rPr>
              <a:pPr/>
              <a:t>6/3/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32851349"/>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19410" y="1219202"/>
            <a:ext cx="3401484" cy="1924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838202"/>
            <a:ext cx="6815667" cy="528796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19410" y="3124202"/>
            <a:ext cx="3401484" cy="30019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6/3/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980033109"/>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2"/>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sp>
        <p:nvSpPr>
          <p:cNvPr id="4" name="Text Placeholder 3"/>
          <p:cNvSpPr>
            <a:spLocks noGrp="1"/>
          </p:cNvSpPr>
          <p:nvPr>
            <p:ph type="body" sz="half" idx="2"/>
          </p:nvPr>
        </p:nvSpPr>
        <p:spPr>
          <a:xfrm>
            <a:off x="2389718" y="5367443"/>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6/3/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04145713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5300">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6/3/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1442190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328791017"/>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685802"/>
            <a:ext cx="2743200" cy="5440363"/>
          </a:xfrm>
        </p:spPr>
        <p:txBody>
          <a:bodyPr vert="eaVert"/>
          <a:lstStyle>
            <a:lvl1pPr>
              <a:defRPr>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a:xfrm>
            <a:off x="609600" y="685802"/>
            <a:ext cx="8026400" cy="54403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6/3/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34015322"/>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type="title" preserve="1">
  <p:cSld name="Title Slide Gray Bar">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251201" y="4724400"/>
            <a:ext cx="8228973" cy="914400"/>
          </a:xfrm>
        </p:spPr>
        <p:txBody>
          <a:bodyPr vert="horz" lIns="0" tIns="0" rIns="0" bIns="0" rtlCol="0">
            <a:noAutofit/>
          </a:bodyPr>
          <a:lstStyle>
            <a:lvl1pPr marL="0" indent="0" algn="r" defTabSz="1218937" rtl="0" eaLnBrk="1" latinLnBrk="0" hangingPunct="1">
              <a:lnSpc>
                <a:spcPct val="90000"/>
              </a:lnSpc>
              <a:spcBef>
                <a:spcPts val="0"/>
              </a:spcBef>
              <a:buFont typeface="Arial" pitchFamily="34" charset="0"/>
              <a:buNone/>
              <a:defRPr lang="en-US" sz="2700" kern="1200" dirty="0">
                <a:gradFill>
                  <a:gsLst>
                    <a:gs pos="0">
                      <a:schemeClr val="bg1"/>
                    </a:gs>
                    <a:gs pos="100000">
                      <a:schemeClr val="bg1"/>
                    </a:gs>
                  </a:gsLst>
                  <a:lin ang="5400000" scaled="0"/>
                </a:gradFill>
                <a:latin typeface="Segoe UI" pitchFamily="34" charset="0"/>
                <a:ea typeface="Segoe UI" pitchFamily="34" charset="0"/>
                <a:cs typeface="Segoe UI" pitchFamily="34" charset="0"/>
              </a:defRPr>
            </a:lvl1pPr>
            <a:lvl2pPr marL="609469" indent="0" algn="ctr">
              <a:buNone/>
              <a:defRPr>
                <a:solidFill>
                  <a:schemeClr val="tx1">
                    <a:tint val="75000"/>
                  </a:schemeClr>
                </a:solidFill>
              </a:defRPr>
            </a:lvl2pPr>
            <a:lvl3pPr marL="1218937" indent="0" algn="ctr">
              <a:buNone/>
              <a:defRPr>
                <a:solidFill>
                  <a:schemeClr val="tx1">
                    <a:tint val="75000"/>
                  </a:schemeClr>
                </a:solidFill>
              </a:defRPr>
            </a:lvl3pPr>
            <a:lvl4pPr marL="1828407" indent="0" algn="ctr">
              <a:buNone/>
              <a:defRPr>
                <a:solidFill>
                  <a:schemeClr val="tx1">
                    <a:tint val="75000"/>
                  </a:schemeClr>
                </a:solidFill>
              </a:defRPr>
            </a:lvl4pPr>
            <a:lvl5pPr marL="2437876" indent="0" algn="ctr">
              <a:buNone/>
              <a:defRPr>
                <a:solidFill>
                  <a:schemeClr val="tx1">
                    <a:tint val="75000"/>
                  </a:schemeClr>
                </a:solidFill>
              </a:defRPr>
            </a:lvl5pPr>
            <a:lvl6pPr marL="3047345" indent="0" algn="ctr">
              <a:buNone/>
              <a:defRPr>
                <a:solidFill>
                  <a:schemeClr val="tx1">
                    <a:tint val="75000"/>
                  </a:schemeClr>
                </a:solidFill>
              </a:defRPr>
            </a:lvl6pPr>
            <a:lvl7pPr marL="3656813" indent="0" algn="ctr">
              <a:buNone/>
              <a:defRPr>
                <a:solidFill>
                  <a:schemeClr val="tx1">
                    <a:tint val="75000"/>
                  </a:schemeClr>
                </a:solidFill>
              </a:defRPr>
            </a:lvl7pPr>
            <a:lvl8pPr marL="4266283" indent="0" algn="ctr">
              <a:buNone/>
              <a:defRPr>
                <a:solidFill>
                  <a:schemeClr val="tx1">
                    <a:tint val="75000"/>
                  </a:schemeClr>
                </a:solidFill>
              </a:defRPr>
            </a:lvl8pPr>
            <a:lvl9pPr marL="4875752" indent="0" algn="ctr">
              <a:buNone/>
              <a:defRPr>
                <a:solidFill>
                  <a:schemeClr val="tx1">
                    <a:tint val="75000"/>
                  </a:schemeClr>
                </a:solidFill>
              </a:defRPr>
            </a:lvl9pPr>
          </a:lstStyle>
          <a:p>
            <a:pPr marL="0" marR="0" lvl="0" indent="0" algn="r" defTabSz="1218937" rtl="0" eaLnBrk="1" fontAlgn="auto" latinLnBrk="0" hangingPunct="1">
              <a:lnSpc>
                <a:spcPct val="90000"/>
              </a:lnSpc>
              <a:spcBef>
                <a:spcPts val="0"/>
              </a:spcBef>
              <a:spcAft>
                <a:spcPts val="0"/>
              </a:spcAft>
              <a:buClrTx/>
              <a:buSzTx/>
              <a:buFontTx/>
              <a:buNone/>
              <a:tabLst/>
              <a:defRPr/>
            </a:pPr>
            <a:r>
              <a:rPr lang="en-US"/>
              <a:t>Click to edit Master subtitle style</a:t>
            </a:r>
          </a:p>
        </p:txBody>
      </p:sp>
      <p:sp>
        <p:nvSpPr>
          <p:cNvPr id="2" name="Title 1"/>
          <p:cNvSpPr>
            <a:spLocks noGrp="1"/>
          </p:cNvSpPr>
          <p:nvPr>
            <p:ph type="ctrTitle"/>
          </p:nvPr>
        </p:nvSpPr>
        <p:spPr>
          <a:xfrm>
            <a:off x="3251229" y="3276601"/>
            <a:ext cx="8210551" cy="1219200"/>
          </a:xfrm>
        </p:spPr>
        <p:txBody>
          <a:bodyPr vert="horz" wrap="square" lIns="0" tIns="0" rIns="0" bIns="0" rtlCol="0" anchor="b">
            <a:noAutofit/>
          </a:bodyPr>
          <a:lstStyle>
            <a:lvl1pPr algn="r" defTabSz="1218937" rtl="0" eaLnBrk="1" latinLnBrk="0" hangingPunct="1">
              <a:lnSpc>
                <a:spcPct val="90000"/>
              </a:lnSpc>
              <a:spcBef>
                <a:spcPct val="0"/>
              </a:spcBef>
              <a:buNone/>
              <a:defRPr lang="en-US" sz="4800" b="1" kern="1200" cap="none" spc="-20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pic>
        <p:nvPicPr>
          <p:cNvPr id="4"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690566253"/>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p:cSld name="Title Content Shapes No Bar">
    <p:spTree>
      <p:nvGrpSpPr>
        <p:cNvPr id="1" name=""/>
        <p:cNvGrpSpPr/>
        <p:nvPr/>
      </p:nvGrpSpPr>
      <p:grpSpPr>
        <a:xfrm>
          <a:off x="0" y="0"/>
          <a:ext cx="0" cy="0"/>
          <a:chOff x="0" y="0"/>
          <a:chExt cx="0" cy="0"/>
        </a:xfrm>
      </p:grpSpPr>
      <p:sp>
        <p:nvSpPr>
          <p:cNvPr id="2" name="Title 1"/>
          <p:cNvSpPr>
            <a:spLocks noGrp="1"/>
          </p:cNvSpPr>
          <p:nvPr>
            <p:ph type="title"/>
          </p:nvPr>
        </p:nvSpPr>
        <p:spPr>
          <a:xfrm>
            <a:off x="1117600" y="177800"/>
            <a:ext cx="10566400" cy="685800"/>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8" name="Content Placeholder 2"/>
          <p:cNvSpPr>
            <a:spLocks noGrp="1"/>
          </p:cNvSpPr>
          <p:nvPr>
            <p:ph idx="1"/>
          </p:nvPr>
        </p:nvSpPr>
        <p:spPr>
          <a:xfrm>
            <a:off x="1219200" y="1676448"/>
            <a:ext cx="10464800" cy="467867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841476637"/>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Two Content No Bar">
    <p:spTree>
      <p:nvGrpSpPr>
        <p:cNvPr id="1" name=""/>
        <p:cNvGrpSpPr/>
        <p:nvPr/>
      </p:nvGrpSpPr>
      <p:grpSpPr>
        <a:xfrm>
          <a:off x="0" y="0"/>
          <a:ext cx="0" cy="0"/>
          <a:chOff x="0" y="0"/>
          <a:chExt cx="0" cy="0"/>
        </a:xfrm>
      </p:grpSpPr>
      <p:sp>
        <p:nvSpPr>
          <p:cNvPr id="2" name="Title 1"/>
          <p:cNvSpPr>
            <a:spLocks noGrp="1"/>
          </p:cNvSpPr>
          <p:nvPr>
            <p:ph type="title"/>
          </p:nvPr>
        </p:nvSpPr>
        <p:spPr>
          <a:xfrm>
            <a:off x="914400" y="228706"/>
            <a:ext cx="10566400" cy="1123585"/>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9" name="Content Placeholder 2"/>
          <p:cNvSpPr>
            <a:spLocks noGrp="1"/>
          </p:cNvSpPr>
          <p:nvPr>
            <p:ph sz="half" idx="1"/>
          </p:nvPr>
        </p:nvSpPr>
        <p:spPr>
          <a:xfrm>
            <a:off x="914401" y="1371600"/>
            <a:ext cx="5080000" cy="4983480"/>
          </a:xfrm>
        </p:spPr>
        <p:txBody>
          <a:bodyPr>
            <a:normAutofit/>
          </a:bodyPr>
          <a:lstStyle>
            <a:lvl1pPr marL="453222" indent="-453222">
              <a:lnSpc>
                <a:spcPct val="90000"/>
              </a:lnSpc>
              <a:defRPr sz="3200"/>
            </a:lvl1pPr>
            <a:lvl2pPr marL="897627" indent="-433823">
              <a:lnSpc>
                <a:spcPct val="90000"/>
              </a:lnSpc>
              <a:defRPr sz="2700"/>
            </a:lvl2pPr>
            <a:lvl3pPr marL="1271491" indent="-384445">
              <a:lnSpc>
                <a:spcPct val="90000"/>
              </a:lnSpc>
              <a:defRPr sz="2400"/>
            </a:lvl3pPr>
            <a:lvl4pPr marL="1636538" indent="-365047">
              <a:lnSpc>
                <a:spcPct val="90000"/>
              </a:lnSpc>
              <a:defRPr sz="2100"/>
            </a:lvl4pPr>
            <a:lvl5pPr marL="2020982" indent="-373864">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p:cNvSpPr>
            <a:spLocks noGrp="1"/>
          </p:cNvSpPr>
          <p:nvPr>
            <p:ph sz="half" idx="2"/>
          </p:nvPr>
        </p:nvSpPr>
        <p:spPr>
          <a:xfrm>
            <a:off x="6604000" y="1371600"/>
            <a:ext cx="5080000" cy="4983480"/>
          </a:xfrm>
        </p:spPr>
        <p:txBody>
          <a:bodyPr>
            <a:normAutofit/>
          </a:bodyPr>
          <a:lstStyle>
            <a:lvl1pPr marL="463804" indent="-463804">
              <a:lnSpc>
                <a:spcPct val="90000"/>
              </a:lnSpc>
              <a:defRPr sz="3200"/>
            </a:lvl1pPr>
            <a:lvl2pPr marL="897627" indent="-453222">
              <a:lnSpc>
                <a:spcPct val="90000"/>
              </a:lnSpc>
              <a:defRPr sz="2700"/>
            </a:lvl2pPr>
            <a:lvl3pPr marL="1282072" indent="-403844">
              <a:lnSpc>
                <a:spcPct val="90000"/>
              </a:lnSpc>
              <a:defRPr sz="2400"/>
            </a:lvl3pPr>
            <a:lvl4pPr marL="1636538" indent="-354466">
              <a:lnSpc>
                <a:spcPct val="90000"/>
              </a:lnSpc>
              <a:defRPr sz="2100"/>
            </a:lvl4pPr>
            <a:lvl5pPr marL="2020982" indent="-365047">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717274627"/>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userDrawn="1">
  <p:cSld name="Demo Layout">
    <p:spTree>
      <p:nvGrpSpPr>
        <p:cNvPr id="1" name=""/>
        <p:cNvGrpSpPr/>
        <p:nvPr/>
      </p:nvGrpSpPr>
      <p:grpSpPr>
        <a:xfrm>
          <a:off x="0" y="0"/>
          <a:ext cx="0" cy="0"/>
          <a:chOff x="0" y="0"/>
          <a:chExt cx="0" cy="0"/>
        </a:xfrm>
      </p:grpSpPr>
      <p:sp>
        <p:nvSpPr>
          <p:cNvPr id="7" name="Title 1"/>
          <p:cNvSpPr>
            <a:spLocks noGrp="1"/>
          </p:cNvSpPr>
          <p:nvPr>
            <p:ph type="ctrTitle"/>
          </p:nvPr>
        </p:nvSpPr>
        <p:spPr>
          <a:xfrm>
            <a:off x="938812" y="2794000"/>
            <a:ext cx="10745212" cy="1295400"/>
          </a:xfrm>
        </p:spPr>
        <p:txBody>
          <a:bodyPr anchor="ctr">
            <a:noAutofit/>
          </a:bodyPr>
          <a:lstStyle>
            <a:lvl1pPr algn="l">
              <a:lnSpc>
                <a:spcPct val="90000"/>
              </a:lnSpc>
              <a:defRPr sz="7200" b="0" spc="-267" baseline="0">
                <a:effectLst/>
              </a:defRPr>
            </a:lvl1pPr>
          </a:lstStyle>
          <a:p>
            <a:r>
              <a:rPr lang="en-US"/>
              <a:t>Click to edit Master title style</a:t>
            </a:r>
          </a:p>
        </p:txBody>
      </p:sp>
      <p:sp>
        <p:nvSpPr>
          <p:cNvPr id="8" name="Subtitle 2"/>
          <p:cNvSpPr>
            <a:spLocks noGrp="1"/>
          </p:cNvSpPr>
          <p:nvPr>
            <p:ph type="subTitle" idx="1" hasCustomPrompt="1"/>
          </p:nvPr>
        </p:nvSpPr>
        <p:spPr>
          <a:xfrm>
            <a:off x="938784" y="4845344"/>
            <a:ext cx="6694352" cy="920456"/>
          </a:xfrm>
        </p:spPr>
        <p:txBody>
          <a:bodyPr anchor="ctr">
            <a:noAutofit/>
          </a:bodyPr>
          <a:lstStyle>
            <a:lvl1pPr marL="0" indent="0" algn="l">
              <a:lnSpc>
                <a:spcPct val="90000"/>
              </a:lnSpc>
              <a:spcBef>
                <a:spcPts val="0"/>
              </a:spcBef>
              <a:buNone/>
              <a:defRPr sz="4300" spc="-67" baseline="0">
                <a:gradFill>
                  <a:gsLst>
                    <a:gs pos="0">
                      <a:schemeClr val="tx1"/>
                    </a:gs>
                    <a:gs pos="86000">
                      <a:schemeClr val="tx1"/>
                    </a:gs>
                  </a:gsLst>
                  <a:lin ang="5400000" scaled="0"/>
                </a:gradFill>
                <a:effectLst/>
              </a:defRPr>
            </a:lvl1pPr>
            <a:lvl2pPr marL="609444" indent="0" algn="ctr">
              <a:buNone/>
              <a:defRPr>
                <a:solidFill>
                  <a:schemeClr val="tx1">
                    <a:tint val="75000"/>
                  </a:schemeClr>
                </a:solidFill>
              </a:defRPr>
            </a:lvl2pPr>
            <a:lvl3pPr marL="1218887" indent="0" algn="ctr">
              <a:buNone/>
              <a:defRPr>
                <a:solidFill>
                  <a:schemeClr val="tx1">
                    <a:tint val="75000"/>
                  </a:schemeClr>
                </a:solidFill>
              </a:defRPr>
            </a:lvl3pPr>
            <a:lvl4pPr marL="1828331" indent="0" algn="ctr">
              <a:buNone/>
              <a:defRPr>
                <a:solidFill>
                  <a:schemeClr val="tx1">
                    <a:tint val="75000"/>
                  </a:schemeClr>
                </a:solidFill>
              </a:defRPr>
            </a:lvl4pPr>
            <a:lvl5pPr marL="2437775" indent="0" algn="ctr">
              <a:buNone/>
              <a:defRPr>
                <a:solidFill>
                  <a:schemeClr val="tx1">
                    <a:tint val="75000"/>
                  </a:schemeClr>
                </a:solidFill>
              </a:defRPr>
            </a:lvl5pPr>
            <a:lvl6pPr marL="3047217" indent="0" algn="ctr">
              <a:buNone/>
              <a:defRPr>
                <a:solidFill>
                  <a:schemeClr val="tx1">
                    <a:tint val="75000"/>
                  </a:schemeClr>
                </a:solidFill>
              </a:defRPr>
            </a:lvl6pPr>
            <a:lvl7pPr marL="3656660" indent="0" algn="ctr">
              <a:buNone/>
              <a:defRPr>
                <a:solidFill>
                  <a:schemeClr val="tx1">
                    <a:tint val="75000"/>
                  </a:schemeClr>
                </a:solidFill>
              </a:defRPr>
            </a:lvl7pPr>
            <a:lvl8pPr marL="4266105" indent="0" algn="ctr">
              <a:buNone/>
              <a:defRPr>
                <a:solidFill>
                  <a:schemeClr val="tx1">
                    <a:tint val="75000"/>
                  </a:schemeClr>
                </a:solidFill>
              </a:defRPr>
            </a:lvl8pPr>
            <a:lvl9pPr marL="4875549" indent="0" algn="ctr">
              <a:buNone/>
              <a:defRPr>
                <a:solidFill>
                  <a:schemeClr val="tx1">
                    <a:tint val="75000"/>
                  </a:schemeClr>
                </a:solidFill>
              </a:defRPr>
            </a:lvl9pPr>
          </a:lstStyle>
          <a:p>
            <a:r>
              <a:rPr lang="en-US"/>
              <a:t>Click to edit Master title style</a:t>
            </a:r>
          </a:p>
        </p:txBody>
      </p:sp>
      <p:sp>
        <p:nvSpPr>
          <p:cNvPr id="9" name="Text Placeholder 6"/>
          <p:cNvSpPr>
            <a:spLocks noGrp="1"/>
          </p:cNvSpPr>
          <p:nvPr>
            <p:ph type="body" sz="quarter" idx="10" hasCustomPrompt="1"/>
          </p:nvPr>
        </p:nvSpPr>
        <p:spPr>
          <a:xfrm>
            <a:off x="1430515" y="228601"/>
            <a:ext cx="10253485" cy="1384995"/>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4700" b="1" i="1" u="none" strike="noStrike" kern="1200" cap="none" spc="-856" normalizeH="0" baseline="0" noProof="0" dirty="0" smtClean="0">
                <a:ln w="11430"/>
                <a:gradFill>
                  <a:gsLst>
                    <a:gs pos="0">
                      <a:schemeClr val="tx1"/>
                    </a:gs>
                    <a:gs pos="88000">
                      <a:schemeClr val="tx1">
                        <a:alpha val="50000"/>
                      </a:schemeClr>
                    </a:gs>
                  </a:gsLst>
                  <a:lin ang="5400000"/>
                </a:gradFill>
                <a:effectLst/>
                <a:uLnTx/>
                <a:uFillTx/>
                <a:latin typeface="Segoe UI" pitchFamily="34" charset="0"/>
                <a:ea typeface="+mn-ea"/>
                <a:cs typeface="+mn-cs"/>
              </a:defRPr>
            </a:lvl1pPr>
          </a:lstStyle>
          <a:p>
            <a:pPr marL="0" lvl="0" indent="0" algn="r" defTabSz="1218887" rtl="0" eaLnBrk="1" latinLnBrk="0" hangingPunct="1">
              <a:lnSpc>
                <a:spcPct val="90000"/>
              </a:lnSpc>
              <a:spcBef>
                <a:spcPct val="20000"/>
              </a:spcBef>
              <a:buSzPct val="85000"/>
              <a:buFont typeface="Arial" pitchFamily="34" charset="0"/>
              <a:buNone/>
            </a:pPr>
            <a:r>
              <a:rPr lang="en-US"/>
              <a:t>click to…</a:t>
            </a: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173758910"/>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userDrawn="1">
  <p:cSld name="Centered Text">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609600" y="6356353"/>
            <a:ext cx="2844800" cy="365125"/>
          </a:xfrm>
          <a:prstGeom prst="rect">
            <a:avLst/>
          </a:prstGeom>
        </p:spPr>
        <p:txBody>
          <a:bodyPr/>
          <a:lstStyle/>
          <a:p>
            <a:fld id="{FD5DACB9-5D84-4CE7-9B4B-05AD977395C1}" type="datetimeFigureOut">
              <a:rPr lang="en-US" smtClean="0">
                <a:solidFill>
                  <a:prstClr val="black">
                    <a:tint val="75000"/>
                  </a:prstClr>
                </a:solidFill>
              </a:rPr>
              <a:pPr/>
              <a:t>6/3/2018</a:t>
            </a:fld>
            <a:endParaRPr lang="en-US">
              <a:solidFill>
                <a:prstClr val="black">
                  <a:tint val="75000"/>
                </a:prstClr>
              </a:solidFill>
            </a:endParaRPr>
          </a:p>
        </p:txBody>
      </p:sp>
      <p:sp>
        <p:nvSpPr>
          <p:cNvPr id="4" name="Footer Placeholder 3"/>
          <p:cNvSpPr>
            <a:spLocks noGrp="1"/>
          </p:cNvSpPr>
          <p:nvPr>
            <p:ph type="ftr" sz="quarter" idx="11"/>
          </p:nvPr>
        </p:nvSpPr>
        <p:spPr>
          <a:xfrm>
            <a:off x="4165601" y="6356353"/>
            <a:ext cx="3860800" cy="365125"/>
          </a:xfrm>
          <a:prstGeom prst="rect">
            <a:avLst/>
          </a:prstGeom>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a:xfrm>
            <a:off x="8737601" y="6356353"/>
            <a:ext cx="2844800" cy="365125"/>
          </a:xfrm>
          <a:prstGeom prst="rect">
            <a:avLst/>
          </a:prstGeom>
        </p:spPr>
        <p:txBody>
          <a:bodyPr/>
          <a:lstStyle/>
          <a:p>
            <a:fld id="{CCEEC192-A182-4281-BB3C-80D5823A9BAE}"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508001" y="457200"/>
            <a:ext cx="11176000" cy="5562600"/>
          </a:xfrm>
        </p:spPr>
        <p:txBody>
          <a:bodyPr anchor="ctr" anchorCtr="0">
            <a:normAutofit/>
          </a:bodyPr>
          <a:lstStyle>
            <a:lvl1pPr algn="ctr">
              <a:buNone/>
              <a:defRPr sz="5900" baseline="0">
                <a:latin typeface="Segoe UI Light" panose="020B0502040204020203" pitchFamily="34" charset="0"/>
                <a:cs typeface="Segoe UI Light" panose="020B0502040204020203" pitchFamily="34" charset="0"/>
              </a:defRPr>
            </a:lvl1pPr>
            <a:lvl2pPr algn="ctr">
              <a:defRPr baseline="0">
                <a:latin typeface="+mj-lt"/>
              </a:defRPr>
            </a:lvl2pPr>
            <a:lvl3pPr algn="ctr">
              <a:defRPr baseline="0">
                <a:latin typeface="+mj-lt"/>
              </a:defRPr>
            </a:lvl3pPr>
            <a:lvl4pPr algn="ctr">
              <a:defRPr baseline="0">
                <a:latin typeface="+mj-lt"/>
              </a:defRPr>
            </a:lvl4pPr>
            <a:lvl5pPr algn="ctr">
              <a:defRPr baseline="0">
                <a:latin typeface="+mj-lt"/>
              </a:defRPr>
            </a:lvl5pPr>
          </a:lstStyle>
          <a:p>
            <a:pPr lvl="0"/>
            <a:r>
              <a:rPr lang="en-US"/>
              <a:t>Click to edit Master text styles</a:t>
            </a:r>
          </a:p>
        </p:txBody>
      </p:sp>
    </p:spTree>
    <p:extLst>
      <p:ext uri="{BB962C8B-B14F-4D97-AF65-F5344CB8AC3E}">
        <p14:creationId xmlns:p14="http://schemas.microsoft.com/office/powerpoint/2010/main" val="693300875"/>
      </p:ext>
    </p:extLst>
  </p:cSld>
  <p:clrMapOvr>
    <a:overrideClrMapping bg1="lt1" tx1="dk1" bg2="lt2" tx2="dk2" accent1="accent1" accent2="accent2" accent3="accent3" accent4="accent4" accent5="accent5" accent6="accent6" hlink="hlink" folHlink="folHlink"/>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508001" y="1411658"/>
            <a:ext cx="11176000" cy="2210863"/>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1664922"/>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7"/>
            <a:ext cx="1522404" cy="326167"/>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9860" y="484298"/>
            <a:ext cx="7002045" cy="1344828"/>
          </a:xfrm>
          <a:prstGeom prst="rect">
            <a:avLst/>
          </a:prstGeom>
        </p:spPr>
      </p:pic>
    </p:spTree>
    <p:extLst>
      <p:ext uri="{BB962C8B-B14F-4D97-AF65-F5344CB8AC3E}">
        <p14:creationId xmlns:p14="http://schemas.microsoft.com/office/powerpoint/2010/main" val="192665972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7"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5"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168078921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5"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0"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348988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61776086"/>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44891741"/>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4594053"/>
            <a:ext cx="7171399" cy="1793881"/>
          </a:xfrm>
          <a:noFill/>
        </p:spPr>
        <p:txBody>
          <a:bodyPr lIns="182880" tIns="146304" rIns="182880" bIns="146304">
            <a:noAutofit/>
          </a:bodyPr>
          <a:lstStyle>
            <a:lvl1pPr marL="0" indent="0">
              <a:spcBef>
                <a:spcPts val="0"/>
              </a:spcBef>
              <a:buNone/>
              <a:defRPr sz="3528" spc="0" baseline="0">
                <a:gradFill>
                  <a:gsLst>
                    <a:gs pos="75912">
                      <a:schemeClr val="tx1"/>
                    </a:gs>
                    <a:gs pos="34307">
                      <a:schemeClr val="tx1"/>
                    </a:gs>
                    <a:gs pos="43000">
                      <a:schemeClr val="tx1"/>
                    </a:gs>
                  </a:gsLst>
                  <a:lin ang="5400000" scaled="0"/>
                </a:gradFill>
                <a:latin typeface="+mj-lt"/>
              </a:defRPr>
            </a:lvl1pPr>
          </a:lstStyle>
          <a:p>
            <a:pPr lvl="0"/>
            <a:r>
              <a:rPr lang="en-US"/>
              <a:t>Speaker Name</a:t>
            </a:r>
          </a:p>
        </p:txBody>
      </p:sp>
      <p:sp>
        <p:nvSpPr>
          <p:cNvPr id="7"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6759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2" y="1186356"/>
            <a:ext cx="8964247" cy="2697988"/>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Video tit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pic>
        <p:nvPicPr>
          <p:cNvPr id="11" name="Picture 10"/>
          <p:cNvPicPr>
            <a:picLocks noChangeAspect="1"/>
          </p:cNvPicPr>
          <p:nvPr/>
        </p:nvPicPr>
        <p:blipFill>
          <a:blip r:embed="rId2"/>
          <a:stretch>
            <a:fillRect/>
          </a:stretch>
        </p:blipFill>
        <p:spPr>
          <a:xfrm>
            <a:off x="-217" y="3015597"/>
            <a:ext cx="12192434" cy="3227867"/>
          </a:xfrm>
          <a:prstGeom prst="rect">
            <a:avLst/>
          </a:prstGeom>
        </p:spPr>
      </p:pic>
    </p:spTree>
    <p:extLst>
      <p:ext uri="{BB962C8B-B14F-4D97-AF65-F5344CB8AC3E}">
        <p14:creationId xmlns:p14="http://schemas.microsoft.com/office/powerpoint/2010/main" val="1073760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75912">
                      <a:schemeClr val="tx1"/>
                    </a:gs>
                    <a:gs pos="34307">
                      <a:schemeClr val="tx1"/>
                    </a:gs>
                    <a:gs pos="43000">
                      <a:schemeClr val="tx1"/>
                    </a:gs>
                  </a:gsLst>
                  <a:lin ang="5400000" scaled="0"/>
                </a:gradFill>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88702371"/>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49799769"/>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32044878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86138798"/>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043342787"/>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927169812"/>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08393674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764547345"/>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101559483"/>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664063903"/>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706545103"/>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85475287"/>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a:t>Author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871717850"/>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a:t>Author’s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918896089"/>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78490170"/>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49675152"/>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64209690"/>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68237919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725447697"/>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521372670"/>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830217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9398667"/>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70866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a:t>Speaker Name</a:t>
            </a:r>
          </a:p>
        </p:txBody>
      </p:sp>
      <p:sp>
        <p:nvSpPr>
          <p:cNvPr id="9" name="Title 1"/>
          <p:cNvSpPr>
            <a:spLocks noGrp="1"/>
          </p:cNvSpPr>
          <p:nvPr>
            <p:ph type="title" hasCustomPrompt="1"/>
          </p:nvPr>
        </p:nvSpPr>
        <p:spPr>
          <a:xfrm>
            <a:off x="269303" y="2075840"/>
            <a:ext cx="11653459"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a:t>Presentation title</a:t>
            </a:r>
          </a:p>
        </p:txBody>
      </p:sp>
      <p:sp>
        <p:nvSpPr>
          <p:cNvPr id="4" name="Freeform 3"/>
          <p:cNvSpPr>
            <a:spLocks noChangeAspect="1" noEditPoints="1"/>
          </p:cNvSpPr>
          <p:nvPr userDrawn="1"/>
        </p:nvSpPr>
        <p:spPr bwMode="black">
          <a:xfrm>
            <a:off x="10129869"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404040"/>
              </a:solidFill>
            </a:endParaRPr>
          </a:p>
        </p:txBody>
      </p:sp>
      <p:sp>
        <p:nvSpPr>
          <p:cNvPr id="6" name="Text Placeholder 2"/>
          <p:cNvSpPr>
            <a:spLocks noGrp="1"/>
          </p:cNvSpPr>
          <p:nvPr>
            <p:ph type="body" sz="quarter" idx="13" hasCustomPrompt="1"/>
          </p:nvPr>
        </p:nvSpPr>
        <p:spPr>
          <a:xfrm>
            <a:off x="269304" y="301618"/>
            <a:ext cx="3584143" cy="567015"/>
          </a:xfrm>
        </p:spPr>
        <p:txBody>
          <a:bodyPr lIns="182880" tIns="146304" rIns="182880" bIns="146304"/>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 Here</a:t>
            </a:r>
          </a:p>
        </p:txBody>
      </p:sp>
    </p:spTree>
    <p:extLst>
      <p:ext uri="{BB962C8B-B14F-4D97-AF65-F5344CB8AC3E}">
        <p14:creationId xmlns:p14="http://schemas.microsoft.com/office/powerpoint/2010/main" val="2636789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2" y="6356352"/>
            <a:ext cx="2743200" cy="365125"/>
          </a:xfrm>
          <a:prstGeom prst="rect">
            <a:avLst/>
          </a:prstGeom>
        </p:spPr>
        <p:txBody>
          <a:bodyPr/>
          <a:lstStyle/>
          <a:p>
            <a:pPr defTabSz="914225"/>
            <a:fld id="{6ACB18F0-DF26-45CE-A95B-41AF64012CEA}" type="datetimeFigureOut">
              <a:rPr lang="en-US" smtClean="0">
                <a:solidFill>
                  <a:srgbClr val="FFFFFF"/>
                </a:solidFill>
              </a:rPr>
              <a:pPr defTabSz="914225"/>
              <a:t>6/3/2018</a:t>
            </a:fld>
            <a:endParaRPr lang="en-US">
              <a:solidFill>
                <a:srgbClr val="FFFFFF"/>
              </a:solidFill>
            </a:endParaRPr>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p>
            <a:pPr defTabSz="914225"/>
            <a:endParaRPr lang="en-US">
              <a:solidFill>
                <a:srgbClr val="FFFFFF"/>
              </a:solidFill>
            </a:endParaRPr>
          </a:p>
        </p:txBody>
      </p:sp>
      <p:sp>
        <p:nvSpPr>
          <p:cNvPr id="4" name="Slide Number Placeholder 3"/>
          <p:cNvSpPr>
            <a:spLocks noGrp="1"/>
          </p:cNvSpPr>
          <p:nvPr>
            <p:ph type="sldNum" sz="quarter" idx="12"/>
          </p:nvPr>
        </p:nvSpPr>
        <p:spPr>
          <a:xfrm>
            <a:off x="8610600" y="6356352"/>
            <a:ext cx="2743200" cy="365125"/>
          </a:xfrm>
          <a:prstGeom prst="rect">
            <a:avLst/>
          </a:prstGeom>
        </p:spPr>
        <p:txBody>
          <a:bodyPr/>
          <a:lstStyle/>
          <a:p>
            <a:pPr defTabSz="914225"/>
            <a:fld id="{BA000595-9FA3-4385-96B3-634BC7316D14}" type="slidenum">
              <a:rPr lang="en-US" smtClean="0">
                <a:solidFill>
                  <a:srgbClr val="FFFFFF"/>
                </a:solidFill>
              </a:rPr>
              <a:pPr defTabSz="914225"/>
              <a:t>‹#›</a:t>
            </a:fld>
            <a:endParaRPr lang="en-US">
              <a:solidFill>
                <a:srgbClr val="FFFFFF"/>
              </a:solidFill>
            </a:endParaRPr>
          </a:p>
        </p:txBody>
      </p:sp>
    </p:spTree>
    <p:extLst>
      <p:ext uri="{BB962C8B-B14F-4D97-AF65-F5344CB8AC3E}">
        <p14:creationId xmlns:p14="http://schemas.microsoft.com/office/powerpoint/2010/main" val="567086348"/>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457200"/>
            <a:ext cx="11379200" cy="838200"/>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203201"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5649" indent="-269824">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994400"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4061" indent="-228556">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a:xfrm>
            <a:off x="203200" y="152401"/>
            <a:ext cx="11379200" cy="381000"/>
          </a:xfrm>
        </p:spPr>
        <p:txBody>
          <a:bodyPr>
            <a:normAutofit/>
          </a:bodyPr>
          <a:lstStyle>
            <a:lvl1pPr marL="0" indent="0">
              <a:buNone/>
              <a:defRPr sz="2000" b="0" cap="all" spc="-150" baseline="0">
                <a:solidFill>
                  <a:schemeClr val="bg1"/>
                </a:solidFill>
              </a:defRPr>
            </a:lvl1pPr>
          </a:lstStyle>
          <a:p>
            <a:pPr lvl="0"/>
            <a:r>
              <a:rPr lang="pt-PT"/>
              <a:t>CLICK TO EDIT SECTION TITLE</a:t>
            </a:r>
          </a:p>
        </p:txBody>
      </p:sp>
    </p:spTree>
    <p:extLst>
      <p:ext uri="{BB962C8B-B14F-4D97-AF65-F5344CB8AC3E}">
        <p14:creationId xmlns:p14="http://schemas.microsoft.com/office/powerpoint/2010/main" val="3136034629"/>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8040879"/>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068423191"/>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9347007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711338697"/>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887896624"/>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574673936"/>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3884627474"/>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2022321145"/>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7995844"/>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3400519167"/>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186160402"/>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634830223"/>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204137699"/>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07718417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05047999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69064819"/>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38619999"/>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589301422"/>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973847993"/>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6626237"/>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835064561"/>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179171470"/>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73429482"/>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619503797"/>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43836321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33457508"/>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462468212"/>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Tree>
    <p:extLst>
      <p:ext uri="{BB962C8B-B14F-4D97-AF65-F5344CB8AC3E}">
        <p14:creationId xmlns:p14="http://schemas.microsoft.com/office/powerpoint/2010/main" val="605173541"/>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81167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426310675"/>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945374459"/>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173037359"/>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267193754"/>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3952433"/>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934407414"/>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108798714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57" indent="0">
              <a:buFont typeface="Arial" panose="020B0604020202020204" pitchFamily="34" charset="0"/>
              <a:buNone/>
              <a:defRPr sz="2400"/>
            </a:lvl2pPr>
            <a:lvl3pPr marL="914314" indent="0">
              <a:buFont typeface="Arial" panose="020B0604020202020204" pitchFamily="34" charset="0"/>
              <a:buNone/>
              <a:defRPr sz="2000"/>
            </a:lvl3pPr>
            <a:lvl4pPr marL="1371471" indent="0">
              <a:buFont typeface="Arial" panose="020B0604020202020204" pitchFamily="34" charset="0"/>
              <a:buNone/>
              <a:defRPr sz="1800"/>
            </a:lvl4pPr>
            <a:lvl5pPr marL="1828628"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algn="ctr" defTabSz="91401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57"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314"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471"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628"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3979" y="3283774"/>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2681770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49245660"/>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type="blank" preserve="1">
  <p:cSld name="Brandin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29877705"/>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2364590594"/>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7445738"/>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913856042"/>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686066" cy="102170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88"/>
            </a:lvl1pPr>
          </a:lstStyle>
          <a:p>
            <a:pPr lvl="0"/>
            <a:r>
              <a:rPr lang="en-US" dirty="0"/>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88"/>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88"/>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2"/>
            <a:ext cx="5533410"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88"/>
            </a:lvl1pPr>
          </a:lstStyle>
          <a:p>
            <a:pPr lvl="0"/>
            <a:r>
              <a:rPr lang="en-US" dirty="0"/>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70"/>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6"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7"/>
                </a:spcAft>
              </a:pPr>
              <a:r>
                <a:rPr lang="en-US" sz="2350" dirty="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21020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grpSp>
        <p:nvGrpSpPr>
          <p:cNvPr id="12" name="Group 11"/>
          <p:cNvGrpSpPr/>
          <p:nvPr userDrawn="1"/>
        </p:nvGrpSpPr>
        <p:grpSpPr>
          <a:xfrm>
            <a:off x="7342826" y="5999452"/>
            <a:ext cx="4629739" cy="615609"/>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7"/>
                </a:spcAft>
              </a:pPr>
              <a:r>
                <a:rPr lang="en-US" sz="2350" dirty="0">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2"/>
            <a:ext cx="11045195"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412173"/>
            <a:ext cx="5661415" cy="1022998"/>
          </a:xfrm>
          <a:prstGeom prst="rect">
            <a:avLst/>
          </a:prstGeom>
          <a:noFill/>
        </p:spPr>
        <p:txBody>
          <a:bodyPr wrap="square" lIns="179081" tIns="143265" rIns="179081" bIns="143265" rtlCol="0">
            <a:spAutoFit/>
          </a:bodyPr>
          <a:lstStyle/>
          <a:p>
            <a:pPr algn="l">
              <a:lnSpc>
                <a:spcPct val="90000"/>
              </a:lnSpc>
              <a:spcAft>
                <a:spcPts val="587"/>
              </a:spcAft>
            </a:pPr>
            <a:r>
              <a:rPr lang="en-US" sz="5288" dirty="0">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198126"/>
            <a:ext cx="5661415" cy="1022998"/>
          </a:xfrm>
          <a:prstGeom prst="rect">
            <a:avLst/>
          </a:prstGeom>
          <a:noFill/>
        </p:spPr>
        <p:txBody>
          <a:bodyPr wrap="square" lIns="179081" tIns="143265" rIns="179081" bIns="143265" rtlCol="0">
            <a:spAutoFit/>
          </a:bodyPr>
          <a:lstStyle/>
          <a:p>
            <a:pPr algn="l">
              <a:lnSpc>
                <a:spcPct val="90000"/>
              </a:lnSpc>
              <a:spcAft>
                <a:spcPts val="587"/>
              </a:spcAft>
            </a:pPr>
            <a:r>
              <a:rPr lang="en-US" sz="5288" dirty="0">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70"/>
            <a:ext cx="2531861"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055246"/>
            <a:ext cx="2955598"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247197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8"/>
            <a:ext cx="8964185" cy="1793090"/>
          </a:xfrm>
          <a:noFill/>
        </p:spPr>
        <p:txBody>
          <a:bodyPr lIns="146304" tIns="91440" rIns="146304" bIns="91440" anchor="t" anchorCtr="0"/>
          <a:lstStyle>
            <a:lvl1pPr>
              <a:defRPr sz="5288"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
        <p:nvSpPr>
          <p:cNvPr id="7" name="Text Placeholder 16"/>
          <p:cNvSpPr>
            <a:spLocks noGrp="1"/>
          </p:cNvSpPr>
          <p:nvPr>
            <p:ph type="body" sz="quarter" idx="13" hasCustomPrompt="1"/>
          </p:nvPr>
        </p:nvSpPr>
        <p:spPr>
          <a:xfrm>
            <a:off x="8339677" y="288559"/>
            <a:ext cx="3585699" cy="566822"/>
          </a:xfrm>
        </p:spPr>
        <p:txBody>
          <a:bodyPr lIns="182880" tIns="146304" rIns="182880" bIns="146304"/>
          <a:lstStyle>
            <a:lvl1pPr marL="0" indent="0" algn="r">
              <a:buNone/>
              <a:defRPr sz="1959">
                <a:latin typeface="+mn-lt"/>
              </a:defRPr>
            </a:lvl1pPr>
            <a:lvl2pPr marL="335775" indent="0">
              <a:buNone/>
              <a:defRPr sz="1959"/>
            </a:lvl2pPr>
            <a:lvl3pPr marL="559625" indent="0">
              <a:buNone/>
              <a:defRPr sz="1959"/>
            </a:lvl3pPr>
            <a:lvl4pPr marL="783475" indent="0">
              <a:buNone/>
              <a:defRPr sz="1959"/>
            </a:lvl4pPr>
            <a:lvl5pPr marL="1007325" indent="0">
              <a:buNone/>
              <a:defRPr sz="1959"/>
            </a:lvl5pPr>
          </a:lstStyle>
          <a:p>
            <a:pPr lvl="0"/>
            <a:r>
              <a:rPr lang="en-US" dirty="0"/>
              <a:t>Session Code</a:t>
            </a:r>
          </a:p>
        </p:txBody>
      </p:sp>
      <p:sp>
        <p:nvSpPr>
          <p:cNvPr id="8" name="Text Placeholder 16"/>
          <p:cNvSpPr>
            <a:spLocks noGrp="1"/>
          </p:cNvSpPr>
          <p:nvPr>
            <p:ph type="body" sz="quarter" idx="14" hasCustomPrompt="1"/>
          </p:nvPr>
        </p:nvSpPr>
        <p:spPr>
          <a:xfrm>
            <a:off x="269303" y="5997273"/>
            <a:ext cx="3585699" cy="566822"/>
          </a:xfrm>
        </p:spPr>
        <p:txBody>
          <a:bodyPr lIns="182880" tIns="146304" rIns="182880" bIns="146304" anchor="b"/>
          <a:lstStyle>
            <a:lvl1pPr marL="0" indent="0" algn="l">
              <a:buNone/>
              <a:defRPr sz="1959">
                <a:latin typeface="+mn-lt"/>
              </a:defRPr>
            </a:lvl1pPr>
            <a:lvl2pPr marL="335775" indent="0">
              <a:buNone/>
              <a:defRPr sz="1959"/>
            </a:lvl2pPr>
            <a:lvl3pPr marL="559625" indent="0">
              <a:buNone/>
              <a:defRPr sz="1959"/>
            </a:lvl3pPr>
            <a:lvl4pPr marL="783475" indent="0">
              <a:buNone/>
              <a:defRPr sz="1959"/>
            </a:lvl4pPr>
            <a:lvl5pPr marL="1007325" indent="0">
              <a:buNone/>
              <a:defRPr sz="1959"/>
            </a:lvl5pPr>
          </a:lstStyle>
          <a:p>
            <a:pPr lvl="0"/>
            <a:r>
              <a:rPr lang="en-US" dirty="0"/>
              <a:t>Yammer hashtag</a:t>
            </a:r>
          </a:p>
        </p:txBody>
      </p:sp>
    </p:spTree>
    <p:extLst>
      <p:ext uri="{BB962C8B-B14F-4D97-AF65-F5344CB8AC3E}">
        <p14:creationId xmlns:p14="http://schemas.microsoft.com/office/powerpoint/2010/main" val="3325823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9"/>
          </a:xfrm>
        </p:spPr>
        <p:txBody>
          <a:bodyPr>
            <a:spAutoFit/>
          </a:bodyPr>
          <a:lstStyle>
            <a:lvl1pPr marL="0" indent="0">
              <a:buNone/>
              <a:defRPr/>
            </a:lvl1pPr>
            <a:lvl2pPr marL="223851" indent="0">
              <a:buNone/>
              <a:defRPr/>
            </a:lvl2pPr>
            <a:lvl3pPr marL="447700" indent="0">
              <a:buNone/>
              <a:defRPr/>
            </a:lvl3pPr>
            <a:lvl4pPr marL="671551" indent="0">
              <a:buNone/>
              <a:defRPr/>
            </a:lvl4pPr>
            <a:lvl5pPr marL="895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51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5"/>
            <a:ext cx="11655078" cy="22637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35630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199"/>
              </a:spcBef>
              <a:buClr>
                <a:schemeClr val="tx1"/>
              </a:buClr>
              <a:buFont typeface="Wingdings" panose="05000000000000000000" pitchFamily="2" charset="2"/>
              <a:buNone/>
              <a:defRPr sz="2938" b="0">
                <a:latin typeface="+mn-lt"/>
              </a:defRPr>
            </a:lvl1pPr>
            <a:lvl2pPr marL="250277" indent="0">
              <a:buFont typeface="Wingdings" panose="05000000000000000000" pitchFamily="2" charset="2"/>
              <a:buNone/>
              <a:defRPr sz="2350" b="0"/>
            </a:lvl2pPr>
            <a:lvl3pPr marL="441482" indent="0">
              <a:buFont typeface="Wingdings" panose="05000000000000000000" pitchFamily="2" charset="2"/>
              <a:buNone/>
              <a:tabLst/>
              <a:defRPr sz="2155" b="0"/>
            </a:lvl3pPr>
            <a:lvl4pPr marL="638905" indent="0">
              <a:buFont typeface="Wingdings" panose="05000000000000000000" pitchFamily="2" charset="2"/>
              <a:buNone/>
              <a:defRPr sz="2155" b="0"/>
            </a:lvl4pPr>
            <a:lvl5pPr marL="836329" indent="0">
              <a:buFont typeface="Wingdings" panose="05000000000000000000" pitchFamily="2" charset="2"/>
              <a:buNone/>
              <a:tabLst/>
              <a:defRPr sz="215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3"/>
            <a:ext cx="5378548" cy="2412645"/>
          </a:xfrm>
        </p:spPr>
        <p:txBody>
          <a:bodyPr wrap="square">
            <a:spAutoFit/>
          </a:bodyPr>
          <a:lstStyle>
            <a:lvl1pPr marL="0" indent="0">
              <a:spcBef>
                <a:spcPts val="1199"/>
              </a:spcBef>
              <a:buClr>
                <a:schemeClr val="tx1"/>
              </a:buClr>
              <a:buFont typeface="Arial" panose="020B0604020202020204" pitchFamily="34" charset="0"/>
              <a:buNone/>
              <a:defRPr lang="en-US" sz="2938" b="0" kern="1200" spc="0" baseline="0" dirty="0">
                <a:gradFill>
                  <a:gsLst>
                    <a:gs pos="1250">
                      <a:schemeClr val="tx1"/>
                    </a:gs>
                    <a:gs pos="100000">
                      <a:schemeClr val="tx1"/>
                    </a:gs>
                  </a:gsLst>
                  <a:lin ang="5400000" scaled="0"/>
                </a:gradFill>
                <a:latin typeface="+mn-lt"/>
                <a:ea typeface="+mn-ea"/>
                <a:cs typeface="+mn-cs"/>
              </a:defRPr>
            </a:lvl1pPr>
            <a:lvl2pPr marL="250277" indent="0">
              <a:buFont typeface="Arial" panose="020B0604020202020204" pitchFamily="34" charset="0"/>
              <a:buNone/>
              <a:defRPr lang="en-US" sz="2350" b="0" kern="1200" spc="0" baseline="0" dirty="0">
                <a:gradFill>
                  <a:gsLst>
                    <a:gs pos="1250">
                      <a:schemeClr val="tx1"/>
                    </a:gs>
                    <a:gs pos="100000">
                      <a:schemeClr val="tx1"/>
                    </a:gs>
                  </a:gsLst>
                  <a:lin ang="5400000" scaled="0"/>
                </a:gradFill>
                <a:latin typeface="+mn-lt"/>
                <a:ea typeface="+mn-ea"/>
                <a:cs typeface="+mn-cs"/>
              </a:defRPr>
            </a:lvl2pPr>
            <a:lvl3pPr marL="441482" indent="0">
              <a:buFont typeface="Arial" panose="020B0604020202020204" pitchFamily="34" charset="0"/>
              <a:buNone/>
              <a:tabLst/>
              <a:defRPr lang="en-US" sz="2155" b="0" kern="1200" spc="0" baseline="0" dirty="0">
                <a:gradFill>
                  <a:gsLst>
                    <a:gs pos="1250">
                      <a:schemeClr val="tx1"/>
                    </a:gs>
                    <a:gs pos="100000">
                      <a:schemeClr val="tx1"/>
                    </a:gs>
                  </a:gsLst>
                  <a:lin ang="5400000" scaled="0"/>
                </a:gradFill>
                <a:latin typeface="+mn-lt"/>
                <a:ea typeface="+mn-ea"/>
                <a:cs typeface="+mn-cs"/>
              </a:defRPr>
            </a:lvl3pPr>
            <a:lvl4pPr marL="638905" indent="0">
              <a:buFont typeface="Arial" panose="020B0604020202020204" pitchFamily="34" charset="0"/>
              <a:buNone/>
              <a:defRPr lang="en-US" sz="2155" b="0" kern="1200" spc="0" baseline="0" dirty="0">
                <a:gradFill>
                  <a:gsLst>
                    <a:gs pos="1250">
                      <a:schemeClr val="tx1"/>
                    </a:gs>
                    <a:gs pos="100000">
                      <a:schemeClr val="tx1"/>
                    </a:gs>
                  </a:gsLst>
                  <a:lin ang="5400000" scaled="0"/>
                </a:gradFill>
                <a:latin typeface="+mn-lt"/>
                <a:ea typeface="+mn-ea"/>
                <a:cs typeface="+mn-cs"/>
              </a:defRPr>
            </a:lvl4pPr>
            <a:lvl5pPr marL="836329" indent="0">
              <a:buFont typeface="Arial" panose="020B0604020202020204" pitchFamily="34" charset="0"/>
              <a:buNone/>
              <a:tabLst/>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503662" marR="0" lvl="0" indent="-503662" algn="l" defTabSz="913361" rtl="0" eaLnBrk="1" fontAlgn="auto" latinLnBrk="0" hangingPunct="1">
              <a:lnSpc>
                <a:spcPct val="90000"/>
              </a:lnSpc>
              <a:spcBef>
                <a:spcPts val="1199"/>
              </a:spcBef>
              <a:spcAft>
                <a:spcPts val="0"/>
              </a:spcAft>
              <a:buClr>
                <a:schemeClr val="tx1"/>
              </a:buClr>
              <a:buSzPct val="90000"/>
              <a:tabLst/>
            </a:pPr>
            <a:r>
              <a:rPr lang="en-US"/>
              <a:t>Edit Master text styles</a:t>
            </a:r>
          </a:p>
          <a:p>
            <a:pPr marL="503662" marR="0" lvl="1" indent="-503662" algn="l" defTabSz="913361" rtl="0" eaLnBrk="1" fontAlgn="auto" latinLnBrk="0" hangingPunct="1">
              <a:lnSpc>
                <a:spcPct val="90000"/>
              </a:lnSpc>
              <a:spcBef>
                <a:spcPts val="1199"/>
              </a:spcBef>
              <a:spcAft>
                <a:spcPts val="0"/>
              </a:spcAft>
              <a:buClr>
                <a:schemeClr val="tx1"/>
              </a:buClr>
              <a:buSzPct val="90000"/>
              <a:tabLst/>
            </a:pPr>
            <a:r>
              <a:rPr lang="en-US"/>
              <a:t>Second level</a:t>
            </a:r>
          </a:p>
          <a:p>
            <a:pPr marL="503662" marR="0" lvl="2" indent="-503662" algn="l" defTabSz="913361" rtl="0" eaLnBrk="1" fontAlgn="auto" latinLnBrk="0" hangingPunct="1">
              <a:lnSpc>
                <a:spcPct val="90000"/>
              </a:lnSpc>
              <a:spcBef>
                <a:spcPts val="1199"/>
              </a:spcBef>
              <a:spcAft>
                <a:spcPts val="0"/>
              </a:spcAft>
              <a:buClr>
                <a:schemeClr val="tx1"/>
              </a:buClr>
              <a:buSzPct val="90000"/>
              <a:tabLst/>
            </a:pPr>
            <a:r>
              <a:rPr lang="en-US"/>
              <a:t>Third level</a:t>
            </a:r>
          </a:p>
          <a:p>
            <a:pPr marL="503662" marR="0" lvl="3" indent="-503662" algn="l" defTabSz="913361" rtl="0" eaLnBrk="1" fontAlgn="auto" latinLnBrk="0" hangingPunct="1">
              <a:lnSpc>
                <a:spcPct val="90000"/>
              </a:lnSpc>
              <a:spcBef>
                <a:spcPts val="1199"/>
              </a:spcBef>
              <a:spcAft>
                <a:spcPts val="0"/>
              </a:spcAft>
              <a:buClr>
                <a:schemeClr val="tx1"/>
              </a:buClr>
              <a:buSzPct val="90000"/>
              <a:tabLst/>
            </a:pPr>
            <a:r>
              <a:rPr lang="en-US"/>
              <a:t>Fourth level</a:t>
            </a:r>
          </a:p>
          <a:p>
            <a:pPr marL="503662" marR="0" lvl="4" indent="-503662" algn="l" defTabSz="913361" rtl="0" eaLnBrk="1" fontAlgn="auto" latinLnBrk="0" hangingPunct="1">
              <a:lnSpc>
                <a:spcPct val="90000"/>
              </a:lnSpc>
              <a:spcBef>
                <a:spcPts val="1199"/>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9621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726930843"/>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6959" indent="-226959">
              <a:spcBef>
                <a:spcPts val="1199"/>
              </a:spcBef>
              <a:buClr>
                <a:schemeClr val="tx1"/>
              </a:buClr>
              <a:buFont typeface="Wingdings" panose="05000000000000000000" pitchFamily="2" charset="2"/>
              <a:buChar char=""/>
              <a:defRPr sz="2938" b="0">
                <a:latin typeface="+mn-lt"/>
              </a:defRPr>
            </a:lvl1pPr>
            <a:lvl2pPr marL="418165" indent="-167887">
              <a:buFont typeface="Wingdings" panose="05000000000000000000" pitchFamily="2" charset="2"/>
              <a:buChar char=""/>
              <a:defRPr sz="2350" b="0"/>
            </a:lvl2pPr>
            <a:lvl3pPr marL="626470" indent="-184988">
              <a:buFont typeface="Wingdings" panose="05000000000000000000" pitchFamily="2" charset="2"/>
              <a:buChar char=""/>
              <a:tabLst/>
              <a:defRPr sz="2155" b="0"/>
            </a:lvl3pPr>
            <a:lvl4pPr marL="811456" indent="-172551">
              <a:buFont typeface="Wingdings" panose="05000000000000000000" pitchFamily="2" charset="2"/>
              <a:buChar char=""/>
              <a:defRPr sz="2155" b="0"/>
            </a:lvl4pPr>
            <a:lvl5pPr marL="1002663" indent="-166333">
              <a:buFont typeface="Wingdings" panose="05000000000000000000" pitchFamily="2" charset="2"/>
              <a:buChar char=""/>
              <a:tabLst/>
              <a:defRPr sz="215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3"/>
            <a:ext cx="5378548" cy="2412645"/>
          </a:xfrm>
        </p:spPr>
        <p:txBody>
          <a:bodyPr wrap="square">
            <a:spAutoFit/>
          </a:bodyPr>
          <a:lstStyle>
            <a:lvl1pPr marL="281368" indent="-281368">
              <a:spcBef>
                <a:spcPts val="1199"/>
              </a:spcBef>
              <a:buClr>
                <a:schemeClr val="tx1"/>
              </a:buClr>
              <a:buFont typeface="Arial" pitchFamily="34" charset="0"/>
              <a:buChar char="•"/>
              <a:defRPr lang="en-US" sz="2938" b="0" kern="1200" spc="0" baseline="0" dirty="0">
                <a:gradFill>
                  <a:gsLst>
                    <a:gs pos="1250">
                      <a:schemeClr val="tx1"/>
                    </a:gs>
                    <a:gs pos="100000">
                      <a:schemeClr val="tx1"/>
                    </a:gs>
                  </a:gsLst>
                  <a:lin ang="5400000" scaled="0"/>
                </a:gradFill>
                <a:latin typeface="+mn-lt"/>
                <a:ea typeface="+mn-ea"/>
                <a:cs typeface="+mn-cs"/>
              </a:defRPr>
            </a:lvl1pPr>
            <a:lvl2pPr marL="586053" indent="-335775">
              <a:defRPr lang="en-US" sz="2350" b="0" kern="1200" spc="0" baseline="0" dirty="0">
                <a:gradFill>
                  <a:gsLst>
                    <a:gs pos="1250">
                      <a:schemeClr val="tx1"/>
                    </a:gs>
                    <a:gs pos="100000">
                      <a:schemeClr val="tx1"/>
                    </a:gs>
                  </a:gsLst>
                  <a:lin ang="5400000" scaled="0"/>
                </a:gradFill>
                <a:latin typeface="+mn-lt"/>
                <a:ea typeface="+mn-ea"/>
                <a:cs typeface="+mn-cs"/>
              </a:defRPr>
            </a:lvl2pPr>
            <a:lvl3pPr marL="777257" indent="-335775">
              <a:tabLst/>
              <a:defRPr lang="en-US" sz="2155" b="0" kern="1200" spc="0" baseline="0" dirty="0">
                <a:gradFill>
                  <a:gsLst>
                    <a:gs pos="1250">
                      <a:schemeClr val="tx1"/>
                    </a:gs>
                    <a:gs pos="100000">
                      <a:schemeClr val="tx1"/>
                    </a:gs>
                  </a:gsLst>
                  <a:lin ang="5400000" scaled="0"/>
                </a:gradFill>
                <a:latin typeface="+mn-lt"/>
                <a:ea typeface="+mn-ea"/>
                <a:cs typeface="+mn-cs"/>
              </a:defRPr>
            </a:lvl3pPr>
            <a:lvl4pPr marL="974680" indent="-335775">
              <a:defRPr lang="en-US" sz="2155" b="0" kern="1200" spc="0" baseline="0" dirty="0">
                <a:gradFill>
                  <a:gsLst>
                    <a:gs pos="1250">
                      <a:schemeClr val="tx1"/>
                    </a:gs>
                    <a:gs pos="100000">
                      <a:schemeClr val="tx1"/>
                    </a:gs>
                  </a:gsLst>
                  <a:lin ang="5400000" scaled="0"/>
                </a:gradFill>
                <a:latin typeface="+mn-lt"/>
                <a:ea typeface="+mn-ea"/>
                <a:cs typeface="+mn-cs"/>
              </a:defRPr>
            </a:lvl4pPr>
            <a:lvl5pPr marL="1172104" indent="-335775">
              <a:tabLst/>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226959" marR="0" lvl="0"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Edit Master text styles</a:t>
            </a:r>
          </a:p>
          <a:p>
            <a:pPr marL="226959" marR="0" lvl="1"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Second level</a:t>
            </a:r>
          </a:p>
          <a:p>
            <a:pPr marL="226959" marR="0" lvl="2"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Third level</a:t>
            </a:r>
          </a:p>
          <a:p>
            <a:pPr marL="226959" marR="0" lvl="3"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Fourth level</a:t>
            </a:r>
          </a:p>
          <a:p>
            <a:pPr marL="226959" marR="0" lvl="4"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8824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6411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58794"/>
          </a:xfrm>
          <a:noFill/>
        </p:spPr>
        <p:txBody>
          <a:bodyPr tIns="91440" bIns="91440" anchor="t" anchorCtr="0">
            <a:spAutoFit/>
          </a:bodyPr>
          <a:lstStyle>
            <a:lvl1pPr>
              <a:defRPr sz="705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3"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0828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7"/>
            <a:ext cx="9859116" cy="1158794"/>
          </a:xfrm>
          <a:noFill/>
        </p:spPr>
        <p:txBody>
          <a:bodyPr tIns="91440" bIns="91440" anchor="t" anchorCtr="0">
            <a:spAutoFit/>
          </a:bodyPr>
          <a:lstStyle>
            <a:lvl1pPr>
              <a:defRPr lang="en-US" sz="705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42702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2386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79620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5"/>
          </a:xfrm>
        </p:spPr>
        <p:txBody>
          <a:bodyPr wrap="square" anchor="ctr">
            <a:spAutoFit/>
          </a:bodyPr>
          <a:lstStyle>
            <a:lvl1pPr>
              <a:defRPr sz="4701"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1"/>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7376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49581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72304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6"/>
            <a:ext cx="10249783" cy="1009694"/>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1"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80" y="4403248"/>
            <a:ext cx="10933243" cy="2163685"/>
          </a:xfrm>
          <a:prstGeom prst="rect">
            <a:avLst/>
          </a:prstGeom>
          <a:noFill/>
        </p:spPr>
        <p:txBody>
          <a:bodyPr wrap="none" lIns="179081" tIns="143265" rIns="179081" bIns="143265" rtlCol="0" anchor="ctr">
            <a:spAutoFit/>
          </a:bodyPr>
          <a:lstStyle/>
          <a:p>
            <a:pPr algn="ctr">
              <a:lnSpc>
                <a:spcPct val="90000"/>
              </a:lnSpc>
              <a:spcBef>
                <a:spcPts val="1175"/>
              </a:spcBef>
              <a:spcAft>
                <a:spcPts val="587"/>
              </a:spcAft>
            </a:pPr>
            <a:r>
              <a:rPr lang="en-US" sz="2155" dirty="0">
                <a:gradFill>
                  <a:gsLst>
                    <a:gs pos="2917">
                      <a:schemeClr val="tx1"/>
                    </a:gs>
                    <a:gs pos="30000">
                      <a:schemeClr val="tx1"/>
                    </a:gs>
                  </a:gsLst>
                  <a:lin ang="5400000" scaled="0"/>
                </a:gradFill>
              </a:rPr>
              <a:t>Microsoft Ready content is </a:t>
            </a: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5"/>
              </a:spcBef>
              <a:spcAft>
                <a:spcPts val="587"/>
              </a:spcAft>
            </a:pP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75"/>
              </a:spcBef>
              <a:spcAft>
                <a:spcPts val="587"/>
              </a:spcAft>
            </a:pP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5"/>
              </a:spcBef>
              <a:spcAft>
                <a:spcPts val="587"/>
              </a:spcAft>
            </a:pPr>
            <a:r>
              <a:rPr lang="en-US" sz="2155"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36501192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1247955"/>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70" tIns="45670" rIns="45670" bIns="45670" numCol="1" spcCol="0" rtlCol="0" fromWordArt="0" anchor="ctr" anchorCtr="0" forceAA="0" compatLnSpc="1">
            <a:prstTxWarp prst="textNoShape">
              <a:avLst/>
            </a:prstTxWarp>
            <a:noAutofit/>
          </a:bodyPr>
          <a:lstStyle/>
          <a:p>
            <a:pPr algn="ctr" defTabSz="913097" fontAlgn="base">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2222978"/>
          </a:xfrm>
        </p:spPr>
        <p:txBody>
          <a:bodyPr/>
          <a:lstStyle>
            <a:lvl1pPr marL="0" indent="0">
              <a:buNone/>
              <a:defRPr sz="3231">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3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46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763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2915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081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3"/>
          </a:xfrm>
          <a:prstGeom prst="rect">
            <a:avLst/>
          </a:prstGeom>
          <a:noFill/>
          <a:ln w="12700">
            <a:noFill/>
            <a:miter lim="800000"/>
            <a:headEnd type="none" w="sm" len="sm"/>
            <a:tailEnd type="none" w="sm" len="sm"/>
          </a:ln>
          <a:effectLst/>
        </p:spPr>
        <p:txBody>
          <a:bodyPr vert="horz" wrap="square" lIns="179081" tIns="179081" rIns="179081" bIns="179081" numCol="1" anchor="t" anchorCtr="0" compatLnSpc="1">
            <a:prstTxWarp prst="textNoShape">
              <a:avLst/>
            </a:prstTxWarp>
            <a:spAutoFit/>
          </a:bodyPr>
          <a:lstStyle/>
          <a:p>
            <a:pPr defTabSz="912918" eaLnBrk="0" hangingPunct="0"/>
            <a:r>
              <a:rPr lang="en-US" sz="68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Tree>
    <p:extLst>
      <p:ext uri="{BB962C8B-B14F-4D97-AF65-F5344CB8AC3E}">
        <p14:creationId xmlns:p14="http://schemas.microsoft.com/office/powerpoint/2010/main" val="34807590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476" indent="-284476">
              <a:buClr>
                <a:schemeClr val="tx1"/>
              </a:buClr>
              <a:buSzPct val="90000"/>
              <a:buFont typeface="Arial" pitchFamily="34" charset="0"/>
              <a:buChar char="•"/>
              <a:defRPr sz="352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625" indent="-275150">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102" indent="-284476">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952" indent="-223851">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802" indent="-223851">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3"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7288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02490848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52B68DB-4927-4BD3-938D-8334F2931D34}" type="datetimeFigureOut">
              <a:rPr lang="en-US" smtClean="0"/>
              <a:t>6/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12785D-4E68-453F-B46D-BBB11178F01D}" type="slidenum">
              <a:rPr lang="en-US" smtClean="0"/>
              <a:t>‹#›</a:t>
            </a:fld>
            <a:endParaRPr lang="en-US"/>
          </a:p>
        </p:txBody>
      </p:sp>
    </p:spTree>
    <p:extLst>
      <p:ext uri="{BB962C8B-B14F-4D97-AF65-F5344CB8AC3E}">
        <p14:creationId xmlns:p14="http://schemas.microsoft.com/office/powerpoint/2010/main" val="2338961749"/>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cSld name="Title Only - Dark">
    <p:bg>
      <p:bgPr>
        <a:solidFill>
          <a:srgbClr val="24242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889230146"/>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5273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Slide_Option 1 - Preferred">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6274911" cy="1793090"/>
          </a:xfrm>
          <a:noFill/>
        </p:spPr>
        <p:txBody>
          <a:bodyPr lIns="146304" tIns="91440" rIns="146304" bIns="91440" anchor="t" anchorCtr="0"/>
          <a:lstStyle>
            <a:lvl1pPr>
              <a:defRPr sz="5288"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6274912" cy="1792326"/>
          </a:xfrm>
          <a:noFill/>
        </p:spPr>
        <p:txBody>
          <a:bodyPr lIns="146304" tIns="109728" rIns="146304" bIns="109728">
            <a:noAutofit/>
          </a:bodyPr>
          <a:lstStyle>
            <a:lvl1pPr marL="0" indent="0">
              <a:spcBef>
                <a:spcPts val="0"/>
              </a:spcBef>
              <a:buNone/>
              <a:defRPr sz="3133"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212" y="6123275"/>
            <a:ext cx="1231945" cy="263937"/>
          </a:xfrm>
          <a:prstGeom prst="rect">
            <a:avLst/>
          </a:prstGeom>
        </p:spPr>
      </p:pic>
    </p:spTree>
    <p:extLst>
      <p:ext uri="{BB962C8B-B14F-4D97-AF65-F5344CB8AC3E}">
        <p14:creationId xmlns:p14="http://schemas.microsoft.com/office/powerpoint/2010/main" val="27415967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59"/>
            </a:lvl2pPr>
            <a:lvl3pPr marL="223812" indent="0">
              <a:buNone/>
              <a:defRPr/>
            </a:lvl3pPr>
            <a:lvl4pPr marL="447624" indent="0">
              <a:buNone/>
              <a:defRPr/>
            </a:lvl4pPr>
            <a:lvl5pPr marL="67143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0118519"/>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4"/>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532054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7306529"/>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199"/>
              </a:spcBef>
              <a:buClr>
                <a:schemeClr val="tx1"/>
              </a:buClr>
              <a:buFont typeface="Wingdings" pitchFamily="2" charset="2"/>
              <a:buNone/>
              <a:defRPr sz="3133"/>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199"/>
              </a:spcBef>
              <a:buClr>
                <a:schemeClr val="tx1"/>
              </a:buClr>
              <a:buFont typeface="Wingdings" pitchFamily="2" charset="2"/>
              <a:buNone/>
              <a:defRPr sz="3133"/>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0772826"/>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377940"/>
          </a:xfrm>
        </p:spPr>
        <p:txBody>
          <a:bodyPr wrap="square">
            <a:spAutoFit/>
          </a:bodyPr>
          <a:lstStyle>
            <a:lvl1pPr marL="281320" indent="-281320">
              <a:spcBef>
                <a:spcPts val="1199"/>
              </a:spcBef>
              <a:buClr>
                <a:schemeClr val="tx1"/>
              </a:buClr>
              <a:buFont typeface="Arial" pitchFamily="34" charset="0"/>
              <a:buChar char="•"/>
              <a:defRPr sz="3133"/>
            </a:lvl1pPr>
            <a:lvl2pPr marL="520040" indent="-228311">
              <a:defRPr sz="2350"/>
            </a:lvl2pPr>
            <a:lvl3pPr marL="684932" indent="-164891">
              <a:tabLst/>
              <a:defRPr sz="1959"/>
            </a:lvl3pPr>
            <a:lvl4pPr marL="862506" indent="-177575">
              <a:defRPr/>
            </a:lvl4pPr>
            <a:lvl5pPr marL="1027398" indent="-16489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7"/>
            <a:ext cx="5378548" cy="2377940"/>
          </a:xfrm>
        </p:spPr>
        <p:txBody>
          <a:bodyPr wrap="square">
            <a:spAutoFit/>
          </a:bodyPr>
          <a:lstStyle>
            <a:lvl1pPr marL="281320" indent="-281320">
              <a:spcBef>
                <a:spcPts val="1199"/>
              </a:spcBef>
              <a:buClr>
                <a:schemeClr val="tx1"/>
              </a:buClr>
              <a:buFont typeface="Arial" pitchFamily="34" charset="0"/>
              <a:buChar char="•"/>
              <a:defRPr sz="3133"/>
            </a:lvl1pPr>
            <a:lvl2pPr marL="520040" indent="-228311">
              <a:defRPr sz="2350"/>
            </a:lvl2pPr>
            <a:lvl3pPr marL="684932" indent="-164891">
              <a:tabLst/>
              <a:defRPr sz="1959"/>
            </a:lvl3pPr>
            <a:lvl4pPr marL="862506" indent="-177575">
              <a:defRPr/>
            </a:lvl4pPr>
            <a:lvl5pPr marL="1027398" indent="-16489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8939464"/>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3130212"/>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4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78565"/>
          </a:xfrm>
          <a:noFill/>
        </p:spPr>
        <p:txBody>
          <a:bodyPr lIns="182880" tIns="146304" rIns="182880" bIns="146304">
            <a:spAutoFit/>
          </a:bodyPr>
          <a:lstStyle>
            <a:lvl1pPr marL="0" indent="0">
              <a:spcBef>
                <a:spcPts val="0"/>
              </a:spcBef>
              <a:buNone/>
              <a:defRPr sz="3524"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285620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49"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041071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74854"/>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4162765"/>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93221885"/>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0249688"/>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1727798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282830"/>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2163008"/>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1472436"/>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8592091"/>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5005698"/>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63" tIns="45663" rIns="45663" bIns="45663" numCol="1" spcCol="0" rtlCol="0" fromWordArt="0" anchor="ctr" anchorCtr="0" forceAA="0" compatLnSpc="1">
            <a:prstTxWarp prst="textNoShape">
              <a:avLst/>
            </a:prstTxWarp>
            <a:noAutofit/>
          </a:bodyPr>
          <a:lstStyle/>
          <a:p>
            <a:pPr algn="ctr" defTabSz="912941" fontAlgn="base">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1">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2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750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898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8720215"/>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057" tIns="143245" rIns="179057" bIns="143245" numCol="1" anchor="t" anchorCtr="0" compatLnSpc="1">
            <a:prstTxWarp prst="textNoShape">
              <a:avLst/>
            </a:prstTxWarp>
            <a:spAutoFit/>
          </a:bodyPr>
          <a:lstStyle/>
          <a:p>
            <a:pPr defTabSz="912763" eaLnBrk="0" hangingPunct="0"/>
            <a:r>
              <a:rPr lang="en-US" sz="685" dirty="0">
                <a:gradFill>
                  <a:gsLst>
                    <a:gs pos="0">
                      <a:schemeClr val="tx1"/>
                    </a:gs>
                    <a:gs pos="100000">
                      <a:schemeClr val="tx1"/>
                    </a:gs>
                  </a:gsLst>
                  <a:lin ang="5400000" scaled="0"/>
                </a:gradFill>
                <a:cs typeface="Segoe UI" pitchFamily="34" charset="0"/>
              </a:rPr>
              <a:t>© 2017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849617596"/>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428" indent="-284428">
              <a:buClr>
                <a:schemeClr val="tx1"/>
              </a:buClr>
              <a:buSzPct val="90000"/>
              <a:buFont typeface="Arial" pitchFamily="34" charset="0"/>
              <a:buChar char="•"/>
              <a:defRPr sz="3524">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530" indent="-275104">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3958" indent="-284428">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770" indent="-223812">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583" indent="-223812">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2"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97802569"/>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3"/>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397"/>
            </a:lvl1pPr>
            <a:lvl2pPr marL="456619" indent="0" algn="ctr">
              <a:buNone/>
              <a:defRPr sz="1998"/>
            </a:lvl2pPr>
            <a:lvl3pPr marL="913239" indent="0" algn="ctr">
              <a:buNone/>
              <a:defRPr sz="1798"/>
            </a:lvl3pPr>
            <a:lvl4pPr marL="1369857" indent="0" algn="ctr">
              <a:buNone/>
              <a:defRPr sz="1598"/>
            </a:lvl4pPr>
            <a:lvl5pPr marL="1826476" indent="0" algn="ctr">
              <a:buNone/>
              <a:defRPr sz="1598"/>
            </a:lvl5pPr>
            <a:lvl6pPr marL="2283096" indent="0" algn="ctr">
              <a:buNone/>
              <a:defRPr sz="1598"/>
            </a:lvl6pPr>
            <a:lvl7pPr marL="2739715" indent="0" algn="ctr">
              <a:buNone/>
              <a:defRPr sz="1598"/>
            </a:lvl7pPr>
            <a:lvl8pPr marL="3196335" indent="0" algn="ctr">
              <a:buNone/>
              <a:defRPr sz="1598"/>
            </a:lvl8pPr>
            <a:lvl9pPr marL="3652954" indent="0" algn="ctr">
              <a:buNone/>
              <a:defRPr sz="1598"/>
            </a:lvl9pPr>
          </a:lstStyle>
          <a:p>
            <a:r>
              <a:rPr lang="en-US"/>
              <a:t>Click to edit Master subtitle style</a:t>
            </a:r>
          </a:p>
        </p:txBody>
      </p:sp>
      <p:sp>
        <p:nvSpPr>
          <p:cNvPr id="4" name="Date Placeholder 3"/>
          <p:cNvSpPr>
            <a:spLocks noGrp="1"/>
          </p:cNvSpPr>
          <p:nvPr>
            <p:ph type="dt" sz="half" idx="10"/>
          </p:nvPr>
        </p:nvSpPr>
        <p:spPr/>
        <p:txBody>
          <a:bodyPr/>
          <a:lstStyle/>
          <a:p>
            <a:fld id="{DEC3E3B9-70CA-4D48-8F08-30C31143888B}" type="datetimeFigureOut">
              <a:rPr lang="en-US" smtClean="0"/>
              <a:t>6/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505429408"/>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672900"/>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5993"/>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397">
                <a:solidFill>
                  <a:schemeClr val="tx1">
                    <a:tint val="75000"/>
                  </a:schemeClr>
                </a:solidFill>
              </a:defRPr>
            </a:lvl1pPr>
            <a:lvl2pPr marL="456619" indent="0">
              <a:buNone/>
              <a:defRPr sz="1998">
                <a:solidFill>
                  <a:schemeClr val="tx1">
                    <a:tint val="75000"/>
                  </a:schemeClr>
                </a:solidFill>
              </a:defRPr>
            </a:lvl2pPr>
            <a:lvl3pPr marL="913239" indent="0">
              <a:buNone/>
              <a:defRPr sz="1798">
                <a:solidFill>
                  <a:schemeClr val="tx1">
                    <a:tint val="75000"/>
                  </a:schemeClr>
                </a:solidFill>
              </a:defRPr>
            </a:lvl3pPr>
            <a:lvl4pPr marL="1369857" indent="0">
              <a:buNone/>
              <a:defRPr sz="1598">
                <a:solidFill>
                  <a:schemeClr val="tx1">
                    <a:tint val="75000"/>
                  </a:schemeClr>
                </a:solidFill>
              </a:defRPr>
            </a:lvl4pPr>
            <a:lvl5pPr marL="1826476" indent="0">
              <a:buNone/>
              <a:defRPr sz="1598">
                <a:solidFill>
                  <a:schemeClr val="tx1">
                    <a:tint val="75000"/>
                  </a:schemeClr>
                </a:solidFill>
              </a:defRPr>
            </a:lvl5pPr>
            <a:lvl6pPr marL="2283096" indent="0">
              <a:buNone/>
              <a:defRPr sz="1598">
                <a:solidFill>
                  <a:schemeClr val="tx1">
                    <a:tint val="75000"/>
                  </a:schemeClr>
                </a:solidFill>
              </a:defRPr>
            </a:lvl6pPr>
            <a:lvl7pPr marL="2739715" indent="0">
              <a:buNone/>
              <a:defRPr sz="1598">
                <a:solidFill>
                  <a:schemeClr val="tx1">
                    <a:tint val="75000"/>
                  </a:schemeClr>
                </a:solidFill>
              </a:defRPr>
            </a:lvl7pPr>
            <a:lvl8pPr marL="3196335" indent="0">
              <a:buNone/>
              <a:defRPr sz="1598">
                <a:solidFill>
                  <a:schemeClr val="tx1">
                    <a:tint val="75000"/>
                  </a:schemeClr>
                </a:solidFill>
              </a:defRPr>
            </a:lvl8pPr>
            <a:lvl9pPr marL="3652954" indent="0">
              <a:buNone/>
              <a:defRPr sz="159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C3E3B9-70CA-4D48-8F08-30C31143888B}" type="datetimeFigureOut">
              <a:rPr lang="en-US" smtClean="0"/>
              <a:t>6/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359179540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97513918"/>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C3E3B9-70CA-4D48-8F08-30C31143888B}" type="datetimeFigureOut">
              <a:rPr lang="en-US" smtClean="0"/>
              <a:t>6/4/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2871211001"/>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397" b="1"/>
            </a:lvl1pPr>
            <a:lvl2pPr marL="456619" indent="0">
              <a:buNone/>
              <a:defRPr sz="1998" b="1"/>
            </a:lvl2pPr>
            <a:lvl3pPr marL="913239" indent="0">
              <a:buNone/>
              <a:defRPr sz="1798" b="1"/>
            </a:lvl3pPr>
            <a:lvl4pPr marL="1369857" indent="0">
              <a:buNone/>
              <a:defRPr sz="1598" b="1"/>
            </a:lvl4pPr>
            <a:lvl5pPr marL="1826476" indent="0">
              <a:buNone/>
              <a:defRPr sz="1598" b="1"/>
            </a:lvl5pPr>
            <a:lvl6pPr marL="2283096" indent="0">
              <a:buNone/>
              <a:defRPr sz="1598" b="1"/>
            </a:lvl6pPr>
            <a:lvl7pPr marL="2739715" indent="0">
              <a:buNone/>
              <a:defRPr sz="1598" b="1"/>
            </a:lvl7pPr>
            <a:lvl8pPr marL="3196335" indent="0">
              <a:buNone/>
              <a:defRPr sz="1598" b="1"/>
            </a:lvl8pPr>
            <a:lvl9pPr marL="3652954" indent="0">
              <a:buNone/>
              <a:defRPr sz="1598"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397" b="1"/>
            </a:lvl1pPr>
            <a:lvl2pPr marL="456619" indent="0">
              <a:buNone/>
              <a:defRPr sz="1998" b="1"/>
            </a:lvl2pPr>
            <a:lvl3pPr marL="913239" indent="0">
              <a:buNone/>
              <a:defRPr sz="1798" b="1"/>
            </a:lvl3pPr>
            <a:lvl4pPr marL="1369857" indent="0">
              <a:buNone/>
              <a:defRPr sz="1598" b="1"/>
            </a:lvl4pPr>
            <a:lvl5pPr marL="1826476" indent="0">
              <a:buNone/>
              <a:defRPr sz="1598" b="1"/>
            </a:lvl5pPr>
            <a:lvl6pPr marL="2283096" indent="0">
              <a:buNone/>
              <a:defRPr sz="1598" b="1"/>
            </a:lvl6pPr>
            <a:lvl7pPr marL="2739715" indent="0">
              <a:buNone/>
              <a:defRPr sz="1598" b="1"/>
            </a:lvl7pPr>
            <a:lvl8pPr marL="3196335" indent="0">
              <a:buNone/>
              <a:defRPr sz="1598" b="1"/>
            </a:lvl8pPr>
            <a:lvl9pPr marL="3652954" indent="0">
              <a:buNone/>
              <a:defRPr sz="1598"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C3E3B9-70CA-4D48-8F08-30C31143888B}" type="datetimeFigureOut">
              <a:rPr lang="en-US" smtClean="0"/>
              <a:t>6/4/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1810301760"/>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C3E3B9-70CA-4D48-8F08-30C31143888B}" type="datetimeFigureOut">
              <a:rPr lang="en-US" smtClean="0"/>
              <a:t>6/4/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1510209927"/>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C3E3B9-70CA-4D48-8F08-30C31143888B}" type="datetimeFigureOut">
              <a:rPr lang="en-US" smtClean="0"/>
              <a:t>6/4/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3455750179"/>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6"/>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196"/>
            </a:lvl1pPr>
            <a:lvl2pPr>
              <a:defRPr sz="2797"/>
            </a:lvl2pPr>
            <a:lvl3pPr>
              <a:defRPr sz="2397"/>
            </a:lvl3pPr>
            <a:lvl4pPr>
              <a:defRPr sz="1998"/>
            </a:lvl4pPr>
            <a:lvl5pPr>
              <a:defRPr sz="1998"/>
            </a:lvl5pPr>
            <a:lvl6pPr>
              <a:defRPr sz="1998"/>
            </a:lvl6pPr>
            <a:lvl7pPr>
              <a:defRPr sz="1998"/>
            </a:lvl7pPr>
            <a:lvl8pPr>
              <a:defRPr sz="1998"/>
            </a:lvl8pPr>
            <a:lvl9pPr>
              <a:defRPr sz="199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598"/>
            </a:lvl1pPr>
            <a:lvl2pPr marL="456619" indent="0">
              <a:buNone/>
              <a:defRPr sz="1398"/>
            </a:lvl2pPr>
            <a:lvl3pPr marL="913239" indent="0">
              <a:buNone/>
              <a:defRPr sz="1199"/>
            </a:lvl3pPr>
            <a:lvl4pPr marL="1369857" indent="0">
              <a:buNone/>
              <a:defRPr sz="999"/>
            </a:lvl4pPr>
            <a:lvl5pPr marL="1826476" indent="0">
              <a:buNone/>
              <a:defRPr sz="999"/>
            </a:lvl5pPr>
            <a:lvl6pPr marL="2283096" indent="0">
              <a:buNone/>
              <a:defRPr sz="999"/>
            </a:lvl6pPr>
            <a:lvl7pPr marL="2739715" indent="0">
              <a:buNone/>
              <a:defRPr sz="999"/>
            </a:lvl7pPr>
            <a:lvl8pPr marL="3196335" indent="0">
              <a:buNone/>
              <a:defRPr sz="999"/>
            </a:lvl8pPr>
            <a:lvl9pPr marL="3652954" indent="0">
              <a:buNone/>
              <a:defRPr sz="99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6/4/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3475246468"/>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6"/>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196"/>
            </a:lvl1pPr>
            <a:lvl2pPr marL="456619" indent="0">
              <a:buNone/>
              <a:defRPr sz="2797"/>
            </a:lvl2pPr>
            <a:lvl3pPr marL="913239" indent="0">
              <a:buNone/>
              <a:defRPr sz="2397"/>
            </a:lvl3pPr>
            <a:lvl4pPr marL="1369857" indent="0">
              <a:buNone/>
              <a:defRPr sz="1998"/>
            </a:lvl4pPr>
            <a:lvl5pPr marL="1826476" indent="0">
              <a:buNone/>
              <a:defRPr sz="1998"/>
            </a:lvl5pPr>
            <a:lvl6pPr marL="2283096" indent="0">
              <a:buNone/>
              <a:defRPr sz="1998"/>
            </a:lvl6pPr>
            <a:lvl7pPr marL="2739715" indent="0">
              <a:buNone/>
              <a:defRPr sz="1998"/>
            </a:lvl7pPr>
            <a:lvl8pPr marL="3196335" indent="0">
              <a:buNone/>
              <a:defRPr sz="1998"/>
            </a:lvl8pPr>
            <a:lvl9pPr marL="3652954" indent="0">
              <a:buNone/>
              <a:defRPr sz="1998"/>
            </a:lvl9pPr>
          </a:lstStyle>
          <a:p>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598"/>
            </a:lvl1pPr>
            <a:lvl2pPr marL="456619" indent="0">
              <a:buNone/>
              <a:defRPr sz="1398"/>
            </a:lvl2pPr>
            <a:lvl3pPr marL="913239" indent="0">
              <a:buNone/>
              <a:defRPr sz="1199"/>
            </a:lvl3pPr>
            <a:lvl4pPr marL="1369857" indent="0">
              <a:buNone/>
              <a:defRPr sz="999"/>
            </a:lvl4pPr>
            <a:lvl5pPr marL="1826476" indent="0">
              <a:buNone/>
              <a:defRPr sz="999"/>
            </a:lvl5pPr>
            <a:lvl6pPr marL="2283096" indent="0">
              <a:buNone/>
              <a:defRPr sz="999"/>
            </a:lvl6pPr>
            <a:lvl7pPr marL="2739715" indent="0">
              <a:buNone/>
              <a:defRPr sz="999"/>
            </a:lvl7pPr>
            <a:lvl8pPr marL="3196335" indent="0">
              <a:buNone/>
              <a:defRPr sz="999"/>
            </a:lvl8pPr>
            <a:lvl9pPr marL="3652954" indent="0">
              <a:buNone/>
              <a:defRPr sz="99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6/4/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424780340"/>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2787871915"/>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3821964972"/>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7761" y="6474574"/>
            <a:ext cx="1157499"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3" y="151316"/>
            <a:ext cx="1661373" cy="382084"/>
          </a:xfrm>
          <a:prstGeom prst="rect">
            <a:avLst/>
          </a:prstGeom>
        </p:spPr>
      </p:pic>
    </p:spTree>
    <p:extLst>
      <p:ext uri="{BB962C8B-B14F-4D97-AF65-F5344CB8AC3E}">
        <p14:creationId xmlns:p14="http://schemas.microsoft.com/office/powerpoint/2010/main" val="19139161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668389" y="291069"/>
            <a:ext cx="1251260" cy="267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69240" y="289512"/>
            <a:ext cx="8874570" cy="761715"/>
          </a:xfrm>
        </p:spPr>
        <p:txBody>
          <a:bodyPr/>
          <a:lstStyle/>
          <a:p>
            <a:r>
              <a:rPr lang="en-US"/>
              <a:t>Click to edit Master title style</a:t>
            </a:r>
          </a:p>
        </p:txBody>
      </p:sp>
    </p:spTree>
    <p:extLst>
      <p:ext uri="{BB962C8B-B14F-4D97-AF65-F5344CB8AC3E}">
        <p14:creationId xmlns:p14="http://schemas.microsoft.com/office/powerpoint/2010/main" val="223698609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9465199"/>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13" spc="-98"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69304" y="6356804"/>
            <a:ext cx="3859607" cy="364224"/>
          </a:xfrm>
          <a:prstGeom prst="rect">
            <a:avLst/>
          </a:prstGeom>
        </p:spPr>
        <p:txBody>
          <a:bodyPr vert="horz" lIns="91440" tIns="45720" rIns="91440" bIns="45720" rtlCol="0" anchor="ctr"/>
          <a:lstStyle>
            <a:lvl1pPr algn="l">
              <a:defRPr sz="978">
                <a:solidFill>
                  <a:schemeClr val="tx1">
                    <a:tint val="75000"/>
                  </a:schemeClr>
                </a:solidFill>
              </a:defRPr>
            </a:lvl1pPr>
          </a:lstStyle>
          <a:p>
            <a:endParaRPr lang="en-US" dirty="0">
              <a:solidFill>
                <a:srgbClr val="FFFFFF">
                  <a:tint val="75000"/>
                </a:srgbClr>
              </a:solidFill>
            </a:endParaRPr>
          </a:p>
        </p:txBody>
      </p:sp>
      <p:sp>
        <p:nvSpPr>
          <p:cNvPr id="4" name="Slide Number Placeholder 8"/>
          <p:cNvSpPr>
            <a:spLocks noGrp="1"/>
          </p:cNvSpPr>
          <p:nvPr>
            <p:ph type="sldNum" sz="quarter" idx="4"/>
          </p:nvPr>
        </p:nvSpPr>
        <p:spPr>
          <a:xfrm>
            <a:off x="9143811" y="6356804"/>
            <a:ext cx="2844904" cy="364224"/>
          </a:xfrm>
          <a:prstGeom prst="rect">
            <a:avLst/>
          </a:prstGeom>
        </p:spPr>
        <p:txBody>
          <a:bodyPr vert="horz" lIns="91440" tIns="45720" rIns="91440" bIns="45720" rtlCol="0" anchor="ctr"/>
          <a:lstStyle>
            <a:lvl1pPr algn="r">
              <a:defRPr sz="978">
                <a:solidFill>
                  <a:schemeClr val="tx1">
                    <a:tint val="75000"/>
                  </a:schemeClr>
                </a:solidFill>
              </a:defRPr>
            </a:lvl1pPr>
          </a:lstStyle>
          <a:p>
            <a:fld id="{7EFC24D6-DB8F-6B44-BA5A-9BEC68C15CAA}"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2189379117"/>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589"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186" indent="-190186">
              <a:lnSpc>
                <a:spcPct val="80000"/>
              </a:lnSpc>
              <a:buNone/>
              <a:defRPr lang="en-US" sz="1998" kern="1200" dirty="0">
                <a:solidFill>
                  <a:srgbClr val="FFFFFF"/>
                </a:solidFill>
                <a:latin typeface="Segoe UI" pitchFamily="34" charset="0"/>
                <a:ea typeface="Segoe UI" pitchFamily="34" charset="0"/>
                <a:cs typeface="Segoe UI" pitchFamily="34" charset="0"/>
              </a:defRPr>
            </a:lvl1pPr>
          </a:lstStyle>
          <a:p>
            <a:pPr marL="0" lvl="0" indent="0" algn="l" defTabSz="1086722"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3014124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59"/>
            </a:lvl2pPr>
            <a:lvl3pPr marL="223795" indent="0">
              <a:buNone/>
              <a:defRPr/>
            </a:lvl3pPr>
            <a:lvl4pPr marL="447587" indent="0">
              <a:buNone/>
              <a:defRPr/>
            </a:lvl4pPr>
            <a:lvl5pPr marL="67138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5883152"/>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1946751"/>
          </a:xfrm>
        </p:spPr>
        <p:txBody>
          <a:bodyPr wrap="square">
            <a:spAutoFit/>
          </a:bodyPr>
          <a:lstStyle>
            <a:lvl1pPr marL="281297" indent="-281297">
              <a:spcBef>
                <a:spcPts val="1199"/>
              </a:spcBef>
              <a:buClr>
                <a:schemeClr val="tx2"/>
              </a:buClr>
              <a:buFont typeface="Wingdings" panose="05000000000000000000" pitchFamily="2" charset="2"/>
              <a:buChar char="§"/>
              <a:defRPr sz="3133">
                <a:gradFill>
                  <a:gsLst>
                    <a:gs pos="19469">
                      <a:schemeClr val="tx2"/>
                    </a:gs>
                    <a:gs pos="32000">
                      <a:schemeClr val="tx2"/>
                    </a:gs>
                  </a:gsLst>
                  <a:lin ang="5400000" scaled="0"/>
                </a:gradFill>
              </a:defRPr>
            </a:lvl1pPr>
            <a:lvl2pPr marL="519998" indent="-228291">
              <a:buFont typeface="Wingdings" panose="05000000000000000000" pitchFamily="2" charset="2"/>
              <a:buChar char="§"/>
              <a:defRPr sz="2350"/>
            </a:lvl2pPr>
            <a:lvl3pPr marL="684877" indent="-164879">
              <a:buFont typeface="Wingdings" panose="05000000000000000000" pitchFamily="2" charset="2"/>
              <a:buChar char="§"/>
              <a:tabLst/>
              <a:defRPr sz="1959"/>
            </a:lvl3pPr>
            <a:lvl4pPr marL="862437" indent="-177560">
              <a:buFont typeface="Wingdings" panose="05000000000000000000" pitchFamily="2" charset="2"/>
              <a:buChar char="§"/>
              <a:defRPr/>
            </a:lvl4pPr>
            <a:lvl5pPr marL="1027315" indent="-164879">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297" indent="-281297">
              <a:spcBef>
                <a:spcPts val="1199"/>
              </a:spcBef>
              <a:buClr>
                <a:schemeClr val="tx2"/>
              </a:buClr>
              <a:buFont typeface="Wingdings" panose="05000000000000000000" pitchFamily="2" charset="2"/>
              <a:buChar char="§"/>
              <a:defRPr sz="3133">
                <a:gradFill>
                  <a:gsLst>
                    <a:gs pos="19469">
                      <a:schemeClr val="tx2"/>
                    </a:gs>
                    <a:gs pos="32000">
                      <a:schemeClr val="tx2"/>
                    </a:gs>
                  </a:gsLst>
                  <a:lin ang="5400000" scaled="0"/>
                </a:gradFill>
              </a:defRPr>
            </a:lvl1pPr>
            <a:lvl2pPr marL="519998" indent="-228291">
              <a:buFont typeface="Wingdings" panose="05000000000000000000" pitchFamily="2" charset="2"/>
              <a:buChar char="§"/>
              <a:defRPr sz="2350"/>
            </a:lvl2pPr>
            <a:lvl3pPr marL="684877" indent="-164879">
              <a:buFont typeface="Wingdings" panose="05000000000000000000" pitchFamily="2" charset="2"/>
              <a:buChar char="§"/>
              <a:tabLst/>
              <a:defRPr sz="1959"/>
            </a:lvl3pPr>
            <a:lvl4pPr marL="862437" indent="-177560">
              <a:buFont typeface="Wingdings" panose="05000000000000000000" pitchFamily="2" charset="2"/>
              <a:buChar char="§"/>
              <a:defRPr/>
            </a:lvl4pPr>
            <a:lvl5pPr marL="1027315" indent="-164879">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8271340"/>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58570" y="1344828"/>
            <a:ext cx="11474238" cy="1820476"/>
          </a:xfrm>
        </p:spPr>
        <p:txBody>
          <a:bodyPr>
            <a:spAutoFit/>
          </a:bodyPr>
          <a:lstStyle>
            <a:lvl1pPr marL="0" indent="0">
              <a:spcBef>
                <a:spcPts val="587"/>
              </a:spcBef>
              <a:buNone/>
              <a:defRPr sz="2742" spc="-29" baseline="0">
                <a:solidFill>
                  <a:srgbClr val="0072C6"/>
                </a:solidFill>
                <a:latin typeface="+mj-lt"/>
              </a:defRPr>
            </a:lvl1pPr>
            <a:lvl2pPr marL="0" indent="0">
              <a:spcBef>
                <a:spcPts val="587"/>
              </a:spcBef>
              <a:buFontTx/>
              <a:buNone/>
              <a:defRPr sz="1959"/>
            </a:lvl2pPr>
            <a:lvl3pPr marL="223812" indent="0">
              <a:spcBef>
                <a:spcPts val="587"/>
              </a:spcBef>
              <a:buNone/>
              <a:defRPr/>
            </a:lvl3pPr>
            <a:lvl4pPr marL="447624" indent="0">
              <a:spcBef>
                <a:spcPts val="587"/>
              </a:spcBef>
              <a:buNone/>
              <a:defRPr/>
            </a:lvl4pPr>
            <a:lvl5pPr marL="671436" indent="0">
              <a:spcBef>
                <a:spcPts val="587"/>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0087698"/>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a:lstStyle>
            <a:lvl1pPr marL="0" indent="0">
              <a:spcBef>
                <a:spcPts val="1199"/>
              </a:spcBef>
              <a:buClr>
                <a:schemeClr val="tx1"/>
              </a:buClr>
              <a:buFont typeface="Wingdings" pitchFamily="2" charset="2"/>
              <a:buNone/>
              <a:defRPr sz="3524"/>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7"/>
            <a:ext cx="5378548" cy="2420188"/>
          </a:xfrm>
        </p:spPr>
        <p:txBody>
          <a:bodyPr/>
          <a:lstStyle>
            <a:lvl1pPr marL="0" indent="0">
              <a:spcBef>
                <a:spcPts val="1199"/>
              </a:spcBef>
              <a:buClr>
                <a:schemeClr val="tx1"/>
              </a:buClr>
              <a:buFont typeface="Wingdings" pitchFamily="2" charset="2"/>
              <a:buNone/>
              <a:defRPr sz="3524"/>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04899271"/>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378870147"/>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56556"/>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8286437"/>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08000" y="2036763"/>
            <a:ext cx="11188700" cy="38687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495300" y="1085886"/>
            <a:ext cx="11201400" cy="512762"/>
          </a:xfrm>
        </p:spPr>
        <p:txBody>
          <a:bodyPr lIns="0" tIns="0" rIns="0" bIns="0">
            <a:normAutofit/>
          </a:bodyPr>
          <a:lstStyle>
            <a:lvl1pPr marL="0" indent="0">
              <a:lnSpc>
                <a:spcPct val="100000"/>
              </a:lnSpc>
              <a:buNone/>
              <a:defRPr sz="1998" b="1" cap="all" spc="300" baseline="0">
                <a:solidFill>
                  <a:schemeClr val="tx1"/>
                </a:solidFill>
              </a:defRPr>
            </a:lvl1pPr>
          </a:lstStyle>
          <a:p>
            <a:pPr lvl="0"/>
            <a:r>
              <a:rPr lang="en-US" dirty="0"/>
              <a:t>Edit subtitle text</a:t>
            </a:r>
          </a:p>
        </p:txBody>
      </p:sp>
      <p:sp>
        <p:nvSpPr>
          <p:cNvPr id="6" name="Rectangle 5"/>
          <p:cNvSpPr/>
          <p:nvPr userDrawn="1"/>
        </p:nvSpPr>
        <p:spPr>
          <a:xfrm>
            <a:off x="0" y="6722534"/>
            <a:ext cx="12192000" cy="1354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324" tIns="45661" rIns="91324" bIns="4566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sz="1798" dirty="0">
              <a:solidFill>
                <a:schemeClr val="tx2"/>
              </a:solidFill>
            </a:endParaRPr>
          </a:p>
        </p:txBody>
      </p:sp>
    </p:spTree>
    <p:extLst>
      <p:ext uri="{BB962C8B-B14F-4D97-AF65-F5344CB8AC3E}">
        <p14:creationId xmlns:p14="http://schemas.microsoft.com/office/powerpoint/2010/main" val="2815366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rgbClr val="F384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796217"/>
          </a:xfrm>
          <a:noFill/>
        </p:spPr>
        <p:txBody>
          <a:bodyPr anchorCtr="0"/>
          <a:lstStyle>
            <a:lvl1pPr>
              <a:defRPr sz="861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1150918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1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15071792"/>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2"/>
            <a:ext cx="12192000" cy="1232898"/>
          </a:xfrm>
        </p:spPr>
        <p:txBody>
          <a:bodyPr lIns="393192" tIns="393192" bIns="91440">
            <a:normAutofit/>
          </a:bodyPr>
          <a:lstStyle>
            <a:lvl1pPr marL="0" indent="0">
              <a:spcBef>
                <a:spcPts val="0"/>
              </a:spcBef>
              <a:buNone/>
              <a:defRPr sz="4307">
                <a:solidFill>
                  <a:schemeClr val="accent3"/>
                </a:solidFill>
                <a:latin typeface="+mj-lt"/>
              </a:defRPr>
            </a:lvl1pPr>
          </a:lstStyle>
          <a:p>
            <a:pPr lvl="0"/>
            <a:r>
              <a:rPr lang="en-US" dirty="0"/>
              <a:t>Title</a:t>
            </a:r>
          </a:p>
        </p:txBody>
      </p:sp>
    </p:spTree>
    <p:extLst>
      <p:ext uri="{BB962C8B-B14F-4D97-AF65-F5344CB8AC3E}">
        <p14:creationId xmlns:p14="http://schemas.microsoft.com/office/powerpoint/2010/main" val="3986820767"/>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userDrawn="1">
  <p:cSld name="32pt Slide Title ">
    <p:spTree>
      <p:nvGrpSpPr>
        <p:cNvPr id="1" name=""/>
        <p:cNvGrpSpPr/>
        <p:nvPr/>
      </p:nvGrpSpPr>
      <p:grpSpPr>
        <a:xfrm>
          <a:off x="0" y="0"/>
          <a:ext cx="0" cy="0"/>
          <a:chOff x="0" y="0"/>
          <a:chExt cx="0" cy="0"/>
        </a:xfrm>
      </p:grpSpPr>
      <p:sp>
        <p:nvSpPr>
          <p:cNvPr id="8" name="Rectangle 7"/>
          <p:cNvSpPr/>
          <p:nvPr userDrawn="1"/>
        </p:nvSpPr>
        <p:spPr>
          <a:xfrm>
            <a:off x="0" y="1"/>
            <a:ext cx="12192000" cy="8229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p>
        </p:txBody>
      </p:sp>
      <p:sp>
        <p:nvSpPr>
          <p:cNvPr id="2" name="Title 1"/>
          <p:cNvSpPr>
            <a:spLocks noGrp="1"/>
          </p:cNvSpPr>
          <p:nvPr>
            <p:ph type="title" hasCustomPrompt="1"/>
          </p:nvPr>
        </p:nvSpPr>
        <p:spPr>
          <a:xfrm>
            <a:off x="609600" y="1"/>
            <a:ext cx="10972800" cy="822960"/>
          </a:xfrm>
        </p:spPr>
        <p:txBody>
          <a:bodyPr>
            <a:noAutofit/>
          </a:bodyPr>
          <a:lstStyle>
            <a:lvl1pPr algn="l">
              <a:lnSpc>
                <a:spcPct val="90000"/>
              </a:lnSpc>
              <a:defRPr sz="2797" baseline="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dirty="0"/>
              <a:t>28pt Slide Title</a:t>
            </a:r>
          </a:p>
        </p:txBody>
      </p:sp>
      <p:sp>
        <p:nvSpPr>
          <p:cNvPr id="10" name="Slide Number Placeholder 9"/>
          <p:cNvSpPr>
            <a:spLocks noGrp="1"/>
          </p:cNvSpPr>
          <p:nvPr>
            <p:ph type="sldNum" sz="quarter" idx="12"/>
          </p:nvPr>
        </p:nvSpPr>
        <p:spPr/>
        <p:txBody>
          <a:bodyPr/>
          <a:lstStyle>
            <a:lvl1pPr>
              <a:defRPr sz="1199">
                <a:solidFill>
                  <a:schemeClr val="tx1">
                    <a:lumMod val="65000"/>
                    <a:lumOff val="35000"/>
                  </a:schemeClr>
                </a:solidFill>
                <a:latin typeface="Segoe UI" pitchFamily="34" charset="0"/>
                <a:ea typeface="Segoe UI" pitchFamily="34" charset="0"/>
                <a:cs typeface="Segoe UI" pitchFamily="34" charset="0"/>
              </a:defRPr>
            </a:lvl1pPr>
          </a:lstStyle>
          <a:p>
            <a:fld id="{D814DA60-3BEE-4BCE-BEDB-E433FD970963}" type="slidenum">
              <a:rPr lang="en-US" smtClean="0"/>
              <a:pPr/>
              <a:t>‹#›</a:t>
            </a:fld>
            <a:endParaRPr lang="en-US" dirty="0"/>
          </a:p>
        </p:txBody>
      </p:sp>
      <p:sp>
        <p:nvSpPr>
          <p:cNvPr id="6" name="Footer Placeholder 8"/>
          <p:cNvSpPr>
            <a:spLocks noGrp="1"/>
          </p:cNvSpPr>
          <p:nvPr>
            <p:ph type="ftr" sz="quarter" idx="11"/>
          </p:nvPr>
        </p:nvSpPr>
        <p:spPr>
          <a:xfrm>
            <a:off x="609601" y="6324601"/>
            <a:ext cx="3860800" cy="365125"/>
          </a:xfrm>
        </p:spPr>
        <p:txBody>
          <a:bodyPr/>
          <a:lstStyle>
            <a:lvl1pPr algn="l">
              <a:defRPr/>
            </a:lvl1pPr>
          </a:lstStyle>
          <a:p>
            <a:endParaRPr lang="en-US" dirty="0"/>
          </a:p>
        </p:txBody>
      </p:sp>
      <p:sp>
        <p:nvSpPr>
          <p:cNvPr id="9" name="Text Placeholder 4"/>
          <p:cNvSpPr>
            <a:spLocks noGrp="1"/>
          </p:cNvSpPr>
          <p:nvPr>
            <p:ph type="body" sz="quarter" idx="13"/>
          </p:nvPr>
        </p:nvSpPr>
        <p:spPr>
          <a:xfrm>
            <a:off x="609600" y="1066800"/>
            <a:ext cx="10972800" cy="5105400"/>
          </a:xfrm>
          <a:prstGeom prst="rect">
            <a:avLst/>
          </a:prstGeom>
        </p:spPr>
        <p:txBody>
          <a:bodyPr/>
          <a:lstStyle>
            <a:lvl1pPr marL="456619" indent="-456619">
              <a:buClr>
                <a:srgbClr val="0070C0"/>
              </a:buClr>
              <a:buFont typeface="Arial" pitchFamily="34" charset="0"/>
              <a:buChar char="•"/>
              <a:defRPr sz="2797" b="0">
                <a:latin typeface="Segoe UI" pitchFamily="34" charset="0"/>
                <a:ea typeface="Segoe UI" pitchFamily="34" charset="0"/>
                <a:cs typeface="Segoe UI" pitchFamily="34" charset="0"/>
              </a:defRPr>
            </a:lvl1pPr>
            <a:lvl2pPr marL="799084" indent="-342465">
              <a:buClr>
                <a:srgbClr val="0070C0"/>
              </a:buClr>
              <a:buFont typeface="Arial" pitchFamily="34" charset="0"/>
              <a:buChar char="•"/>
              <a:defRPr sz="2397" b="0">
                <a:latin typeface="Segoe UI" pitchFamily="34" charset="0"/>
                <a:ea typeface="Segoe UI" pitchFamily="34" charset="0"/>
                <a:cs typeface="Segoe UI" pitchFamily="34" charset="0"/>
              </a:defRPr>
            </a:lvl2pPr>
            <a:lvl3pPr marL="1255703" indent="-342465">
              <a:buClr>
                <a:srgbClr val="0070C0"/>
              </a:buClr>
              <a:buFont typeface="Arial" pitchFamily="34" charset="0"/>
              <a:buChar char="•"/>
              <a:defRPr sz="1998" b="0">
                <a:latin typeface="Segoe UI" pitchFamily="34" charset="0"/>
                <a:ea typeface="Segoe UI" pitchFamily="34" charset="0"/>
                <a:cs typeface="Segoe UI" pitchFamily="34" charset="0"/>
              </a:defRPr>
            </a:lvl3pPr>
            <a:lvl4pPr marL="1369857" indent="0">
              <a:buNone/>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722666224"/>
      </p:ext>
    </p:extLst>
  </p:cSld>
  <p:clrMapOvr>
    <a:masterClrMapping/>
  </p:clrMapOvr>
  <p:hf hdr="0" ftr="0" dt="0"/>
</p:sldLayout>
</file>

<file path=ppt/slideLayouts/slideLayout472.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8680"/>
              <a:endParaRPr lang="en-US" sz="2397"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8680"/>
              <a:endParaRPr lang="en-US" sz="2397"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8680"/>
              <a:endParaRPr lang="en-US" sz="2397"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307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9" y="2100816"/>
            <a:ext cx="11007660" cy="1686801"/>
          </a:xfrm>
        </p:spPr>
        <p:txBody>
          <a:bodyPr/>
          <a:lstStyle>
            <a:lvl1pPr>
              <a:defRPr sz="5874">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845284"/>
          </a:xfrm>
        </p:spPr>
        <p:txBody>
          <a:bodyPr/>
          <a:lstStyle>
            <a:lvl1pPr marL="0" indent="0" algn="l">
              <a:buNone/>
              <a:defRPr sz="2155">
                <a:solidFill>
                  <a:schemeClr val="bg1"/>
                </a:solidFill>
                <a:latin typeface="+mn-lt"/>
              </a:defRPr>
            </a:lvl1pPr>
            <a:lvl2pPr marL="447614" indent="0" algn="ctr">
              <a:buNone/>
              <a:defRPr>
                <a:solidFill>
                  <a:schemeClr val="tx1">
                    <a:tint val="75000"/>
                  </a:schemeClr>
                </a:solidFill>
              </a:defRPr>
            </a:lvl2pPr>
            <a:lvl3pPr marL="895228" indent="0" algn="ctr">
              <a:buNone/>
              <a:defRPr>
                <a:solidFill>
                  <a:schemeClr val="tx1">
                    <a:tint val="75000"/>
                  </a:schemeClr>
                </a:solidFill>
              </a:defRPr>
            </a:lvl3pPr>
            <a:lvl4pPr marL="1342842" indent="0" algn="ctr">
              <a:buNone/>
              <a:defRPr>
                <a:solidFill>
                  <a:schemeClr val="tx1">
                    <a:tint val="75000"/>
                  </a:schemeClr>
                </a:solidFill>
              </a:defRPr>
            </a:lvl4pPr>
            <a:lvl5pPr marL="1790457" indent="0" algn="ctr">
              <a:buNone/>
              <a:defRPr>
                <a:solidFill>
                  <a:schemeClr val="tx1">
                    <a:tint val="75000"/>
                  </a:schemeClr>
                </a:solidFill>
              </a:defRPr>
            </a:lvl5pPr>
            <a:lvl6pPr marL="2238071" indent="0" algn="ctr">
              <a:buNone/>
              <a:defRPr>
                <a:solidFill>
                  <a:schemeClr val="tx1">
                    <a:tint val="75000"/>
                  </a:schemeClr>
                </a:solidFill>
              </a:defRPr>
            </a:lvl6pPr>
            <a:lvl7pPr marL="2685685" indent="0" algn="ctr">
              <a:buNone/>
              <a:defRPr>
                <a:solidFill>
                  <a:schemeClr val="tx1">
                    <a:tint val="75000"/>
                  </a:schemeClr>
                </a:solidFill>
              </a:defRPr>
            </a:lvl7pPr>
            <a:lvl8pPr marL="3133299" indent="0" algn="ctr">
              <a:buNone/>
              <a:defRPr>
                <a:solidFill>
                  <a:schemeClr val="tx1">
                    <a:tint val="75000"/>
                  </a:schemeClr>
                </a:solidFill>
              </a:defRPr>
            </a:lvl8pPr>
            <a:lvl9pPr marL="3580912"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userDrawn="1"/>
        </p:nvGrpSpPr>
        <p:grpSpPr>
          <a:xfrm>
            <a:off x="5456365" y="-350215"/>
            <a:ext cx="6948849" cy="6949835"/>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3186"/>
              <a:endParaRPr lang="en-US" sz="1763"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3186"/>
              <a:endParaRPr lang="en-US" sz="1763"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3186"/>
              <a:endParaRPr lang="en-US" sz="1763"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spTree>
    <p:extLst>
      <p:ext uri="{BB962C8B-B14F-4D97-AF65-F5344CB8AC3E}">
        <p14:creationId xmlns:p14="http://schemas.microsoft.com/office/powerpoint/2010/main" val="918747028"/>
      </p:ext>
    </p:extLst>
  </p:cSld>
  <p:clrMapOvr>
    <a:masterClrMapping/>
  </p:clrMapOvr>
  <p:transition spd="med">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40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6"/>
            <a:ext cx="11007660" cy="1686801"/>
          </a:xfrm>
        </p:spPr>
        <p:txBody>
          <a:bodyPr/>
          <a:lstStyle>
            <a:lvl1pPr>
              <a:defRPr sz="5874">
                <a:solidFill>
                  <a:schemeClr val="bg1"/>
                </a:solidFill>
              </a:defRPr>
            </a:lvl1pPr>
          </a:lstStyle>
          <a:p>
            <a:r>
              <a:rPr lang="en-US" dirty="0"/>
              <a:t>Title</a:t>
            </a:r>
          </a:p>
        </p:txBody>
      </p:sp>
      <p:sp>
        <p:nvSpPr>
          <p:cNvPr id="8" name="Subtitle 2"/>
          <p:cNvSpPr>
            <a:spLocks noGrp="1"/>
          </p:cNvSpPr>
          <p:nvPr>
            <p:ph type="subTitle" idx="1" hasCustomPrompt="1"/>
          </p:nvPr>
        </p:nvSpPr>
        <p:spPr>
          <a:xfrm>
            <a:off x="591642" y="3877277"/>
            <a:ext cx="10989732" cy="513276"/>
          </a:xfrm>
        </p:spPr>
        <p:txBody>
          <a:bodyPr/>
          <a:lstStyle>
            <a:lvl1pPr marL="0" indent="0" algn="l">
              <a:buNone/>
              <a:defRPr sz="2155">
                <a:solidFill>
                  <a:schemeClr val="bg1"/>
                </a:solidFill>
                <a:latin typeface="+mn-lt"/>
              </a:defRPr>
            </a:lvl1pPr>
            <a:lvl2pPr marL="447614" indent="0" algn="ctr">
              <a:buNone/>
              <a:defRPr>
                <a:solidFill>
                  <a:schemeClr val="tx1">
                    <a:tint val="75000"/>
                  </a:schemeClr>
                </a:solidFill>
              </a:defRPr>
            </a:lvl2pPr>
            <a:lvl3pPr marL="895228" indent="0" algn="ctr">
              <a:buNone/>
              <a:defRPr>
                <a:solidFill>
                  <a:schemeClr val="tx1">
                    <a:tint val="75000"/>
                  </a:schemeClr>
                </a:solidFill>
              </a:defRPr>
            </a:lvl3pPr>
            <a:lvl4pPr marL="1342842" indent="0" algn="ctr">
              <a:buNone/>
              <a:defRPr>
                <a:solidFill>
                  <a:schemeClr val="tx1">
                    <a:tint val="75000"/>
                  </a:schemeClr>
                </a:solidFill>
              </a:defRPr>
            </a:lvl4pPr>
            <a:lvl5pPr marL="1790457" indent="0" algn="ctr">
              <a:buNone/>
              <a:defRPr>
                <a:solidFill>
                  <a:schemeClr val="tx1">
                    <a:tint val="75000"/>
                  </a:schemeClr>
                </a:solidFill>
              </a:defRPr>
            </a:lvl5pPr>
            <a:lvl6pPr marL="2238071" indent="0" algn="ctr">
              <a:buNone/>
              <a:defRPr>
                <a:solidFill>
                  <a:schemeClr val="tx1">
                    <a:tint val="75000"/>
                  </a:schemeClr>
                </a:solidFill>
              </a:defRPr>
            </a:lvl6pPr>
            <a:lvl7pPr marL="2685685" indent="0" algn="ctr">
              <a:buNone/>
              <a:defRPr>
                <a:solidFill>
                  <a:schemeClr val="tx1">
                    <a:tint val="75000"/>
                  </a:schemeClr>
                </a:solidFill>
              </a:defRPr>
            </a:lvl7pPr>
            <a:lvl8pPr marL="3133299" indent="0" algn="ctr">
              <a:buNone/>
              <a:defRPr>
                <a:solidFill>
                  <a:schemeClr val="tx1">
                    <a:tint val="75000"/>
                  </a:schemeClr>
                </a:solidFill>
              </a:defRPr>
            </a:lvl8pPr>
            <a:lvl9pPr marL="3580912"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055598515"/>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51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6"/>
            <a:ext cx="8086519" cy="1686801"/>
          </a:xfrm>
        </p:spPr>
        <p:txBody>
          <a:bodyPr/>
          <a:lstStyle>
            <a:lvl1pPr>
              <a:defRPr sz="5874">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3276"/>
          </a:xfrm>
        </p:spPr>
        <p:txBody>
          <a:bodyPr/>
          <a:lstStyle>
            <a:lvl1pPr marL="0" indent="0" algn="l">
              <a:buNone/>
              <a:defRPr sz="2155">
                <a:solidFill>
                  <a:schemeClr val="bg1"/>
                </a:solidFill>
                <a:latin typeface="+mn-lt"/>
              </a:defRPr>
            </a:lvl1pPr>
            <a:lvl2pPr marL="447614" indent="0" algn="ctr">
              <a:buNone/>
              <a:defRPr>
                <a:solidFill>
                  <a:schemeClr val="tx1">
                    <a:tint val="75000"/>
                  </a:schemeClr>
                </a:solidFill>
              </a:defRPr>
            </a:lvl2pPr>
            <a:lvl3pPr marL="895228" indent="0" algn="ctr">
              <a:buNone/>
              <a:defRPr>
                <a:solidFill>
                  <a:schemeClr val="tx1">
                    <a:tint val="75000"/>
                  </a:schemeClr>
                </a:solidFill>
              </a:defRPr>
            </a:lvl3pPr>
            <a:lvl4pPr marL="1342842" indent="0" algn="ctr">
              <a:buNone/>
              <a:defRPr>
                <a:solidFill>
                  <a:schemeClr val="tx1">
                    <a:tint val="75000"/>
                  </a:schemeClr>
                </a:solidFill>
              </a:defRPr>
            </a:lvl4pPr>
            <a:lvl5pPr marL="1790457" indent="0" algn="ctr">
              <a:buNone/>
              <a:defRPr>
                <a:solidFill>
                  <a:schemeClr val="tx1">
                    <a:tint val="75000"/>
                  </a:schemeClr>
                </a:solidFill>
              </a:defRPr>
            </a:lvl5pPr>
            <a:lvl6pPr marL="2238071" indent="0" algn="ctr">
              <a:buNone/>
              <a:defRPr>
                <a:solidFill>
                  <a:schemeClr val="tx1">
                    <a:tint val="75000"/>
                  </a:schemeClr>
                </a:solidFill>
              </a:defRPr>
            </a:lvl6pPr>
            <a:lvl7pPr marL="2685685" indent="0" algn="ctr">
              <a:buNone/>
              <a:defRPr>
                <a:solidFill>
                  <a:schemeClr val="tx1">
                    <a:tint val="75000"/>
                  </a:schemeClr>
                </a:solidFill>
              </a:defRPr>
            </a:lvl7pPr>
            <a:lvl8pPr marL="3133299" indent="0" algn="ctr">
              <a:buNone/>
              <a:defRPr>
                <a:solidFill>
                  <a:schemeClr val="tx1">
                    <a:tint val="75000"/>
                  </a:schemeClr>
                </a:solidFill>
              </a:defRPr>
            </a:lvl8pPr>
            <a:lvl9pPr marL="3580912"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2" y="1315054"/>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3186">
                <a:lnSpc>
                  <a:spcPct val="90000"/>
                </a:lnSpc>
                <a:spcAft>
                  <a:spcPts val="587"/>
                </a:spcAft>
              </a:pPr>
              <a:endParaRPr lang="en-US" sz="136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3186">
                <a:lnSpc>
                  <a:spcPct val="90000"/>
                </a:lnSpc>
                <a:spcAft>
                  <a:spcPts val="587"/>
                </a:spcAft>
              </a:pPr>
              <a:endParaRPr lang="en-US" sz="136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3186">
                <a:lnSpc>
                  <a:spcPct val="90000"/>
                </a:lnSpc>
                <a:spcAft>
                  <a:spcPts val="587"/>
                </a:spcAft>
              </a:pPr>
              <a:endParaRPr lang="en-US" sz="1763" b="1" dirty="0">
                <a:solidFill>
                  <a:srgbClr val="FFFFFF">
                    <a:lumMod val="65000"/>
                  </a:srgbClr>
                </a:solidFill>
              </a:endParaRPr>
            </a:p>
          </p:txBody>
        </p:sp>
      </p:grpSp>
    </p:spTree>
    <p:extLst>
      <p:ext uri="{BB962C8B-B14F-4D97-AF65-F5344CB8AC3E}">
        <p14:creationId xmlns:p14="http://schemas.microsoft.com/office/powerpoint/2010/main" val="3993431255"/>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1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110603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9"/>
            </a:lvl1pPr>
          </a:lstStyle>
          <a:p>
            <a:r>
              <a:rPr lang="en-US" dirty="0"/>
              <a:t>Click to edit Master title style</a:t>
            </a:r>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7"/>
              </a:spcBef>
              <a:buNone/>
              <a:defRPr sz="3132">
                <a:gradFill>
                  <a:gsLst>
                    <a:gs pos="1250">
                      <a:schemeClr val="tx1"/>
                    </a:gs>
                    <a:gs pos="99000">
                      <a:schemeClr val="tx1"/>
                    </a:gs>
                  </a:gsLst>
                  <a:lin ang="5400000" scaled="0"/>
                </a:gradFill>
              </a:defRPr>
            </a:lvl1pPr>
            <a:lvl2pPr marL="0" indent="0">
              <a:lnSpc>
                <a:spcPct val="100000"/>
              </a:lnSpc>
              <a:spcBef>
                <a:spcPts val="587"/>
              </a:spcBef>
              <a:buFontTx/>
              <a:buNone/>
              <a:defRPr sz="1566"/>
            </a:lvl2pPr>
            <a:lvl3pPr marL="223808" indent="0">
              <a:lnSpc>
                <a:spcPct val="100000"/>
              </a:lnSpc>
              <a:spcBef>
                <a:spcPts val="587"/>
              </a:spcBef>
              <a:buNone/>
              <a:defRPr sz="1763"/>
            </a:lvl3pPr>
            <a:lvl4pPr marL="447614" indent="0">
              <a:lnSpc>
                <a:spcPct val="100000"/>
              </a:lnSpc>
              <a:spcBef>
                <a:spcPts val="587"/>
              </a:spcBef>
              <a:buNone/>
              <a:defRPr sz="1566"/>
            </a:lvl4pPr>
            <a:lvl5pPr marL="671422" indent="0">
              <a:lnSpc>
                <a:spcPct val="100000"/>
              </a:lnSpc>
              <a:spcBef>
                <a:spcPts val="587"/>
              </a:spcBef>
              <a:buNone/>
              <a:defRPr sz="156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96495055"/>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7"/>
              </a:spcBef>
              <a:defRPr sz="3132"/>
            </a:lvl1pPr>
            <a:lvl2pPr>
              <a:lnSpc>
                <a:spcPct val="100000"/>
              </a:lnSpc>
              <a:spcBef>
                <a:spcPts val="587"/>
              </a:spcBef>
              <a:defRPr sz="1763"/>
            </a:lvl2pPr>
            <a:lvl3pPr>
              <a:lnSpc>
                <a:spcPct val="100000"/>
              </a:lnSpc>
              <a:spcBef>
                <a:spcPts val="587"/>
              </a:spcBef>
              <a:defRPr sz="1566"/>
            </a:lvl3pPr>
            <a:lvl4pPr>
              <a:lnSpc>
                <a:spcPct val="100000"/>
              </a:lnSpc>
              <a:spcBef>
                <a:spcPts val="587"/>
              </a:spcBef>
              <a:defRPr sz="1369"/>
            </a:lvl4pPr>
            <a:lvl5pPr>
              <a:lnSpc>
                <a:spcPct val="100000"/>
              </a:lnSpc>
              <a:spcBef>
                <a:spcPts val="587"/>
              </a:spcBef>
              <a:defRPr sz="136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07"/>
            </a:lvl1pPr>
          </a:lstStyle>
          <a:p>
            <a:r>
              <a:rPr lang="en-US" dirty="0"/>
              <a:t>Click to edit Master title style</a:t>
            </a:r>
          </a:p>
        </p:txBody>
      </p:sp>
    </p:spTree>
    <p:extLst>
      <p:ext uri="{BB962C8B-B14F-4D97-AF65-F5344CB8AC3E}">
        <p14:creationId xmlns:p14="http://schemas.microsoft.com/office/powerpoint/2010/main" val="2458095110"/>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7"/>
              </a:spcBef>
              <a:spcAft>
                <a:spcPts val="0"/>
              </a:spcAft>
              <a:defRPr sz="3132">
                <a:solidFill>
                  <a:schemeClr val="accent1"/>
                </a:solidFill>
                <a:latin typeface="+mj-lt"/>
              </a:defRPr>
            </a:lvl1pPr>
            <a:lvl2pPr>
              <a:lnSpc>
                <a:spcPct val="100000"/>
              </a:lnSpc>
              <a:spcBef>
                <a:spcPts val="587"/>
              </a:spcBef>
              <a:spcAft>
                <a:spcPts val="0"/>
              </a:spcAft>
              <a:defRPr sz="1763">
                <a:latin typeface="+mn-lt"/>
              </a:defRPr>
            </a:lvl2pPr>
            <a:lvl3pPr>
              <a:lnSpc>
                <a:spcPct val="100000"/>
              </a:lnSpc>
              <a:spcBef>
                <a:spcPts val="587"/>
              </a:spcBef>
              <a:spcAft>
                <a:spcPts val="0"/>
              </a:spcAft>
              <a:defRPr sz="1566">
                <a:latin typeface="+mn-lt"/>
              </a:defRPr>
            </a:lvl3pPr>
            <a:lvl4pPr>
              <a:lnSpc>
                <a:spcPct val="100000"/>
              </a:lnSpc>
              <a:spcBef>
                <a:spcPts val="587"/>
              </a:spcBef>
              <a:spcAft>
                <a:spcPts val="0"/>
              </a:spcAft>
              <a:defRPr sz="1369">
                <a:latin typeface="+mn-lt"/>
              </a:defRPr>
            </a:lvl4pPr>
            <a:lvl5pPr>
              <a:lnSpc>
                <a:spcPct val="100000"/>
              </a:lnSpc>
              <a:spcBef>
                <a:spcPts val="587"/>
              </a:spcBef>
              <a:spcAft>
                <a:spcPts val="0"/>
              </a:spcAft>
              <a:defRPr sz="136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07"/>
            </a:lvl1pPr>
          </a:lstStyle>
          <a:p>
            <a:r>
              <a:rPr lang="en-US" dirty="0"/>
              <a:t>Click to edit Master title style</a:t>
            </a:r>
          </a:p>
        </p:txBody>
      </p:sp>
    </p:spTree>
    <p:extLst>
      <p:ext uri="{BB962C8B-B14F-4D97-AF65-F5344CB8AC3E}">
        <p14:creationId xmlns:p14="http://schemas.microsoft.com/office/powerpoint/2010/main" val="3090457230"/>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3" y="1118022"/>
            <a:ext cx="5593094" cy="1901145"/>
          </a:xfrm>
        </p:spPr>
        <p:txBody>
          <a:bodyPr wrap="square">
            <a:spAutoFit/>
          </a:bodyPr>
          <a:lstStyle>
            <a:lvl1pPr marL="0" indent="0">
              <a:spcBef>
                <a:spcPts val="1199"/>
              </a:spcBef>
              <a:buClr>
                <a:schemeClr val="tx1"/>
              </a:buClr>
              <a:buFont typeface="Wingdings" pitchFamily="2" charset="2"/>
              <a:buNone/>
              <a:defRPr sz="3132">
                <a:solidFill>
                  <a:schemeClr val="accent1"/>
                </a:solidFill>
              </a:defRPr>
            </a:lvl1pPr>
            <a:lvl2pPr marL="0" indent="0">
              <a:buNone/>
              <a:defRPr sz="1763"/>
            </a:lvl2pPr>
            <a:lvl3pPr marL="226915" indent="0">
              <a:buNone/>
              <a:tabLst/>
              <a:defRPr sz="1763"/>
            </a:lvl3pPr>
            <a:lvl4pPr marL="450723" indent="0">
              <a:buNone/>
              <a:defRPr sz="1174"/>
            </a:lvl4pPr>
            <a:lvl5pPr marL="671422" indent="0">
              <a:buNone/>
              <a:tabLst/>
              <a:defRPr sz="117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199"/>
              </a:spcBef>
              <a:buClr>
                <a:schemeClr val="tx1"/>
              </a:buClr>
              <a:buFont typeface="Wingdings" pitchFamily="2" charset="2"/>
              <a:buNone/>
              <a:defRPr sz="3132">
                <a:solidFill>
                  <a:schemeClr val="accent1"/>
                </a:solidFill>
              </a:defRPr>
            </a:lvl1pPr>
            <a:lvl2pPr marL="0" indent="0">
              <a:buNone/>
              <a:defRPr sz="1763"/>
            </a:lvl2pPr>
            <a:lvl3pPr marL="226915" indent="0">
              <a:buNone/>
              <a:tabLst/>
              <a:defRPr sz="1763"/>
            </a:lvl3pPr>
            <a:lvl4pPr marL="450723" indent="0">
              <a:buNone/>
              <a:defRPr sz="1174"/>
            </a:lvl4pPr>
            <a:lvl5pPr marL="671422" indent="0">
              <a:buNone/>
              <a:tabLst/>
              <a:defRPr sz="117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4911342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663614489"/>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199"/>
              </a:spcBef>
              <a:buClr>
                <a:schemeClr val="tx1"/>
              </a:buClr>
              <a:buFont typeface="Wingdings" pitchFamily="2" charset="2"/>
              <a:buNone/>
              <a:defRPr sz="3132"/>
            </a:lvl1pPr>
            <a:lvl2pPr marL="0" indent="0">
              <a:buNone/>
              <a:defRPr sz="1763"/>
            </a:lvl2pPr>
            <a:lvl3pPr marL="226915" indent="0">
              <a:buNone/>
              <a:tabLst/>
              <a:defRPr sz="1763"/>
            </a:lvl3pPr>
            <a:lvl4pPr marL="450723" indent="0">
              <a:buNone/>
              <a:defRPr sz="1174"/>
            </a:lvl4pPr>
            <a:lvl5pPr marL="671422" indent="0">
              <a:buNone/>
              <a:tabLst/>
              <a:defRPr sz="117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199"/>
              </a:spcBef>
              <a:buClr>
                <a:schemeClr val="tx1"/>
              </a:buClr>
              <a:buFont typeface="Wingdings" pitchFamily="2" charset="2"/>
              <a:buNone/>
              <a:defRPr sz="3132"/>
            </a:lvl1pPr>
            <a:lvl2pPr marL="0" indent="0">
              <a:buNone/>
              <a:defRPr sz="1763"/>
            </a:lvl2pPr>
            <a:lvl3pPr marL="226915" indent="0">
              <a:buNone/>
              <a:tabLst/>
              <a:defRPr sz="1763"/>
            </a:lvl3pPr>
            <a:lvl4pPr marL="450723" indent="0">
              <a:buNone/>
              <a:defRPr sz="1174"/>
            </a:lvl4pPr>
            <a:lvl5pPr marL="671422" indent="0">
              <a:buNone/>
              <a:tabLst/>
              <a:defRPr sz="117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73176500"/>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3"/>
            <a:ext cx="5607323" cy="1810615"/>
          </a:xfrm>
        </p:spPr>
        <p:txBody>
          <a:bodyPr wrap="square">
            <a:spAutoFit/>
          </a:bodyPr>
          <a:lstStyle>
            <a:lvl1pPr marL="281313" indent="-281313">
              <a:spcBef>
                <a:spcPts val="1199"/>
              </a:spcBef>
              <a:buClr>
                <a:schemeClr val="tx1"/>
              </a:buClr>
              <a:buFont typeface="Arial" pitchFamily="34" charset="0"/>
              <a:buChar char="•"/>
              <a:defRPr sz="2742"/>
            </a:lvl1pPr>
            <a:lvl2pPr marL="520030" indent="-228306">
              <a:defRPr sz="1763"/>
            </a:lvl2pPr>
            <a:lvl3pPr marL="684917" indent="-164888">
              <a:tabLst/>
              <a:defRPr sz="1566"/>
            </a:lvl3pPr>
            <a:lvl4pPr marL="862488" indent="-177572">
              <a:defRPr sz="1076"/>
            </a:lvl4pPr>
            <a:lvl5pPr marL="1027375" indent="-164888">
              <a:tabLst/>
              <a:defRPr sz="10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3"/>
            <a:ext cx="5826761" cy="1810615"/>
          </a:xfrm>
        </p:spPr>
        <p:txBody>
          <a:bodyPr wrap="square">
            <a:spAutoFit/>
          </a:bodyPr>
          <a:lstStyle>
            <a:lvl1pPr marL="281313" indent="-281313">
              <a:spcBef>
                <a:spcPts val="1199"/>
              </a:spcBef>
              <a:buClr>
                <a:schemeClr val="tx1"/>
              </a:buClr>
              <a:buFont typeface="Arial" pitchFamily="34" charset="0"/>
              <a:buChar char="•"/>
              <a:defRPr sz="2742"/>
            </a:lvl1pPr>
            <a:lvl2pPr marL="520030" indent="-228306">
              <a:defRPr sz="1763"/>
            </a:lvl2pPr>
            <a:lvl3pPr marL="684917" indent="-164888">
              <a:tabLst/>
              <a:defRPr sz="1566"/>
            </a:lvl3pPr>
            <a:lvl4pPr marL="862488" indent="-177572">
              <a:defRPr sz="1076"/>
            </a:lvl4pPr>
            <a:lvl5pPr marL="1027375" indent="-164888">
              <a:tabLst/>
              <a:defRPr sz="10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40390325"/>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0" y="1118024"/>
            <a:ext cx="5635781" cy="1765350"/>
          </a:xfrm>
        </p:spPr>
        <p:txBody>
          <a:bodyPr wrap="square">
            <a:spAutoFit/>
          </a:bodyPr>
          <a:lstStyle>
            <a:lvl1pPr marL="281313" indent="-281313">
              <a:spcBef>
                <a:spcPts val="1199"/>
              </a:spcBef>
              <a:buClr>
                <a:schemeClr val="accent1"/>
              </a:buClr>
              <a:buFont typeface="Arial" pitchFamily="34" charset="0"/>
              <a:buChar char="•"/>
              <a:defRPr sz="2742">
                <a:solidFill>
                  <a:schemeClr val="accent1"/>
                </a:solidFill>
              </a:defRPr>
            </a:lvl1pPr>
            <a:lvl2pPr marL="520030" indent="-228306">
              <a:defRPr sz="1763"/>
            </a:lvl2pPr>
            <a:lvl3pPr marL="684917" indent="-164888">
              <a:tabLst/>
              <a:defRPr sz="1566"/>
            </a:lvl3pPr>
            <a:lvl4pPr marL="862488" indent="-177572">
              <a:defRPr sz="1076"/>
            </a:lvl4pPr>
            <a:lvl5pPr marL="1027375" indent="-164888">
              <a:tabLst/>
              <a:defRPr sz="10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4"/>
            <a:ext cx="5826761" cy="1765350"/>
          </a:xfrm>
        </p:spPr>
        <p:txBody>
          <a:bodyPr wrap="square">
            <a:spAutoFit/>
          </a:bodyPr>
          <a:lstStyle>
            <a:lvl1pPr marL="281313" indent="-281313">
              <a:spcBef>
                <a:spcPts val="1199"/>
              </a:spcBef>
              <a:buClr>
                <a:schemeClr val="accent1"/>
              </a:buClr>
              <a:buFont typeface="Arial" pitchFamily="34" charset="0"/>
              <a:buChar char="•"/>
              <a:defRPr sz="2742">
                <a:solidFill>
                  <a:schemeClr val="accent1"/>
                </a:solidFill>
              </a:defRPr>
            </a:lvl1pPr>
            <a:lvl2pPr marL="520030" indent="-228306">
              <a:defRPr sz="1763"/>
            </a:lvl2pPr>
            <a:lvl3pPr marL="684917" indent="-164888">
              <a:tabLst/>
              <a:defRPr sz="1566"/>
            </a:lvl3pPr>
            <a:lvl4pPr marL="862488" indent="-177572">
              <a:defRPr sz="1076"/>
            </a:lvl4pPr>
            <a:lvl5pPr marL="1027375" indent="-164888">
              <a:tabLst/>
              <a:defRPr sz="10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57780113"/>
      </p:ext>
    </p:extLst>
  </p:cSld>
  <p:clrMapOvr>
    <a:masterClrMapping/>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1008067"/>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0712733"/>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7538031"/>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4066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614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6"/>
            <a:ext cx="11007660" cy="1686801"/>
          </a:xfrm>
        </p:spPr>
        <p:txBody>
          <a:bodyPr/>
          <a:lstStyle>
            <a:lvl1pPr>
              <a:defRPr sz="5874">
                <a:solidFill>
                  <a:schemeClr val="bg1"/>
                </a:solidFill>
              </a:defRPr>
            </a:lvl1pPr>
          </a:lstStyle>
          <a:p>
            <a:r>
              <a:rPr lang="en-US" dirty="0"/>
              <a:t>Title</a:t>
            </a:r>
          </a:p>
        </p:txBody>
      </p:sp>
      <p:sp>
        <p:nvSpPr>
          <p:cNvPr id="8" name="Subtitle 2"/>
          <p:cNvSpPr>
            <a:spLocks noGrp="1"/>
          </p:cNvSpPr>
          <p:nvPr>
            <p:ph type="subTitle" idx="1" hasCustomPrompt="1"/>
          </p:nvPr>
        </p:nvSpPr>
        <p:spPr>
          <a:xfrm>
            <a:off x="591642" y="3877277"/>
            <a:ext cx="10989732" cy="513007"/>
          </a:xfrm>
        </p:spPr>
        <p:txBody>
          <a:bodyPr/>
          <a:lstStyle>
            <a:lvl1pPr marL="0" indent="0" algn="l">
              <a:buNone/>
              <a:defRPr sz="2155">
                <a:solidFill>
                  <a:schemeClr val="bg1"/>
                </a:solidFill>
                <a:latin typeface="+mn-lt"/>
              </a:defRPr>
            </a:lvl1pPr>
            <a:lvl2pPr marL="447614" indent="0" algn="ctr">
              <a:buNone/>
              <a:defRPr>
                <a:solidFill>
                  <a:schemeClr val="tx1">
                    <a:tint val="75000"/>
                  </a:schemeClr>
                </a:solidFill>
              </a:defRPr>
            </a:lvl2pPr>
            <a:lvl3pPr marL="895228" indent="0" algn="ctr">
              <a:buNone/>
              <a:defRPr>
                <a:solidFill>
                  <a:schemeClr val="tx1">
                    <a:tint val="75000"/>
                  </a:schemeClr>
                </a:solidFill>
              </a:defRPr>
            </a:lvl3pPr>
            <a:lvl4pPr marL="1342842" indent="0" algn="ctr">
              <a:buNone/>
              <a:defRPr>
                <a:solidFill>
                  <a:schemeClr val="tx1">
                    <a:tint val="75000"/>
                  </a:schemeClr>
                </a:solidFill>
              </a:defRPr>
            </a:lvl4pPr>
            <a:lvl5pPr marL="1790457" indent="0" algn="ctr">
              <a:buNone/>
              <a:defRPr>
                <a:solidFill>
                  <a:schemeClr val="tx1">
                    <a:tint val="75000"/>
                  </a:schemeClr>
                </a:solidFill>
              </a:defRPr>
            </a:lvl5pPr>
            <a:lvl6pPr marL="2238071" indent="0" algn="ctr">
              <a:buNone/>
              <a:defRPr>
                <a:solidFill>
                  <a:schemeClr val="tx1">
                    <a:tint val="75000"/>
                  </a:schemeClr>
                </a:solidFill>
              </a:defRPr>
            </a:lvl6pPr>
            <a:lvl7pPr marL="2685685" indent="0" algn="ctr">
              <a:buNone/>
              <a:defRPr>
                <a:solidFill>
                  <a:schemeClr val="tx1">
                    <a:tint val="75000"/>
                  </a:schemeClr>
                </a:solidFill>
              </a:defRPr>
            </a:lvl7pPr>
            <a:lvl8pPr marL="3133299" indent="0" algn="ctr">
              <a:buNone/>
              <a:defRPr>
                <a:solidFill>
                  <a:schemeClr val="tx1">
                    <a:tint val="75000"/>
                  </a:schemeClr>
                </a:solidFill>
              </a:defRPr>
            </a:lvl8pPr>
            <a:lvl9pPr marL="3580912"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19307963"/>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71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6"/>
            <a:ext cx="8086519" cy="1686801"/>
          </a:xfrm>
        </p:spPr>
        <p:txBody>
          <a:bodyPr/>
          <a:lstStyle>
            <a:lvl1pPr>
              <a:defRPr sz="5874">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5">
                <a:solidFill>
                  <a:schemeClr val="bg1"/>
                </a:solidFill>
                <a:latin typeface="+mn-lt"/>
              </a:defRPr>
            </a:lvl1pPr>
            <a:lvl2pPr marL="447614" indent="0" algn="ctr">
              <a:buNone/>
              <a:defRPr>
                <a:solidFill>
                  <a:schemeClr val="tx1">
                    <a:tint val="75000"/>
                  </a:schemeClr>
                </a:solidFill>
              </a:defRPr>
            </a:lvl2pPr>
            <a:lvl3pPr marL="895228" indent="0" algn="ctr">
              <a:buNone/>
              <a:defRPr>
                <a:solidFill>
                  <a:schemeClr val="tx1">
                    <a:tint val="75000"/>
                  </a:schemeClr>
                </a:solidFill>
              </a:defRPr>
            </a:lvl3pPr>
            <a:lvl4pPr marL="1342842" indent="0" algn="ctr">
              <a:buNone/>
              <a:defRPr>
                <a:solidFill>
                  <a:schemeClr val="tx1">
                    <a:tint val="75000"/>
                  </a:schemeClr>
                </a:solidFill>
              </a:defRPr>
            </a:lvl4pPr>
            <a:lvl5pPr marL="1790457" indent="0" algn="ctr">
              <a:buNone/>
              <a:defRPr>
                <a:solidFill>
                  <a:schemeClr val="tx1">
                    <a:tint val="75000"/>
                  </a:schemeClr>
                </a:solidFill>
              </a:defRPr>
            </a:lvl5pPr>
            <a:lvl6pPr marL="2238071" indent="0" algn="ctr">
              <a:buNone/>
              <a:defRPr>
                <a:solidFill>
                  <a:schemeClr val="tx1">
                    <a:tint val="75000"/>
                  </a:schemeClr>
                </a:solidFill>
              </a:defRPr>
            </a:lvl6pPr>
            <a:lvl7pPr marL="2685685" indent="0" algn="ctr">
              <a:buNone/>
              <a:defRPr>
                <a:solidFill>
                  <a:schemeClr val="tx1">
                    <a:tint val="75000"/>
                  </a:schemeClr>
                </a:solidFill>
              </a:defRPr>
            </a:lvl7pPr>
            <a:lvl8pPr marL="3133299" indent="0" algn="ctr">
              <a:buNone/>
              <a:defRPr>
                <a:solidFill>
                  <a:schemeClr val="tx1">
                    <a:tint val="75000"/>
                  </a:schemeClr>
                </a:solidFill>
              </a:defRPr>
            </a:lvl8pPr>
            <a:lvl9pPr marL="3580912"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2" y="1315054"/>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3186">
                <a:lnSpc>
                  <a:spcPct val="90000"/>
                </a:lnSpc>
                <a:spcAft>
                  <a:spcPts val="587"/>
                </a:spcAft>
              </a:pPr>
              <a:endParaRPr lang="en-US" sz="136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3186">
                <a:lnSpc>
                  <a:spcPct val="90000"/>
                </a:lnSpc>
                <a:spcAft>
                  <a:spcPts val="587"/>
                </a:spcAft>
              </a:pPr>
              <a:endParaRPr lang="en-US" sz="136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3186">
                <a:lnSpc>
                  <a:spcPct val="90000"/>
                </a:lnSpc>
                <a:spcAft>
                  <a:spcPts val="587"/>
                </a:spcAft>
              </a:pPr>
              <a:endParaRPr lang="en-US" sz="1763" b="1" dirty="0">
                <a:solidFill>
                  <a:srgbClr val="FFFFFF">
                    <a:lumMod val="65000"/>
                  </a:srgbClr>
                </a:solidFill>
              </a:endParaRPr>
            </a:p>
          </p:txBody>
        </p:sp>
      </p:grpSp>
    </p:spTree>
    <p:extLst>
      <p:ext uri="{BB962C8B-B14F-4D97-AF65-F5344CB8AC3E}">
        <p14:creationId xmlns:p14="http://schemas.microsoft.com/office/powerpoint/2010/main" val="1343825118"/>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819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3" y="259792"/>
            <a:ext cx="11005512" cy="1075884"/>
          </a:xfrm>
        </p:spPr>
        <p:txBody>
          <a:bodyPr lIns="0" tIns="91440" rIns="146304" bIns="91440"/>
          <a:lstStyle>
            <a:lvl1pPr>
              <a:lnSpc>
                <a:spcPts val="4798"/>
              </a:lnSpc>
              <a:defRPr sz="430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69240" y="6437243"/>
            <a:ext cx="3859607" cy="134482"/>
          </a:xfrm>
          <a:prstGeom prst="rect">
            <a:avLst/>
          </a:prstGeom>
        </p:spPr>
        <p:txBody>
          <a:bodyPr/>
          <a:lstStyle/>
          <a:p>
            <a:pPr defTabSz="913219"/>
            <a:endParaRPr lang="en-US" dirty="0">
              <a:solidFill>
                <a:srgbClr val="505050"/>
              </a:solidFill>
            </a:endParaRPr>
          </a:p>
        </p:txBody>
      </p:sp>
      <p:sp>
        <p:nvSpPr>
          <p:cNvPr id="4" name="Slide Number Placeholder 3"/>
          <p:cNvSpPr>
            <a:spLocks noGrp="1"/>
          </p:cNvSpPr>
          <p:nvPr>
            <p:ph type="sldNum" sz="quarter" idx="11"/>
          </p:nvPr>
        </p:nvSpPr>
        <p:spPr>
          <a:xfrm>
            <a:off x="11367167" y="6437243"/>
            <a:ext cx="555596" cy="134482"/>
          </a:xfrm>
          <a:prstGeom prst="rect">
            <a:avLst/>
          </a:prstGeom>
        </p:spPr>
        <p:txBody>
          <a:bodyPr/>
          <a:lstStyle/>
          <a:p>
            <a:pPr defTabSz="913219"/>
            <a:fld id="{27258FFF-F925-446B-8502-81C933981705}" type="slidenum">
              <a:rPr lang="en-US" smtClean="0">
                <a:solidFill>
                  <a:srgbClr val="505050"/>
                </a:solidFill>
              </a:rPr>
              <a:pPr defTabSz="913219"/>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301"/>
            <a:ext cx="11005513" cy="2443827"/>
          </a:xfrm>
        </p:spPr>
        <p:txBody>
          <a:bodyPr lIns="0" tIns="0"/>
          <a:lstStyle>
            <a:lvl1pPr marL="228470" indent="-228470">
              <a:spcBef>
                <a:spcPts val="1174"/>
              </a:spcBef>
              <a:defRPr sz="2546">
                <a:latin typeface="+mn-lt"/>
              </a:defRPr>
            </a:lvl1pPr>
            <a:lvl2pPr marL="676084" indent="-228470">
              <a:spcBef>
                <a:spcPts val="1174"/>
              </a:spcBef>
              <a:buSzPct val="100000"/>
              <a:buFont typeface="Segoe UI" pitchFamily="34" charset="0"/>
              <a:buChar char="‐"/>
              <a:defRPr/>
            </a:lvl2pPr>
            <a:lvl3pPr marL="1123699" indent="-228470">
              <a:spcBef>
                <a:spcPts val="1174"/>
              </a:spcBef>
              <a:buFont typeface="Wingdings" pitchFamily="2" charset="2"/>
              <a:buChar char="§"/>
              <a:defRPr/>
            </a:lvl3pPr>
            <a:lvl4pPr marL="1566650" indent="-335711">
              <a:spcBef>
                <a:spcPts val="1174"/>
              </a:spcBef>
              <a:buFont typeface="+mj-lt"/>
              <a:buAutoNum type="arabicPeriod"/>
              <a:defRPr/>
            </a:lvl4pPr>
            <a:lvl5pPr marL="1905469" indent="-335711">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268869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957525214"/>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921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2"/>
          </a:xfrm>
          <a:prstGeom prst="rect">
            <a:avLst/>
          </a:prstGeom>
        </p:spPr>
        <p:txBody>
          <a:bodyPr/>
          <a:lstStyle/>
          <a:p>
            <a:pPr defTabSz="913219"/>
            <a:endParaRPr lang="en-US" dirty="0">
              <a:solidFill>
                <a:srgbClr val="505050"/>
              </a:solidFill>
            </a:endParaRPr>
          </a:p>
        </p:txBody>
      </p:sp>
      <p:sp>
        <p:nvSpPr>
          <p:cNvPr id="4" name="Slide Number Placeholder 3"/>
          <p:cNvSpPr>
            <a:spLocks noGrp="1"/>
          </p:cNvSpPr>
          <p:nvPr>
            <p:ph type="sldNum" sz="quarter" idx="11"/>
          </p:nvPr>
        </p:nvSpPr>
        <p:spPr>
          <a:xfrm>
            <a:off x="11367167" y="6437243"/>
            <a:ext cx="555596" cy="134482"/>
          </a:xfrm>
          <a:prstGeom prst="rect">
            <a:avLst/>
          </a:prstGeom>
        </p:spPr>
        <p:txBody>
          <a:bodyPr/>
          <a:lstStyle/>
          <a:p>
            <a:pPr defTabSz="913219"/>
            <a:fld id="{27258FFF-F925-446B-8502-81C933981705}" type="slidenum">
              <a:rPr lang="en-US" smtClean="0">
                <a:solidFill>
                  <a:srgbClr val="505050"/>
                </a:solidFill>
              </a:rPr>
              <a:pPr defTabSz="913219"/>
              <a:t>‹#›</a:t>
            </a:fld>
            <a:endParaRPr lang="en-US" dirty="0">
              <a:solidFill>
                <a:srgbClr val="505050"/>
              </a:solidFill>
            </a:endParaRPr>
          </a:p>
        </p:txBody>
      </p:sp>
      <p:sp>
        <p:nvSpPr>
          <p:cNvPr id="7" name="Title 1"/>
          <p:cNvSpPr>
            <a:spLocks noGrp="1"/>
          </p:cNvSpPr>
          <p:nvPr>
            <p:ph type="title" hasCustomPrompt="1"/>
          </p:nvPr>
        </p:nvSpPr>
        <p:spPr>
          <a:xfrm>
            <a:off x="573713" y="259792"/>
            <a:ext cx="11005512" cy="1075884"/>
          </a:xfrm>
        </p:spPr>
        <p:txBody>
          <a:bodyPr lIns="0" tIns="91440" rIns="146304" bIns="91440"/>
          <a:lstStyle>
            <a:lvl1pPr>
              <a:lnSpc>
                <a:spcPts val="4798"/>
              </a:lnSpc>
              <a:defRPr sz="4307"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952886092"/>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024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4060" y="2646135"/>
            <a:ext cx="4140487" cy="1523268"/>
          </a:xfrm>
          <a:prstGeom prst="rect">
            <a:avLst/>
          </a:prstGeom>
        </p:spPr>
      </p:pic>
    </p:spTree>
    <p:extLst>
      <p:ext uri="{BB962C8B-B14F-4D97-AF65-F5344CB8AC3E}">
        <p14:creationId xmlns:p14="http://schemas.microsoft.com/office/powerpoint/2010/main" val="2052430345"/>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3"/>
            <a:ext cx="11653523" cy="1158794"/>
          </a:xfrm>
          <a:noFill/>
        </p:spPr>
        <p:txBody>
          <a:bodyPr anchorCtr="0">
            <a:spAutoFit/>
          </a:bodyPr>
          <a:lstStyle>
            <a:lvl1pPr>
              <a:defRPr sz="7048" spc="-98"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281740149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6" y="1117578"/>
            <a:ext cx="10816237" cy="603539"/>
          </a:xfrm>
          <a:prstGeom prst="rect">
            <a:avLst/>
          </a:prstGeom>
        </p:spPr>
        <p:txBody>
          <a:bodyPr lIns="192024"/>
          <a:lstStyle>
            <a:lvl1pPr marL="0" indent="0">
              <a:buNone/>
              <a:defRPr lang="en-US" sz="2742" kern="1200" smtClean="0">
                <a:solidFill>
                  <a:schemeClr val="tx2"/>
                </a:solidFill>
                <a:latin typeface="+mj-lt"/>
                <a:ea typeface="+mn-ea"/>
                <a:cs typeface="+mn-cs"/>
              </a:defRPr>
            </a:lvl1pPr>
            <a:lvl2pPr marL="0" indent="0">
              <a:buNone/>
              <a:defRPr lang="en-US" sz="3105" kern="1200" smtClean="0">
                <a:solidFill>
                  <a:schemeClr val="bg1"/>
                </a:solidFill>
                <a:latin typeface="+mj-lt"/>
                <a:ea typeface="+mn-ea"/>
                <a:cs typeface="+mn-cs"/>
              </a:defRPr>
            </a:lvl2pPr>
            <a:lvl3pPr marL="0" indent="0">
              <a:buNone/>
              <a:defRPr lang="en-US" sz="3105" kern="1200" smtClean="0">
                <a:solidFill>
                  <a:schemeClr val="bg1"/>
                </a:solidFill>
                <a:latin typeface="+mj-lt"/>
                <a:ea typeface="+mn-ea"/>
                <a:cs typeface="+mn-cs"/>
              </a:defRPr>
            </a:lvl3pPr>
            <a:lvl4pPr marL="0" indent="0">
              <a:buNone/>
              <a:defRPr lang="en-US" sz="3105" kern="1200" smtClean="0">
                <a:solidFill>
                  <a:schemeClr val="bg1"/>
                </a:solidFill>
                <a:latin typeface="+mj-lt"/>
                <a:ea typeface="+mn-ea"/>
                <a:cs typeface="+mn-cs"/>
              </a:defRPr>
            </a:lvl4pPr>
            <a:lvl5pPr marL="0" indent="0">
              <a:buNone/>
              <a:defRPr lang="en-US" sz="3105"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2"/>
            <a:ext cx="11653523" cy="927940"/>
          </a:xfrm>
          <a:prstGeom prst="rect">
            <a:avLst/>
          </a:prstGeom>
        </p:spPr>
        <p:txBody>
          <a:bodyPr/>
          <a:lstStyle>
            <a:lvl1pPr algn="l">
              <a:defRPr sz="5090">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3219">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3219"/>
            <a:fld id="{6052FC3A-E1BD-E54F-9A48-71EBDEF00552}" type="slidenum">
              <a:rPr lang="en-US" smtClean="0">
                <a:solidFill>
                  <a:srgbClr val="505050"/>
                </a:solidFill>
              </a:rPr>
              <a:pPr defTabSz="913219"/>
              <a:t>‹#›</a:t>
            </a:fld>
            <a:endParaRPr lang="en-US">
              <a:solidFill>
                <a:srgbClr val="505050"/>
              </a:solidFill>
            </a:endParaRPr>
          </a:p>
        </p:txBody>
      </p:sp>
    </p:spTree>
    <p:extLst>
      <p:ext uri="{BB962C8B-B14F-4D97-AF65-F5344CB8AC3E}">
        <p14:creationId xmlns:p14="http://schemas.microsoft.com/office/powerpoint/2010/main" val="362829702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2"/>
            <a:ext cx="11653523" cy="927940"/>
          </a:xfrm>
          <a:prstGeom prst="rect">
            <a:avLst/>
          </a:prstGeom>
        </p:spPr>
        <p:txBody>
          <a:bodyPr/>
          <a:lstStyle>
            <a:lvl1pPr algn="l">
              <a:defRPr sz="509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428905454"/>
      </p:ext>
    </p:extLst>
  </p:cSld>
  <p:clrMapOvr>
    <a:masterClrMapping/>
  </p:clrMapOvr>
  <p:transition spd="med">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8"/>
            <a:ext cx="8964185" cy="1793090"/>
          </a:xfrm>
          <a:noFill/>
        </p:spPr>
        <p:txBody>
          <a:bodyPr lIns="146304" tIns="91440" rIns="146304" bIns="91440" anchor="t" anchorCtr="0"/>
          <a:lstStyle>
            <a:lvl1pPr>
              <a:defRPr sz="5874"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5"/>
            <a:ext cx="8964186" cy="1792327"/>
          </a:xfrm>
          <a:noFill/>
        </p:spPr>
        <p:txBody>
          <a:bodyPr lIns="182880" tIns="146304" rIns="182880" bIns="146304">
            <a:noAutofit/>
          </a:bodyPr>
          <a:lstStyle>
            <a:lvl1pPr marL="0" indent="0">
              <a:spcBef>
                <a:spcPts val="0"/>
              </a:spcBef>
              <a:buNone/>
              <a:defRPr sz="3524"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2"/>
          </a:xfrm>
          <a:prstGeom prst="rect">
            <a:avLst/>
          </a:prstGeom>
        </p:spPr>
        <p:txBody>
          <a:bodyPr/>
          <a:lstStyle/>
          <a:p>
            <a:pPr defTabSz="913219"/>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7" y="6558796"/>
            <a:ext cx="555596" cy="134482"/>
          </a:xfrm>
          <a:prstGeom prst="rect">
            <a:avLst/>
          </a:prstGeom>
        </p:spPr>
        <p:txBody>
          <a:bodyPr/>
          <a:lstStyle/>
          <a:p>
            <a:pPr defTabSz="913219"/>
            <a:fld id="{27258FFF-F925-446B-8502-81C933981705}" type="slidenum">
              <a:rPr lang="en-US" smtClean="0">
                <a:gradFill>
                  <a:gsLst>
                    <a:gs pos="2239">
                      <a:srgbClr val="FFFFFF"/>
                    </a:gs>
                    <a:gs pos="11940">
                      <a:srgbClr val="FFFFFF"/>
                    </a:gs>
                  </a:gsLst>
                  <a:lin ang="5400000" scaled="0"/>
                </a:gradFill>
              </a:rPr>
              <a:pPr defTabSz="913219"/>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5227" y="470411"/>
            <a:ext cx="1606863" cy="352151"/>
          </a:xfrm>
          <a:prstGeom prst="rect">
            <a:avLst/>
          </a:prstGeom>
        </p:spPr>
      </p:pic>
    </p:spTree>
    <p:extLst>
      <p:ext uri="{BB962C8B-B14F-4D97-AF65-F5344CB8AC3E}">
        <p14:creationId xmlns:p14="http://schemas.microsoft.com/office/powerpoint/2010/main" val="2592308893"/>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126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6" y="2100817"/>
            <a:ext cx="11007660" cy="1686801"/>
          </a:xfrm>
        </p:spPr>
        <p:txBody>
          <a:bodyPr/>
          <a:lstStyle>
            <a:lvl1pPr>
              <a:defRPr sz="5873">
                <a:solidFill>
                  <a:schemeClr val="bg1"/>
                </a:solidFill>
              </a:defRPr>
            </a:lvl1pPr>
          </a:lstStyle>
          <a:p>
            <a:r>
              <a:rPr lang="en-US" dirty="0"/>
              <a:t>Title</a:t>
            </a:r>
          </a:p>
        </p:txBody>
      </p:sp>
      <p:sp>
        <p:nvSpPr>
          <p:cNvPr id="8" name="Subtitle 2"/>
          <p:cNvSpPr>
            <a:spLocks noGrp="1"/>
          </p:cNvSpPr>
          <p:nvPr>
            <p:ph type="subTitle" idx="1" hasCustomPrompt="1"/>
          </p:nvPr>
        </p:nvSpPr>
        <p:spPr>
          <a:xfrm>
            <a:off x="591643" y="3877277"/>
            <a:ext cx="10989732" cy="513276"/>
          </a:xfrm>
        </p:spPr>
        <p:txBody>
          <a:bodyPr/>
          <a:lstStyle>
            <a:lvl1pPr marL="0" indent="0" algn="l">
              <a:buNone/>
              <a:defRPr sz="2155">
                <a:solidFill>
                  <a:schemeClr val="bg1"/>
                </a:solidFill>
                <a:latin typeface="+mn-lt"/>
              </a:defRPr>
            </a:lvl1pPr>
            <a:lvl2pPr marL="447528" indent="0" algn="ctr">
              <a:buNone/>
              <a:defRPr>
                <a:solidFill>
                  <a:schemeClr val="tx1">
                    <a:tint val="75000"/>
                  </a:schemeClr>
                </a:solidFill>
              </a:defRPr>
            </a:lvl2pPr>
            <a:lvl3pPr marL="895057" indent="0" algn="ctr">
              <a:buNone/>
              <a:defRPr>
                <a:solidFill>
                  <a:schemeClr val="tx1">
                    <a:tint val="75000"/>
                  </a:schemeClr>
                </a:solidFill>
              </a:defRPr>
            </a:lvl3pPr>
            <a:lvl4pPr marL="1342585" indent="0" algn="ctr">
              <a:buNone/>
              <a:defRPr>
                <a:solidFill>
                  <a:schemeClr val="tx1">
                    <a:tint val="75000"/>
                  </a:schemeClr>
                </a:solidFill>
              </a:defRPr>
            </a:lvl4pPr>
            <a:lvl5pPr marL="1790113" indent="0" algn="ctr">
              <a:buNone/>
              <a:defRPr>
                <a:solidFill>
                  <a:schemeClr val="tx1">
                    <a:tint val="75000"/>
                  </a:schemeClr>
                </a:solidFill>
              </a:defRPr>
            </a:lvl5pPr>
            <a:lvl6pPr marL="2237641" indent="0" algn="ctr">
              <a:buNone/>
              <a:defRPr>
                <a:solidFill>
                  <a:schemeClr val="tx1">
                    <a:tint val="75000"/>
                  </a:schemeClr>
                </a:solidFill>
              </a:defRPr>
            </a:lvl6pPr>
            <a:lvl7pPr marL="2685169" indent="0" algn="ctr">
              <a:buNone/>
              <a:defRPr>
                <a:solidFill>
                  <a:schemeClr val="tx1">
                    <a:tint val="75000"/>
                  </a:schemeClr>
                </a:solidFill>
              </a:defRPr>
            </a:lvl7pPr>
            <a:lvl8pPr marL="3132697" indent="0" algn="ctr">
              <a:buNone/>
              <a:defRPr>
                <a:solidFill>
                  <a:schemeClr val="tx1">
                    <a:tint val="75000"/>
                  </a:schemeClr>
                </a:solidFill>
              </a:defRPr>
            </a:lvl8pPr>
            <a:lvl9pPr marL="358022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233263187"/>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40" y="1197324"/>
            <a:ext cx="11653522" cy="1956973"/>
          </a:xfrm>
        </p:spPr>
        <p:txBody>
          <a:bodyPr/>
          <a:lstStyle>
            <a:lvl1pPr marL="0" indent="0">
              <a:buNone/>
              <a:defRPr sz="322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22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23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733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87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801811"/>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2012986"/>
          </a:xfrm>
        </p:spPr>
        <p:txBody>
          <a:bodyPr/>
          <a:lstStyle>
            <a:lvl1pPr>
              <a:defRPr sz="352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8106576"/>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71152950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68406B1-5395-4EAD-BD16-C032EA563FF8}" type="datetimeFigureOut">
              <a:rPr lang="en-US" smtClean="0"/>
              <a:t>6/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3678674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89560977"/>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2"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3219"/>
            <a:endParaRPr lang="en-US" sz="2397" dirty="0">
              <a:solidFill>
                <a:prstClr val="white"/>
              </a:solidFill>
            </a:endParaRPr>
          </a:p>
        </p:txBody>
      </p:sp>
      <p:sp>
        <p:nvSpPr>
          <p:cNvPr id="9" name="Title 1"/>
          <p:cNvSpPr>
            <a:spLocks noGrp="1" noChangeAspect="1"/>
          </p:cNvSpPr>
          <p:nvPr>
            <p:ph type="title"/>
          </p:nvPr>
        </p:nvSpPr>
        <p:spPr>
          <a:xfrm>
            <a:off x="269240" y="560343"/>
            <a:ext cx="3660400" cy="5670382"/>
          </a:xfrm>
          <a:prstGeom prst="rect">
            <a:avLst/>
          </a:prstGeom>
        </p:spPr>
        <p:txBody>
          <a:bodyPr lIns="91440" tIns="91440" bIns="91440" anchor="ctr"/>
          <a:lstStyle>
            <a:lvl1pPr algn="l">
              <a:defRPr sz="3996">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651765712"/>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00977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9621047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0387278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6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26090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3"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0463442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6014997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278640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913386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4612620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15422385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6431547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91848141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5210633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44959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8287942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090626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1_Sectio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342642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3781044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2506209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8601314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5238022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68406B1-5395-4EAD-BD16-C032EA563FF8}" type="datetimeFigureOut">
              <a:rPr lang="en-US" smtClean="0"/>
              <a:t>6/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2155673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0312715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2_Section">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1150632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4" y="1834504"/>
            <a:ext cx="5840165"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5"/>
            <a:ext cx="6274974" cy="1022069"/>
          </a:xfrm>
        </p:spPr>
        <p:txBody>
          <a:bodyPr lIns="179261" tIns="143408" rIns="179261" bIns="143408"/>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61" tIns="143408" rIns="179261" bIns="143408"/>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8"/>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8"/>
            <a:ext cx="6274974" cy="1022998"/>
          </a:xfrm>
        </p:spPr>
        <p:txBody>
          <a:bodyPr lIns="179261" tIns="143408" rIns="179261" bIns="143408"/>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0426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8" y="2599697"/>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8" y="3378028"/>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76090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08" tIns="89631" rIns="143408" bIns="89631"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1335" tIns="107556" rIns="161335" bIns="10755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61" tIns="143408" rIns="179261" bIns="143408"/>
          <a:lstStyle>
            <a:lvl1pPr marL="0" indent="0" algn="r">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61" tIns="143408" rIns="179261" bIns="143408" anchor="b"/>
          <a:lstStyle>
            <a:lvl1pPr marL="0" indent="0" algn="l">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4"/>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298786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8" cy="2263268"/>
          </a:xfrm>
        </p:spPr>
        <p:txBody>
          <a:bodyPr>
            <a:spAutoFit/>
          </a:bodyPr>
          <a:lstStyle>
            <a:lvl1pPr marL="0" indent="0">
              <a:buNone/>
              <a:defRPr/>
            </a:lvl1pPr>
            <a:lvl2pPr marL="224076" indent="0">
              <a:buNone/>
              <a:defRPr/>
            </a:lvl2pPr>
            <a:lvl3pPr marL="448151" indent="0">
              <a:buNone/>
              <a:defRPr/>
            </a:lvl3pPr>
            <a:lvl4pPr marL="672227" indent="0">
              <a:buNone/>
              <a:defRPr/>
            </a:lvl4pPr>
            <a:lvl5pPr marL="89630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7574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4" y="1187645"/>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803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29" indent="0">
              <a:buFont typeface="Wingdings" panose="05000000000000000000" pitchFamily="2" charset="2"/>
              <a:buNone/>
              <a:defRPr sz="2400" b="0"/>
            </a:lvl2pPr>
            <a:lvl3pPr marL="441926" indent="0">
              <a:buFont typeface="Wingdings" panose="05000000000000000000" pitchFamily="2" charset="2"/>
              <a:buNone/>
              <a:tabLst/>
              <a:defRPr sz="2200" b="0"/>
            </a:lvl3pPr>
            <a:lvl4pPr marL="639548" indent="0">
              <a:buFont typeface="Wingdings" panose="05000000000000000000" pitchFamily="2" charset="2"/>
              <a:buNone/>
              <a:defRPr sz="2200" b="0"/>
            </a:lvl4pPr>
            <a:lvl5pPr marL="83717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2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26"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54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17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169" marR="0" lvl="0" indent="-504169" algn="l" defTabSz="914281" rtl="0" eaLnBrk="1" fontAlgn="auto" latinLnBrk="0" hangingPunct="1">
              <a:lnSpc>
                <a:spcPct val="90000"/>
              </a:lnSpc>
              <a:spcBef>
                <a:spcPts val="1200"/>
              </a:spcBef>
              <a:spcAft>
                <a:spcPts val="0"/>
              </a:spcAft>
              <a:buClr>
                <a:schemeClr val="tx1"/>
              </a:buClr>
              <a:buSzPct val="90000"/>
              <a:tabLst/>
            </a:pPr>
            <a:r>
              <a:rPr lang="en-US"/>
              <a:t>Edit Master text styles</a:t>
            </a:r>
          </a:p>
          <a:p>
            <a:pPr marL="504169" marR="0" lvl="1" indent="-504169" algn="l" defTabSz="914281" rtl="0" eaLnBrk="1" fontAlgn="auto" latinLnBrk="0" hangingPunct="1">
              <a:lnSpc>
                <a:spcPct val="90000"/>
              </a:lnSpc>
              <a:spcBef>
                <a:spcPts val="1200"/>
              </a:spcBef>
              <a:spcAft>
                <a:spcPts val="0"/>
              </a:spcAft>
              <a:buClr>
                <a:schemeClr val="tx1"/>
              </a:buClr>
              <a:buSzPct val="90000"/>
              <a:tabLst/>
            </a:pPr>
            <a:r>
              <a:rPr lang="en-US"/>
              <a:t>Second level</a:t>
            </a:r>
          </a:p>
          <a:p>
            <a:pPr marL="504169" marR="0" lvl="2" indent="-504169" algn="l" defTabSz="914281" rtl="0" eaLnBrk="1" fontAlgn="auto" latinLnBrk="0" hangingPunct="1">
              <a:lnSpc>
                <a:spcPct val="90000"/>
              </a:lnSpc>
              <a:spcBef>
                <a:spcPts val="1200"/>
              </a:spcBef>
              <a:spcAft>
                <a:spcPts val="0"/>
              </a:spcAft>
              <a:buClr>
                <a:schemeClr val="tx1"/>
              </a:buClr>
              <a:buSzPct val="90000"/>
              <a:tabLst/>
            </a:pPr>
            <a:r>
              <a:rPr lang="en-US"/>
              <a:t>Third level</a:t>
            </a:r>
          </a:p>
          <a:p>
            <a:pPr marL="504169" marR="0" lvl="3" indent="-504169" algn="l" defTabSz="914281" rtl="0" eaLnBrk="1" fontAlgn="auto" latinLnBrk="0" hangingPunct="1">
              <a:lnSpc>
                <a:spcPct val="90000"/>
              </a:lnSpc>
              <a:spcBef>
                <a:spcPts val="1200"/>
              </a:spcBef>
              <a:spcAft>
                <a:spcPts val="0"/>
              </a:spcAft>
              <a:buClr>
                <a:schemeClr val="tx1"/>
              </a:buClr>
              <a:buSzPct val="90000"/>
              <a:tabLst/>
            </a:pPr>
            <a:r>
              <a:rPr lang="en-US"/>
              <a:t>Fourth level</a:t>
            </a:r>
          </a:p>
          <a:p>
            <a:pPr marL="504169" marR="0" lvl="4" indent="-504169" algn="l" defTabSz="91428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6103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187" indent="-227187">
              <a:spcBef>
                <a:spcPts val="1200"/>
              </a:spcBef>
              <a:buClr>
                <a:schemeClr val="tx1"/>
              </a:buClr>
              <a:buFont typeface="Wingdings" panose="05000000000000000000" pitchFamily="2" charset="2"/>
              <a:buChar char=""/>
              <a:defRPr sz="2900" b="0">
                <a:latin typeface="+mn-lt"/>
              </a:defRPr>
            </a:lvl1pPr>
            <a:lvl2pPr marL="418586" indent="-168056">
              <a:buFont typeface="Wingdings" panose="05000000000000000000" pitchFamily="2" charset="2"/>
              <a:buChar char=""/>
              <a:defRPr sz="2400" b="0"/>
            </a:lvl2pPr>
            <a:lvl3pPr marL="627101" indent="-185174">
              <a:buFont typeface="Wingdings" panose="05000000000000000000" pitchFamily="2" charset="2"/>
              <a:buChar char=""/>
              <a:tabLst/>
              <a:defRPr sz="2200" b="0"/>
            </a:lvl3pPr>
            <a:lvl4pPr marL="812274" indent="-172726">
              <a:buFont typeface="Wingdings" panose="05000000000000000000" pitchFamily="2" charset="2"/>
              <a:buChar char=""/>
              <a:defRPr sz="2200" b="0"/>
            </a:lvl4pPr>
            <a:lvl5pPr marL="1003671" indent="-16650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281651" indent="-281651">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43" indent="-336114">
              <a:defRPr lang="en-US" sz="2400" b="0" kern="1200" spc="0" baseline="0" dirty="0">
                <a:gradFill>
                  <a:gsLst>
                    <a:gs pos="1250">
                      <a:schemeClr val="tx1"/>
                    </a:gs>
                    <a:gs pos="100000">
                      <a:schemeClr val="tx1"/>
                    </a:gs>
                  </a:gsLst>
                  <a:lin ang="5400000" scaled="0"/>
                </a:gradFill>
                <a:latin typeface="+mn-lt"/>
                <a:ea typeface="+mn-ea"/>
                <a:cs typeface="+mn-cs"/>
              </a:defRPr>
            </a:lvl2pPr>
            <a:lvl3pPr marL="778040" indent="-33611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661" indent="-336114">
              <a:defRPr lang="en-US" sz="2200" b="0" kern="1200" spc="0" baseline="0" dirty="0">
                <a:gradFill>
                  <a:gsLst>
                    <a:gs pos="1250">
                      <a:schemeClr val="tx1"/>
                    </a:gs>
                    <a:gs pos="100000">
                      <a:schemeClr val="tx1"/>
                    </a:gs>
                  </a:gsLst>
                  <a:lin ang="5400000" scaled="0"/>
                </a:gradFill>
                <a:latin typeface="+mn-lt"/>
                <a:ea typeface="+mn-ea"/>
                <a:cs typeface="+mn-cs"/>
              </a:defRPr>
            </a:lvl4pPr>
            <a:lvl5pPr marL="1173285" indent="-33611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187" marR="0" lvl="0"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187" marR="0" lvl="1"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187" marR="0" lvl="2"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187" marR="0" lvl="3"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187" marR="0" lvl="4"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018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7041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68406B1-5395-4EAD-BD16-C032EA563FF8}" type="datetimeFigureOut">
              <a:rPr lang="en-US" smtClean="0"/>
              <a:t>6/3/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70979491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1" bIns="89631"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826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1" bIns="89631"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71674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3565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61427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3778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23506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637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484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3" y="2291366"/>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61" tIns="143408" rIns="179261" bIns="143408" rtlCol="0" anchor="ctr">
            <a:spAutoFit/>
          </a:bodyPr>
          <a:lstStyle/>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281">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13346227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4016"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3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44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1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6706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61" tIns="179261" rIns="179261" bIns="179261" numCol="1" anchor="t" anchorCtr="0" compatLnSpc="1">
            <a:prstTxWarp prst="textNoShape">
              <a:avLst/>
            </a:prstTxWarp>
            <a:spAutoFit/>
          </a:bodyPr>
          <a:lstStyle/>
          <a:p>
            <a:pPr defTabSz="913838"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645736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68406B1-5395-4EAD-BD16-C032EA563FF8}" type="datetimeFigureOut">
              <a:rPr lang="en-US" smtClean="0"/>
              <a:t>6/3/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8280511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63" indent="-284763">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89" indent="-275427">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52" indent="-284763">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28" indent="-22407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04" indent="-22407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80" tIns="76191" rIns="152380" bIns="76191"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72237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23" bIns="89623"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3" y="3877277"/>
            <a:ext cx="9860674" cy="724246"/>
          </a:xfrm>
          <a:noFill/>
        </p:spPr>
        <p:txBody>
          <a:bodyPr lIns="179244" tIns="143394" rIns="179244" bIns="143394">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778077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20"/>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3" y="3878574"/>
            <a:ext cx="7171337" cy="1792326"/>
          </a:xfrm>
          <a:noFill/>
        </p:spPr>
        <p:txBody>
          <a:bodyPr tIns="107546" bIns="10754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2583389163"/>
      </p:ext>
    </p:extLst>
  </p:cSld>
  <p:clrMapOvr>
    <a:masterClrMapping/>
  </p:clrMapOvr>
  <p:transition spd="slow"/>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694282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759993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301557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3" y="1189181"/>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3988" indent="0">
              <a:buNone/>
              <a:defRPr/>
            </a:lvl3pPr>
            <a:lvl4pPr marL="447976" indent="0">
              <a:buNone/>
              <a:defRPr/>
            </a:lvl4pPr>
            <a:lvl5pPr marL="67196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9347592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482700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89377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4"/>
            <a:ext cx="6947134" cy="995838"/>
          </a:xfrm>
          <a:noFill/>
        </p:spPr>
        <p:txBody>
          <a:bodyPr wrap="square" tIns="89623" bIns="89623"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44" tIns="143394" rIns="179244" bIns="143394">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19036391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1.xml"/><Relationship Id="rId3" Type="http://schemas.openxmlformats.org/officeDocument/2006/relationships/slideLayout" Target="../slideLayouts/slideLayout166.xml"/><Relationship Id="rId7" Type="http://schemas.openxmlformats.org/officeDocument/2006/relationships/slideLayout" Target="../slideLayouts/slideLayout170.xml"/><Relationship Id="rId12" Type="http://schemas.openxmlformats.org/officeDocument/2006/relationships/theme" Target="../theme/theme10.xml"/><Relationship Id="rId2" Type="http://schemas.openxmlformats.org/officeDocument/2006/relationships/slideLayout" Target="../slideLayouts/slideLayout165.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5" Type="http://schemas.openxmlformats.org/officeDocument/2006/relationships/slideLayout" Target="../slideLayouts/slideLayout168.xml"/><Relationship Id="rId10" Type="http://schemas.openxmlformats.org/officeDocument/2006/relationships/slideLayout" Target="../slideLayouts/slideLayout173.xml"/><Relationship Id="rId4" Type="http://schemas.openxmlformats.org/officeDocument/2006/relationships/slideLayout" Target="../slideLayouts/slideLayout167.xml"/><Relationship Id="rId9" Type="http://schemas.openxmlformats.org/officeDocument/2006/relationships/slideLayout" Target="../slideLayouts/slideLayout17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image" Target="../media/image4.emf"/><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theme" Target="../theme/theme12.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3" Type="http://schemas.openxmlformats.org/officeDocument/2006/relationships/slideLayout" Target="../slideLayouts/slideLayout221.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 Type="http://schemas.openxmlformats.org/officeDocument/2006/relationships/slideLayout" Target="../slideLayouts/slideLayout220.xml"/><Relationship Id="rId16" Type="http://schemas.openxmlformats.org/officeDocument/2006/relationships/slideLayout" Target="../slideLayouts/slideLayout234.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5" Type="http://schemas.openxmlformats.org/officeDocument/2006/relationships/slideLayout" Target="../slideLayouts/slideLayout223.xml"/><Relationship Id="rId15" Type="http://schemas.openxmlformats.org/officeDocument/2006/relationships/slideLayout" Target="../slideLayouts/slideLayout233.xml"/><Relationship Id="rId10" Type="http://schemas.openxmlformats.org/officeDocument/2006/relationships/slideLayout" Target="../slideLayouts/slideLayout228.xml"/><Relationship Id="rId19" Type="http://schemas.openxmlformats.org/officeDocument/2006/relationships/theme" Target="../theme/theme13.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26" Type="http://schemas.openxmlformats.org/officeDocument/2006/relationships/slideLayout" Target="../slideLayouts/slideLayout262.xml"/><Relationship Id="rId21" Type="http://schemas.openxmlformats.org/officeDocument/2006/relationships/slideLayout" Target="../slideLayouts/slideLayout257.xml"/><Relationship Id="rId34" Type="http://schemas.openxmlformats.org/officeDocument/2006/relationships/slideLayout" Target="../slideLayouts/slideLayout270.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5" Type="http://schemas.openxmlformats.org/officeDocument/2006/relationships/slideLayout" Target="../slideLayouts/slideLayout261.xml"/><Relationship Id="rId33" Type="http://schemas.openxmlformats.org/officeDocument/2006/relationships/slideLayout" Target="../slideLayouts/slideLayout269.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29" Type="http://schemas.openxmlformats.org/officeDocument/2006/relationships/slideLayout" Target="../slideLayouts/slideLayout265.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slideLayout" Target="../slideLayouts/slideLayout260.xml"/><Relationship Id="rId32" Type="http://schemas.openxmlformats.org/officeDocument/2006/relationships/slideLayout" Target="../slideLayouts/slideLayout268.xml"/><Relationship Id="rId37" Type="http://schemas.openxmlformats.org/officeDocument/2006/relationships/theme" Target="../theme/theme14.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slideLayout" Target="../slideLayouts/slideLayout259.xml"/><Relationship Id="rId28" Type="http://schemas.openxmlformats.org/officeDocument/2006/relationships/slideLayout" Target="../slideLayouts/slideLayout264.xml"/><Relationship Id="rId36" Type="http://schemas.openxmlformats.org/officeDocument/2006/relationships/slideLayout" Target="../slideLayouts/slideLayout272.xml"/><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31" Type="http://schemas.openxmlformats.org/officeDocument/2006/relationships/slideLayout" Target="../slideLayouts/slideLayout267.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slideLayout" Target="../slideLayouts/slideLayout258.xml"/><Relationship Id="rId27" Type="http://schemas.openxmlformats.org/officeDocument/2006/relationships/slideLayout" Target="../slideLayouts/slideLayout263.xml"/><Relationship Id="rId30" Type="http://schemas.openxmlformats.org/officeDocument/2006/relationships/slideLayout" Target="../slideLayouts/slideLayout266.xml"/><Relationship Id="rId35" Type="http://schemas.openxmlformats.org/officeDocument/2006/relationships/slideLayout" Target="../slideLayouts/slideLayout271.xml"/><Relationship Id="rId8" Type="http://schemas.openxmlformats.org/officeDocument/2006/relationships/slideLayout" Target="../slideLayouts/slideLayout244.xml"/><Relationship Id="rId3" Type="http://schemas.openxmlformats.org/officeDocument/2006/relationships/slideLayout" Target="../slideLayouts/slideLayout239.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3" Type="http://schemas.openxmlformats.org/officeDocument/2006/relationships/slideLayout" Target="../slideLayouts/slideLayout275.xml"/><Relationship Id="rId21" Type="http://schemas.openxmlformats.org/officeDocument/2006/relationships/slideLayout" Target="../slideLayouts/slideLayout293.xml"/><Relationship Id="rId7" Type="http://schemas.openxmlformats.org/officeDocument/2006/relationships/slideLayout" Target="../slideLayouts/slideLayout279.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 Type="http://schemas.openxmlformats.org/officeDocument/2006/relationships/slideLayout" Target="../slideLayouts/slideLayout274.xml"/><Relationship Id="rId16" Type="http://schemas.openxmlformats.org/officeDocument/2006/relationships/slideLayout" Target="../slideLayouts/slideLayout288.xml"/><Relationship Id="rId20" Type="http://schemas.openxmlformats.org/officeDocument/2006/relationships/slideLayout" Target="../slideLayouts/slideLayout292.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5" Type="http://schemas.openxmlformats.org/officeDocument/2006/relationships/slideLayout" Target="../slideLayouts/slideLayout277.xml"/><Relationship Id="rId15" Type="http://schemas.openxmlformats.org/officeDocument/2006/relationships/slideLayout" Target="../slideLayouts/slideLayout287.xml"/><Relationship Id="rId10" Type="http://schemas.openxmlformats.org/officeDocument/2006/relationships/slideLayout" Target="../slideLayouts/slideLayout282.xml"/><Relationship Id="rId19" Type="http://schemas.openxmlformats.org/officeDocument/2006/relationships/slideLayout" Target="../slideLayouts/slideLayout291.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 Id="rId22"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1.xml"/><Relationship Id="rId3" Type="http://schemas.openxmlformats.org/officeDocument/2006/relationships/slideLayout" Target="../slideLayouts/slideLayout296.xml"/><Relationship Id="rId7" Type="http://schemas.openxmlformats.org/officeDocument/2006/relationships/slideLayout" Target="../slideLayouts/slideLayout300.xml"/><Relationship Id="rId12" Type="http://schemas.openxmlformats.org/officeDocument/2006/relationships/theme" Target="../theme/theme16.xml"/><Relationship Id="rId2" Type="http://schemas.openxmlformats.org/officeDocument/2006/relationships/slideLayout" Target="../slideLayouts/slideLayout295.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0" Type="http://schemas.openxmlformats.org/officeDocument/2006/relationships/slideLayout" Target="../slideLayouts/slideLayout303.xml"/><Relationship Id="rId4" Type="http://schemas.openxmlformats.org/officeDocument/2006/relationships/slideLayout" Target="../slideLayouts/slideLayout297.xml"/><Relationship Id="rId9" Type="http://schemas.openxmlformats.org/officeDocument/2006/relationships/slideLayout" Target="../slideLayouts/slideLayout302.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2.xml"/><Relationship Id="rId3" Type="http://schemas.openxmlformats.org/officeDocument/2006/relationships/slideLayout" Target="../slideLayouts/slideLayout307.xml"/><Relationship Id="rId7" Type="http://schemas.openxmlformats.org/officeDocument/2006/relationships/slideLayout" Target="../slideLayouts/slideLayout311.xml"/><Relationship Id="rId12" Type="http://schemas.openxmlformats.org/officeDocument/2006/relationships/theme" Target="../theme/theme17.xml"/><Relationship Id="rId2" Type="http://schemas.openxmlformats.org/officeDocument/2006/relationships/slideLayout" Target="../slideLayouts/slideLayout306.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slideLayout" Target="../slideLayouts/slideLayout315.xml"/><Relationship Id="rId5" Type="http://schemas.openxmlformats.org/officeDocument/2006/relationships/slideLayout" Target="../slideLayouts/slideLayout309.xml"/><Relationship Id="rId10" Type="http://schemas.openxmlformats.org/officeDocument/2006/relationships/slideLayout" Target="../slideLayouts/slideLayout314.xml"/><Relationship Id="rId4" Type="http://schemas.openxmlformats.org/officeDocument/2006/relationships/slideLayout" Target="../slideLayouts/slideLayout308.xml"/><Relationship Id="rId9" Type="http://schemas.openxmlformats.org/officeDocument/2006/relationships/slideLayout" Target="../slideLayouts/slideLayout313.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23.xml"/><Relationship Id="rId13" Type="http://schemas.openxmlformats.org/officeDocument/2006/relationships/slideLayout" Target="../slideLayouts/slideLayout328.xml"/><Relationship Id="rId18" Type="http://schemas.openxmlformats.org/officeDocument/2006/relationships/slideLayout" Target="../slideLayouts/slideLayout333.xml"/><Relationship Id="rId3" Type="http://schemas.openxmlformats.org/officeDocument/2006/relationships/slideLayout" Target="../slideLayouts/slideLayout318.xml"/><Relationship Id="rId21" Type="http://schemas.openxmlformats.org/officeDocument/2006/relationships/slideLayout" Target="../slideLayouts/slideLayout336.xml"/><Relationship Id="rId7" Type="http://schemas.openxmlformats.org/officeDocument/2006/relationships/slideLayout" Target="../slideLayouts/slideLayout322.xml"/><Relationship Id="rId12" Type="http://schemas.openxmlformats.org/officeDocument/2006/relationships/slideLayout" Target="../slideLayouts/slideLayout327.xml"/><Relationship Id="rId17" Type="http://schemas.openxmlformats.org/officeDocument/2006/relationships/slideLayout" Target="../slideLayouts/slideLayout332.xml"/><Relationship Id="rId25" Type="http://schemas.openxmlformats.org/officeDocument/2006/relationships/image" Target="../media/image25.png"/><Relationship Id="rId2" Type="http://schemas.openxmlformats.org/officeDocument/2006/relationships/slideLayout" Target="../slideLayouts/slideLayout317.xml"/><Relationship Id="rId16" Type="http://schemas.openxmlformats.org/officeDocument/2006/relationships/slideLayout" Target="../slideLayouts/slideLayout331.xml"/><Relationship Id="rId20" Type="http://schemas.openxmlformats.org/officeDocument/2006/relationships/slideLayout" Target="../slideLayouts/slideLayout335.xml"/><Relationship Id="rId1" Type="http://schemas.openxmlformats.org/officeDocument/2006/relationships/slideLayout" Target="../slideLayouts/slideLayout316.xml"/><Relationship Id="rId6" Type="http://schemas.openxmlformats.org/officeDocument/2006/relationships/slideLayout" Target="../slideLayouts/slideLayout321.xml"/><Relationship Id="rId11" Type="http://schemas.openxmlformats.org/officeDocument/2006/relationships/slideLayout" Target="../slideLayouts/slideLayout326.xml"/><Relationship Id="rId24" Type="http://schemas.openxmlformats.org/officeDocument/2006/relationships/image" Target="../media/image24.png"/><Relationship Id="rId5" Type="http://schemas.openxmlformats.org/officeDocument/2006/relationships/slideLayout" Target="../slideLayouts/slideLayout320.xml"/><Relationship Id="rId15" Type="http://schemas.openxmlformats.org/officeDocument/2006/relationships/slideLayout" Target="../slideLayouts/slideLayout330.xml"/><Relationship Id="rId23" Type="http://schemas.openxmlformats.org/officeDocument/2006/relationships/image" Target="../media/image23.png"/><Relationship Id="rId10" Type="http://schemas.openxmlformats.org/officeDocument/2006/relationships/slideLayout" Target="../slideLayouts/slideLayout325.xml"/><Relationship Id="rId19" Type="http://schemas.openxmlformats.org/officeDocument/2006/relationships/slideLayout" Target="../slideLayouts/slideLayout334.xml"/><Relationship Id="rId4" Type="http://schemas.openxmlformats.org/officeDocument/2006/relationships/slideLayout" Target="../slideLayouts/slideLayout319.xml"/><Relationship Id="rId9" Type="http://schemas.openxmlformats.org/officeDocument/2006/relationships/slideLayout" Target="../slideLayouts/slideLayout324.xml"/><Relationship Id="rId14" Type="http://schemas.openxmlformats.org/officeDocument/2006/relationships/slideLayout" Target="../slideLayouts/slideLayout329.xml"/><Relationship Id="rId22"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349.xml"/><Relationship Id="rId18" Type="http://schemas.openxmlformats.org/officeDocument/2006/relationships/slideLayout" Target="../slideLayouts/slideLayout354.xml"/><Relationship Id="rId26" Type="http://schemas.openxmlformats.org/officeDocument/2006/relationships/slideLayout" Target="../slideLayouts/slideLayout362.xml"/><Relationship Id="rId3" Type="http://schemas.openxmlformats.org/officeDocument/2006/relationships/slideLayout" Target="../slideLayouts/slideLayout339.xml"/><Relationship Id="rId21" Type="http://schemas.openxmlformats.org/officeDocument/2006/relationships/slideLayout" Target="../slideLayouts/slideLayout357.xml"/><Relationship Id="rId7" Type="http://schemas.openxmlformats.org/officeDocument/2006/relationships/slideLayout" Target="../slideLayouts/slideLayout343.xml"/><Relationship Id="rId12" Type="http://schemas.openxmlformats.org/officeDocument/2006/relationships/slideLayout" Target="../slideLayouts/slideLayout348.xml"/><Relationship Id="rId17" Type="http://schemas.openxmlformats.org/officeDocument/2006/relationships/slideLayout" Target="../slideLayouts/slideLayout353.xml"/><Relationship Id="rId25" Type="http://schemas.openxmlformats.org/officeDocument/2006/relationships/slideLayout" Target="../slideLayouts/slideLayout361.xml"/><Relationship Id="rId33" Type="http://schemas.openxmlformats.org/officeDocument/2006/relationships/image" Target="../media/image34.png"/><Relationship Id="rId2" Type="http://schemas.openxmlformats.org/officeDocument/2006/relationships/slideLayout" Target="../slideLayouts/slideLayout338.xml"/><Relationship Id="rId16" Type="http://schemas.openxmlformats.org/officeDocument/2006/relationships/slideLayout" Target="../slideLayouts/slideLayout352.xml"/><Relationship Id="rId20" Type="http://schemas.openxmlformats.org/officeDocument/2006/relationships/slideLayout" Target="../slideLayouts/slideLayout356.xml"/><Relationship Id="rId29" Type="http://schemas.openxmlformats.org/officeDocument/2006/relationships/slideLayout" Target="../slideLayouts/slideLayout365.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24" Type="http://schemas.openxmlformats.org/officeDocument/2006/relationships/slideLayout" Target="../slideLayouts/slideLayout360.xml"/><Relationship Id="rId32" Type="http://schemas.openxmlformats.org/officeDocument/2006/relationships/theme" Target="../theme/theme19.xml"/><Relationship Id="rId5" Type="http://schemas.openxmlformats.org/officeDocument/2006/relationships/slideLayout" Target="../slideLayouts/slideLayout341.xml"/><Relationship Id="rId15" Type="http://schemas.openxmlformats.org/officeDocument/2006/relationships/slideLayout" Target="../slideLayouts/slideLayout351.xml"/><Relationship Id="rId23" Type="http://schemas.openxmlformats.org/officeDocument/2006/relationships/slideLayout" Target="../slideLayouts/slideLayout359.xml"/><Relationship Id="rId28" Type="http://schemas.openxmlformats.org/officeDocument/2006/relationships/slideLayout" Target="../slideLayouts/slideLayout364.xml"/><Relationship Id="rId10" Type="http://schemas.openxmlformats.org/officeDocument/2006/relationships/slideLayout" Target="../slideLayouts/slideLayout346.xml"/><Relationship Id="rId19" Type="http://schemas.openxmlformats.org/officeDocument/2006/relationships/slideLayout" Target="../slideLayouts/slideLayout355.xml"/><Relationship Id="rId31" Type="http://schemas.openxmlformats.org/officeDocument/2006/relationships/slideLayout" Target="../slideLayouts/slideLayout367.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slideLayout" Target="../slideLayouts/slideLayout350.xml"/><Relationship Id="rId22" Type="http://schemas.openxmlformats.org/officeDocument/2006/relationships/slideLayout" Target="../slideLayouts/slideLayout358.xml"/><Relationship Id="rId27" Type="http://schemas.openxmlformats.org/officeDocument/2006/relationships/slideLayout" Target="../slideLayouts/slideLayout363.xml"/><Relationship Id="rId30" Type="http://schemas.openxmlformats.org/officeDocument/2006/relationships/slideLayout" Target="../slideLayouts/slideLayout366.xml"/><Relationship Id="rId8" Type="http://schemas.openxmlformats.org/officeDocument/2006/relationships/slideLayout" Target="../slideLayouts/slideLayout34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75.xml"/><Relationship Id="rId13" Type="http://schemas.openxmlformats.org/officeDocument/2006/relationships/slideLayout" Target="../slideLayouts/slideLayout380.xml"/><Relationship Id="rId18" Type="http://schemas.openxmlformats.org/officeDocument/2006/relationships/slideLayout" Target="../slideLayouts/slideLayout385.xml"/><Relationship Id="rId3" Type="http://schemas.openxmlformats.org/officeDocument/2006/relationships/slideLayout" Target="../slideLayouts/slideLayout370.xml"/><Relationship Id="rId7" Type="http://schemas.openxmlformats.org/officeDocument/2006/relationships/slideLayout" Target="../slideLayouts/slideLayout374.xml"/><Relationship Id="rId12" Type="http://schemas.openxmlformats.org/officeDocument/2006/relationships/slideLayout" Target="../slideLayouts/slideLayout379.xml"/><Relationship Id="rId17" Type="http://schemas.openxmlformats.org/officeDocument/2006/relationships/slideLayout" Target="../slideLayouts/slideLayout384.xml"/><Relationship Id="rId2" Type="http://schemas.openxmlformats.org/officeDocument/2006/relationships/slideLayout" Target="../slideLayouts/slideLayout369.xml"/><Relationship Id="rId16" Type="http://schemas.openxmlformats.org/officeDocument/2006/relationships/slideLayout" Target="../slideLayouts/slideLayout383.xml"/><Relationship Id="rId1" Type="http://schemas.openxmlformats.org/officeDocument/2006/relationships/slideLayout" Target="../slideLayouts/slideLayout368.xml"/><Relationship Id="rId6" Type="http://schemas.openxmlformats.org/officeDocument/2006/relationships/slideLayout" Target="../slideLayouts/slideLayout373.xml"/><Relationship Id="rId11" Type="http://schemas.openxmlformats.org/officeDocument/2006/relationships/slideLayout" Target="../slideLayouts/slideLayout378.xml"/><Relationship Id="rId5" Type="http://schemas.openxmlformats.org/officeDocument/2006/relationships/slideLayout" Target="../slideLayouts/slideLayout372.xml"/><Relationship Id="rId15" Type="http://schemas.openxmlformats.org/officeDocument/2006/relationships/slideLayout" Target="../slideLayouts/slideLayout382.xml"/><Relationship Id="rId10" Type="http://schemas.openxmlformats.org/officeDocument/2006/relationships/slideLayout" Target="../slideLayouts/slideLayout377.xml"/><Relationship Id="rId19" Type="http://schemas.openxmlformats.org/officeDocument/2006/relationships/theme" Target="../theme/theme20.xml"/><Relationship Id="rId4" Type="http://schemas.openxmlformats.org/officeDocument/2006/relationships/slideLayout" Target="../slideLayouts/slideLayout371.xml"/><Relationship Id="rId9" Type="http://schemas.openxmlformats.org/officeDocument/2006/relationships/slideLayout" Target="../slideLayouts/slideLayout376.xml"/><Relationship Id="rId14" Type="http://schemas.openxmlformats.org/officeDocument/2006/relationships/slideLayout" Target="../slideLayouts/slideLayout381.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93.xml"/><Relationship Id="rId13" Type="http://schemas.openxmlformats.org/officeDocument/2006/relationships/slideLayout" Target="../slideLayouts/slideLayout398.xml"/><Relationship Id="rId18" Type="http://schemas.openxmlformats.org/officeDocument/2006/relationships/slideLayout" Target="../slideLayouts/slideLayout403.xml"/><Relationship Id="rId3" Type="http://schemas.openxmlformats.org/officeDocument/2006/relationships/slideLayout" Target="../slideLayouts/slideLayout388.xml"/><Relationship Id="rId7" Type="http://schemas.openxmlformats.org/officeDocument/2006/relationships/slideLayout" Target="../slideLayouts/slideLayout392.xml"/><Relationship Id="rId12" Type="http://schemas.openxmlformats.org/officeDocument/2006/relationships/slideLayout" Target="../slideLayouts/slideLayout397.xml"/><Relationship Id="rId17" Type="http://schemas.openxmlformats.org/officeDocument/2006/relationships/slideLayout" Target="../slideLayouts/slideLayout402.xml"/><Relationship Id="rId2" Type="http://schemas.openxmlformats.org/officeDocument/2006/relationships/slideLayout" Target="../slideLayouts/slideLayout387.xml"/><Relationship Id="rId16" Type="http://schemas.openxmlformats.org/officeDocument/2006/relationships/slideLayout" Target="../slideLayouts/slideLayout401.xml"/><Relationship Id="rId1" Type="http://schemas.openxmlformats.org/officeDocument/2006/relationships/slideLayout" Target="../slideLayouts/slideLayout386.xml"/><Relationship Id="rId6" Type="http://schemas.openxmlformats.org/officeDocument/2006/relationships/slideLayout" Target="../slideLayouts/slideLayout391.xml"/><Relationship Id="rId11" Type="http://schemas.openxmlformats.org/officeDocument/2006/relationships/slideLayout" Target="../slideLayouts/slideLayout396.xml"/><Relationship Id="rId5" Type="http://schemas.openxmlformats.org/officeDocument/2006/relationships/slideLayout" Target="../slideLayouts/slideLayout390.xml"/><Relationship Id="rId15" Type="http://schemas.openxmlformats.org/officeDocument/2006/relationships/slideLayout" Target="../slideLayouts/slideLayout400.xml"/><Relationship Id="rId10" Type="http://schemas.openxmlformats.org/officeDocument/2006/relationships/slideLayout" Target="../slideLayouts/slideLayout395.xml"/><Relationship Id="rId19" Type="http://schemas.openxmlformats.org/officeDocument/2006/relationships/theme" Target="../theme/theme21.xml"/><Relationship Id="rId4" Type="http://schemas.openxmlformats.org/officeDocument/2006/relationships/slideLayout" Target="../slideLayouts/slideLayout389.xml"/><Relationship Id="rId9" Type="http://schemas.openxmlformats.org/officeDocument/2006/relationships/slideLayout" Target="../slideLayouts/slideLayout394.xml"/><Relationship Id="rId14" Type="http://schemas.openxmlformats.org/officeDocument/2006/relationships/slideLayout" Target="../slideLayouts/slideLayout399.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11.xml"/><Relationship Id="rId13" Type="http://schemas.openxmlformats.org/officeDocument/2006/relationships/slideLayout" Target="../slideLayouts/slideLayout416.xml"/><Relationship Id="rId18" Type="http://schemas.openxmlformats.org/officeDocument/2006/relationships/slideLayout" Target="../slideLayouts/slideLayout421.xml"/><Relationship Id="rId3" Type="http://schemas.openxmlformats.org/officeDocument/2006/relationships/slideLayout" Target="../slideLayouts/slideLayout406.xml"/><Relationship Id="rId21" Type="http://schemas.openxmlformats.org/officeDocument/2006/relationships/slideLayout" Target="../slideLayouts/slideLayout424.xml"/><Relationship Id="rId7" Type="http://schemas.openxmlformats.org/officeDocument/2006/relationships/slideLayout" Target="../slideLayouts/slideLayout410.xml"/><Relationship Id="rId12" Type="http://schemas.openxmlformats.org/officeDocument/2006/relationships/slideLayout" Target="../slideLayouts/slideLayout415.xml"/><Relationship Id="rId17" Type="http://schemas.openxmlformats.org/officeDocument/2006/relationships/slideLayout" Target="../slideLayouts/slideLayout420.xml"/><Relationship Id="rId25" Type="http://schemas.openxmlformats.org/officeDocument/2006/relationships/image" Target="../media/image4.emf"/><Relationship Id="rId2" Type="http://schemas.openxmlformats.org/officeDocument/2006/relationships/slideLayout" Target="../slideLayouts/slideLayout405.xml"/><Relationship Id="rId16" Type="http://schemas.openxmlformats.org/officeDocument/2006/relationships/slideLayout" Target="../slideLayouts/slideLayout419.xml"/><Relationship Id="rId20" Type="http://schemas.openxmlformats.org/officeDocument/2006/relationships/slideLayout" Target="../slideLayouts/slideLayout423.xml"/><Relationship Id="rId1" Type="http://schemas.openxmlformats.org/officeDocument/2006/relationships/slideLayout" Target="../slideLayouts/slideLayout404.xml"/><Relationship Id="rId6" Type="http://schemas.openxmlformats.org/officeDocument/2006/relationships/slideLayout" Target="../slideLayouts/slideLayout409.xml"/><Relationship Id="rId11" Type="http://schemas.openxmlformats.org/officeDocument/2006/relationships/slideLayout" Target="../slideLayouts/slideLayout414.xml"/><Relationship Id="rId24" Type="http://schemas.openxmlformats.org/officeDocument/2006/relationships/theme" Target="../theme/theme22.xml"/><Relationship Id="rId5" Type="http://schemas.openxmlformats.org/officeDocument/2006/relationships/slideLayout" Target="../slideLayouts/slideLayout408.xml"/><Relationship Id="rId15" Type="http://schemas.openxmlformats.org/officeDocument/2006/relationships/slideLayout" Target="../slideLayouts/slideLayout418.xml"/><Relationship Id="rId23" Type="http://schemas.openxmlformats.org/officeDocument/2006/relationships/slideLayout" Target="../slideLayouts/slideLayout426.xml"/><Relationship Id="rId10" Type="http://schemas.openxmlformats.org/officeDocument/2006/relationships/slideLayout" Target="../slideLayouts/slideLayout413.xml"/><Relationship Id="rId19" Type="http://schemas.openxmlformats.org/officeDocument/2006/relationships/slideLayout" Target="../slideLayouts/slideLayout422.xml"/><Relationship Id="rId4" Type="http://schemas.openxmlformats.org/officeDocument/2006/relationships/slideLayout" Target="../slideLayouts/slideLayout407.xml"/><Relationship Id="rId9" Type="http://schemas.openxmlformats.org/officeDocument/2006/relationships/slideLayout" Target="../slideLayouts/slideLayout412.xml"/><Relationship Id="rId14" Type="http://schemas.openxmlformats.org/officeDocument/2006/relationships/slideLayout" Target="../slideLayouts/slideLayout417.xml"/><Relationship Id="rId22" Type="http://schemas.openxmlformats.org/officeDocument/2006/relationships/slideLayout" Target="../slideLayouts/slideLayout425.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34.xml"/><Relationship Id="rId13" Type="http://schemas.openxmlformats.org/officeDocument/2006/relationships/slideLayout" Target="../slideLayouts/slideLayout439.xml"/><Relationship Id="rId18" Type="http://schemas.openxmlformats.org/officeDocument/2006/relationships/slideLayout" Target="../slideLayouts/slideLayout444.xml"/><Relationship Id="rId3" Type="http://schemas.openxmlformats.org/officeDocument/2006/relationships/slideLayout" Target="../slideLayouts/slideLayout429.xml"/><Relationship Id="rId21" Type="http://schemas.openxmlformats.org/officeDocument/2006/relationships/theme" Target="../theme/theme23.xml"/><Relationship Id="rId7" Type="http://schemas.openxmlformats.org/officeDocument/2006/relationships/slideLayout" Target="../slideLayouts/slideLayout433.xml"/><Relationship Id="rId12" Type="http://schemas.openxmlformats.org/officeDocument/2006/relationships/slideLayout" Target="../slideLayouts/slideLayout438.xml"/><Relationship Id="rId17" Type="http://schemas.openxmlformats.org/officeDocument/2006/relationships/slideLayout" Target="../slideLayouts/slideLayout443.xml"/><Relationship Id="rId2" Type="http://schemas.openxmlformats.org/officeDocument/2006/relationships/slideLayout" Target="../slideLayouts/slideLayout428.xml"/><Relationship Id="rId16" Type="http://schemas.openxmlformats.org/officeDocument/2006/relationships/slideLayout" Target="../slideLayouts/slideLayout442.xml"/><Relationship Id="rId20" Type="http://schemas.openxmlformats.org/officeDocument/2006/relationships/slideLayout" Target="../slideLayouts/slideLayout446.xml"/><Relationship Id="rId1" Type="http://schemas.openxmlformats.org/officeDocument/2006/relationships/slideLayout" Target="../slideLayouts/slideLayout427.xml"/><Relationship Id="rId6" Type="http://schemas.openxmlformats.org/officeDocument/2006/relationships/slideLayout" Target="../slideLayouts/slideLayout432.xml"/><Relationship Id="rId11" Type="http://schemas.openxmlformats.org/officeDocument/2006/relationships/slideLayout" Target="../slideLayouts/slideLayout437.xml"/><Relationship Id="rId5" Type="http://schemas.openxmlformats.org/officeDocument/2006/relationships/slideLayout" Target="../slideLayouts/slideLayout431.xml"/><Relationship Id="rId15" Type="http://schemas.openxmlformats.org/officeDocument/2006/relationships/slideLayout" Target="../slideLayouts/slideLayout441.xml"/><Relationship Id="rId10" Type="http://schemas.openxmlformats.org/officeDocument/2006/relationships/slideLayout" Target="../slideLayouts/slideLayout436.xml"/><Relationship Id="rId19" Type="http://schemas.openxmlformats.org/officeDocument/2006/relationships/slideLayout" Target="../slideLayouts/slideLayout445.xml"/><Relationship Id="rId4" Type="http://schemas.openxmlformats.org/officeDocument/2006/relationships/slideLayout" Target="../slideLayouts/slideLayout430.xml"/><Relationship Id="rId9" Type="http://schemas.openxmlformats.org/officeDocument/2006/relationships/slideLayout" Target="../slideLayouts/slideLayout435.xml"/><Relationship Id="rId14" Type="http://schemas.openxmlformats.org/officeDocument/2006/relationships/slideLayout" Target="../slideLayouts/slideLayout440.xml"/><Relationship Id="rId22" Type="http://schemas.openxmlformats.org/officeDocument/2006/relationships/image" Target="../media/image34.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54.xml"/><Relationship Id="rId13" Type="http://schemas.openxmlformats.org/officeDocument/2006/relationships/slideLayout" Target="../slideLayouts/slideLayout459.xml"/><Relationship Id="rId18" Type="http://schemas.openxmlformats.org/officeDocument/2006/relationships/slideLayout" Target="../slideLayouts/slideLayout464.xml"/><Relationship Id="rId26" Type="http://schemas.openxmlformats.org/officeDocument/2006/relationships/theme" Target="../theme/theme24.xml"/><Relationship Id="rId3" Type="http://schemas.openxmlformats.org/officeDocument/2006/relationships/slideLayout" Target="../slideLayouts/slideLayout449.xml"/><Relationship Id="rId21" Type="http://schemas.openxmlformats.org/officeDocument/2006/relationships/slideLayout" Target="../slideLayouts/slideLayout467.xml"/><Relationship Id="rId7" Type="http://schemas.openxmlformats.org/officeDocument/2006/relationships/slideLayout" Target="../slideLayouts/slideLayout453.xml"/><Relationship Id="rId12" Type="http://schemas.openxmlformats.org/officeDocument/2006/relationships/slideLayout" Target="../slideLayouts/slideLayout458.xml"/><Relationship Id="rId17" Type="http://schemas.openxmlformats.org/officeDocument/2006/relationships/slideLayout" Target="../slideLayouts/slideLayout463.xml"/><Relationship Id="rId25" Type="http://schemas.openxmlformats.org/officeDocument/2006/relationships/slideLayout" Target="../slideLayouts/slideLayout471.xml"/><Relationship Id="rId2" Type="http://schemas.openxmlformats.org/officeDocument/2006/relationships/slideLayout" Target="../slideLayouts/slideLayout448.xml"/><Relationship Id="rId16" Type="http://schemas.openxmlformats.org/officeDocument/2006/relationships/slideLayout" Target="../slideLayouts/slideLayout462.xml"/><Relationship Id="rId20" Type="http://schemas.openxmlformats.org/officeDocument/2006/relationships/slideLayout" Target="../slideLayouts/slideLayout466.xml"/><Relationship Id="rId1" Type="http://schemas.openxmlformats.org/officeDocument/2006/relationships/slideLayout" Target="../slideLayouts/slideLayout447.xml"/><Relationship Id="rId6" Type="http://schemas.openxmlformats.org/officeDocument/2006/relationships/slideLayout" Target="../slideLayouts/slideLayout452.xml"/><Relationship Id="rId11" Type="http://schemas.openxmlformats.org/officeDocument/2006/relationships/slideLayout" Target="../slideLayouts/slideLayout457.xml"/><Relationship Id="rId24" Type="http://schemas.openxmlformats.org/officeDocument/2006/relationships/slideLayout" Target="../slideLayouts/slideLayout470.xml"/><Relationship Id="rId5" Type="http://schemas.openxmlformats.org/officeDocument/2006/relationships/slideLayout" Target="../slideLayouts/slideLayout451.xml"/><Relationship Id="rId15" Type="http://schemas.openxmlformats.org/officeDocument/2006/relationships/slideLayout" Target="../slideLayouts/slideLayout461.xml"/><Relationship Id="rId23" Type="http://schemas.openxmlformats.org/officeDocument/2006/relationships/slideLayout" Target="../slideLayouts/slideLayout469.xml"/><Relationship Id="rId10" Type="http://schemas.openxmlformats.org/officeDocument/2006/relationships/slideLayout" Target="../slideLayouts/slideLayout456.xml"/><Relationship Id="rId19" Type="http://schemas.openxmlformats.org/officeDocument/2006/relationships/slideLayout" Target="../slideLayouts/slideLayout465.xml"/><Relationship Id="rId4" Type="http://schemas.openxmlformats.org/officeDocument/2006/relationships/slideLayout" Target="../slideLayouts/slideLayout450.xml"/><Relationship Id="rId9" Type="http://schemas.openxmlformats.org/officeDocument/2006/relationships/slideLayout" Target="../slideLayouts/slideLayout455.xml"/><Relationship Id="rId14" Type="http://schemas.openxmlformats.org/officeDocument/2006/relationships/slideLayout" Target="../slideLayouts/slideLayout460.xml"/><Relationship Id="rId22" Type="http://schemas.openxmlformats.org/officeDocument/2006/relationships/slideLayout" Target="../slideLayouts/slideLayout468.xml"/></Relationships>
</file>

<file path=ppt/slideMasters/_rels/slideMaster25.xml.rels><?xml version="1.0" encoding="UTF-8" standalone="yes"?>
<Relationships xmlns="http://schemas.openxmlformats.org/package/2006/relationships"><Relationship Id="rId13" Type="http://schemas.openxmlformats.org/officeDocument/2006/relationships/slideLayout" Target="../slideLayouts/slideLayout484.xml"/><Relationship Id="rId18" Type="http://schemas.openxmlformats.org/officeDocument/2006/relationships/slideLayout" Target="../slideLayouts/slideLayout489.xml"/><Relationship Id="rId26" Type="http://schemas.openxmlformats.org/officeDocument/2006/relationships/slideLayout" Target="../slideLayouts/slideLayout497.xml"/><Relationship Id="rId3" Type="http://schemas.openxmlformats.org/officeDocument/2006/relationships/slideLayout" Target="../slideLayouts/slideLayout474.xml"/><Relationship Id="rId21" Type="http://schemas.openxmlformats.org/officeDocument/2006/relationships/slideLayout" Target="../slideLayouts/slideLayout492.xml"/><Relationship Id="rId34" Type="http://schemas.openxmlformats.org/officeDocument/2006/relationships/oleObject" Target="../embeddings/oleObject2.bin"/><Relationship Id="rId7" Type="http://schemas.openxmlformats.org/officeDocument/2006/relationships/slideLayout" Target="../slideLayouts/slideLayout478.xml"/><Relationship Id="rId12" Type="http://schemas.openxmlformats.org/officeDocument/2006/relationships/slideLayout" Target="../slideLayouts/slideLayout483.xml"/><Relationship Id="rId17" Type="http://schemas.openxmlformats.org/officeDocument/2006/relationships/slideLayout" Target="../slideLayouts/slideLayout488.xml"/><Relationship Id="rId25" Type="http://schemas.openxmlformats.org/officeDocument/2006/relationships/slideLayout" Target="../slideLayouts/slideLayout496.xml"/><Relationship Id="rId33" Type="http://schemas.openxmlformats.org/officeDocument/2006/relationships/tags" Target="../tags/tag2.xml"/><Relationship Id="rId2" Type="http://schemas.openxmlformats.org/officeDocument/2006/relationships/slideLayout" Target="../slideLayouts/slideLayout473.xml"/><Relationship Id="rId16" Type="http://schemas.openxmlformats.org/officeDocument/2006/relationships/slideLayout" Target="../slideLayouts/slideLayout487.xml"/><Relationship Id="rId20" Type="http://schemas.openxmlformats.org/officeDocument/2006/relationships/slideLayout" Target="../slideLayouts/slideLayout491.xml"/><Relationship Id="rId29" Type="http://schemas.openxmlformats.org/officeDocument/2006/relationships/slideLayout" Target="../slideLayouts/slideLayout500.xml"/><Relationship Id="rId1" Type="http://schemas.openxmlformats.org/officeDocument/2006/relationships/slideLayout" Target="../slideLayouts/slideLayout472.xml"/><Relationship Id="rId6" Type="http://schemas.openxmlformats.org/officeDocument/2006/relationships/slideLayout" Target="../slideLayouts/slideLayout477.xml"/><Relationship Id="rId11" Type="http://schemas.openxmlformats.org/officeDocument/2006/relationships/slideLayout" Target="../slideLayouts/slideLayout482.xml"/><Relationship Id="rId24" Type="http://schemas.openxmlformats.org/officeDocument/2006/relationships/slideLayout" Target="../slideLayouts/slideLayout495.xml"/><Relationship Id="rId32" Type="http://schemas.openxmlformats.org/officeDocument/2006/relationships/vmlDrawing" Target="../drawings/vmlDrawing2.vml"/><Relationship Id="rId5" Type="http://schemas.openxmlformats.org/officeDocument/2006/relationships/slideLayout" Target="../slideLayouts/slideLayout476.xml"/><Relationship Id="rId15" Type="http://schemas.openxmlformats.org/officeDocument/2006/relationships/slideLayout" Target="../slideLayouts/slideLayout486.xml"/><Relationship Id="rId23" Type="http://schemas.openxmlformats.org/officeDocument/2006/relationships/slideLayout" Target="../slideLayouts/slideLayout494.xml"/><Relationship Id="rId28" Type="http://schemas.openxmlformats.org/officeDocument/2006/relationships/slideLayout" Target="../slideLayouts/slideLayout499.xml"/><Relationship Id="rId10" Type="http://schemas.openxmlformats.org/officeDocument/2006/relationships/slideLayout" Target="../slideLayouts/slideLayout481.xml"/><Relationship Id="rId19" Type="http://schemas.openxmlformats.org/officeDocument/2006/relationships/slideLayout" Target="../slideLayouts/slideLayout490.xml"/><Relationship Id="rId31" Type="http://schemas.openxmlformats.org/officeDocument/2006/relationships/theme" Target="../theme/theme25.xml"/><Relationship Id="rId4" Type="http://schemas.openxmlformats.org/officeDocument/2006/relationships/slideLayout" Target="../slideLayouts/slideLayout475.xml"/><Relationship Id="rId9" Type="http://schemas.openxmlformats.org/officeDocument/2006/relationships/slideLayout" Target="../slideLayouts/slideLayout480.xml"/><Relationship Id="rId14" Type="http://schemas.openxmlformats.org/officeDocument/2006/relationships/slideLayout" Target="../slideLayouts/slideLayout485.xml"/><Relationship Id="rId22" Type="http://schemas.openxmlformats.org/officeDocument/2006/relationships/slideLayout" Target="../slideLayouts/slideLayout493.xml"/><Relationship Id="rId27" Type="http://schemas.openxmlformats.org/officeDocument/2006/relationships/slideLayout" Target="../slideLayouts/slideLayout498.xml"/><Relationship Id="rId30" Type="http://schemas.openxmlformats.org/officeDocument/2006/relationships/slideLayout" Target="../slideLayouts/slideLayout501.xml"/><Relationship Id="rId35" Type="http://schemas.openxmlformats.org/officeDocument/2006/relationships/image" Target="../media/image54.emf"/><Relationship Id="rId8" Type="http://schemas.openxmlformats.org/officeDocument/2006/relationships/slideLayout" Target="../slideLayouts/slideLayout47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9" Type="http://schemas.openxmlformats.org/officeDocument/2006/relationships/slideLayout" Target="../slideLayouts/slideLayout66.xml"/><Relationship Id="rId21" Type="http://schemas.openxmlformats.org/officeDocument/2006/relationships/slideLayout" Target="../slideLayouts/slideLayout48.xml"/><Relationship Id="rId34" Type="http://schemas.openxmlformats.org/officeDocument/2006/relationships/slideLayout" Target="../slideLayouts/slideLayout61.xml"/><Relationship Id="rId42" Type="http://schemas.openxmlformats.org/officeDocument/2006/relationships/slideLayout" Target="../slideLayouts/slideLayout69.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9" Type="http://schemas.openxmlformats.org/officeDocument/2006/relationships/slideLayout" Target="../slideLayouts/slideLayout56.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37" Type="http://schemas.openxmlformats.org/officeDocument/2006/relationships/slideLayout" Target="../slideLayouts/slideLayout64.xml"/><Relationship Id="rId40" Type="http://schemas.openxmlformats.org/officeDocument/2006/relationships/slideLayout" Target="../slideLayouts/slideLayout67.xml"/><Relationship Id="rId45" Type="http://schemas.openxmlformats.org/officeDocument/2006/relationships/theme" Target="../theme/theme3.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slideLayout" Target="../slideLayouts/slideLayout63.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slideLayout" Target="../slideLayouts/slideLayout58.xml"/><Relationship Id="rId44" Type="http://schemas.openxmlformats.org/officeDocument/2006/relationships/slideLayout" Target="../slideLayouts/slideLayout71.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slideLayout" Target="../slideLayouts/slideLayout62.xml"/><Relationship Id="rId43" Type="http://schemas.openxmlformats.org/officeDocument/2006/relationships/slideLayout" Target="../slideLayouts/slideLayout70.xml"/><Relationship Id="rId8" Type="http://schemas.openxmlformats.org/officeDocument/2006/relationships/slideLayout" Target="../slideLayouts/slideLayout35.xml"/><Relationship Id="rId3" Type="http://schemas.openxmlformats.org/officeDocument/2006/relationships/slideLayout" Target="../slideLayouts/slideLayout30.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38" Type="http://schemas.openxmlformats.org/officeDocument/2006/relationships/slideLayout" Target="../slideLayouts/slideLayout65.xml"/><Relationship Id="rId20" Type="http://schemas.openxmlformats.org/officeDocument/2006/relationships/slideLayout" Target="../slideLayouts/slideLayout47.xml"/><Relationship Id="rId41"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image" Target="../media/image4.emf"/><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theme" Target="../theme/theme4.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8.xml"/><Relationship Id="rId3" Type="http://schemas.openxmlformats.org/officeDocument/2006/relationships/slideLayout" Target="../slideLayouts/slideLayout93.xml"/><Relationship Id="rId7" Type="http://schemas.openxmlformats.org/officeDocument/2006/relationships/slideLayout" Target="../slideLayouts/slideLayout97.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5" Type="http://schemas.openxmlformats.org/officeDocument/2006/relationships/slideLayout" Target="../slideLayouts/slideLayout95.xml"/><Relationship Id="rId10" Type="http://schemas.openxmlformats.org/officeDocument/2006/relationships/theme" Target="../theme/theme5.xml"/><Relationship Id="rId4" Type="http://schemas.openxmlformats.org/officeDocument/2006/relationships/slideLayout" Target="../slideLayouts/slideLayout94.xml"/><Relationship Id="rId9"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image" Target="../media/image4.emf"/><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6.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theme" Target="../theme/theme7.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0" Type="http://schemas.openxmlformats.org/officeDocument/2006/relationships/slideLayout" Target="../slideLayouts/slideLayout128.xml"/><Relationship Id="rId4" Type="http://schemas.openxmlformats.org/officeDocument/2006/relationships/slideLayout" Target="../slideLayouts/slideLayout122.xml"/><Relationship Id="rId9" Type="http://schemas.openxmlformats.org/officeDocument/2006/relationships/slideLayout" Target="../slideLayouts/slideLayout12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3" Type="http://schemas.openxmlformats.org/officeDocument/2006/relationships/slideLayout" Target="../slideLayouts/slideLayout132.xml"/><Relationship Id="rId21" Type="http://schemas.openxmlformats.org/officeDocument/2006/relationships/slideLayout" Target="../slideLayouts/slideLayout150.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theme" Target="../theme/theme8.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1.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2" Type="http://schemas.openxmlformats.org/officeDocument/2006/relationships/slideLayout" Target="../slideLayouts/slideLayout155.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theme" Target="../theme/theme9.xml"/><Relationship Id="rId5" Type="http://schemas.openxmlformats.org/officeDocument/2006/relationships/slideLayout" Target="../slideLayouts/slideLayout158.xml"/><Relationship Id="rId10" Type="http://schemas.openxmlformats.org/officeDocument/2006/relationships/slideLayout" Target="../slideLayouts/slideLayout163.xml"/><Relationship Id="rId4" Type="http://schemas.openxmlformats.org/officeDocument/2006/relationships/slideLayout" Target="../slideLayouts/slideLayout157.xml"/><Relationship Id="rId9" Type="http://schemas.openxmlformats.org/officeDocument/2006/relationships/slideLayout" Target="../slideLayouts/slideLayout1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368406B1-5395-4EAD-BD16-C032EA563FF8}" type="datetimeFigureOut">
              <a:rPr lang="en-US" smtClean="0"/>
              <a:t>6/3/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424985" y="6356351"/>
            <a:ext cx="890953"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2AD9E620-94DA-46AD-A290-2756EFB5EED5}" type="slidenum">
              <a:rPr lang="en-US" smtClean="0"/>
              <a:t>‹#›</a:t>
            </a:fld>
            <a:endParaRPr lang="en-US" dirty="0"/>
          </a:p>
        </p:txBody>
      </p:sp>
      <p:sp>
        <p:nvSpPr>
          <p:cNvPr id="7" name="TextBox 6">
            <a:extLst>
              <a:ext uri="{FF2B5EF4-FFF2-40B4-BE49-F238E27FC236}">
                <a16:creationId xmlns:a16="http://schemas.microsoft.com/office/drawing/2014/main" id="{F1AD2E1B-5768-4AAB-9E0B-49A56B81BA7D}"/>
              </a:ext>
            </a:extLst>
          </p:cNvPr>
          <p:cNvSpPr txBox="1"/>
          <p:nvPr userDrawn="1"/>
        </p:nvSpPr>
        <p:spPr>
          <a:xfrm>
            <a:off x="9409723" y="6343528"/>
            <a:ext cx="26806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1247109940"/>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49" r:id="rId5"/>
    <p:sldLayoutId id="2147483650" r:id="rId6"/>
    <p:sldLayoutId id="2147483651" r:id="rId7"/>
    <p:sldLayoutId id="2147483652" r:id="rId8"/>
    <p:sldLayoutId id="2147483653" r:id="rId9"/>
    <p:sldLayoutId id="2147483654" r:id="rId10"/>
    <p:sldLayoutId id="2147483655" r:id="rId11"/>
    <p:sldLayoutId id="2147483656" r:id="rId12"/>
    <p:sldLayoutId id="2147483657" r:id="rId13"/>
    <p:sldLayoutId id="2147483658" r:id="rId14"/>
    <p:sldLayoutId id="2147483659" r:id="rId15"/>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D5DCCE-C9C1-4DF9-9B1A-B0AB57AAB398}" type="datetimeFigureOut">
              <a:rPr lang="en-US" smtClean="0"/>
              <a:t>6/3/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85B806-22C7-47D6-B8CD-D407E25F4735}" type="slidenum">
              <a:rPr lang="en-US" smtClean="0"/>
              <a:t>‹#›</a:t>
            </a:fld>
            <a:endParaRPr lang="en-US"/>
          </a:p>
        </p:txBody>
      </p:sp>
    </p:spTree>
    <p:extLst>
      <p:ext uri="{BB962C8B-B14F-4D97-AF65-F5344CB8AC3E}">
        <p14:creationId xmlns:p14="http://schemas.microsoft.com/office/powerpoint/2010/main" val="416124892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6/3/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2464327970"/>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2" r:id="rId20"/>
    <p:sldLayoutId id="2147483883"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74694110"/>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 id="2147483905" r:id="rId21"/>
    <p:sldLayoutId id="2147483906" r:id="rId22"/>
    <p:sldLayoutId id="2147483907"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22112DF-AEA9-46D0-9198-E39315499B29}" type="datetimeFigureOut">
              <a:rPr lang="en-US" smtClean="0"/>
              <a:t>6/3/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D522F0-6F43-4B7F-AE6B-C53CF5A2C6DA}" type="slidenum">
              <a:rPr lang="en-US" smtClean="0"/>
              <a:t>‹#›</a:t>
            </a:fld>
            <a:endParaRPr lang="en-US"/>
          </a:p>
        </p:txBody>
      </p:sp>
    </p:spTree>
    <p:extLst>
      <p:ext uri="{BB962C8B-B14F-4D97-AF65-F5344CB8AC3E}">
        <p14:creationId xmlns:p14="http://schemas.microsoft.com/office/powerpoint/2010/main" val="2638383642"/>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182880" tIns="137160" rIns="91440" bIns="45720" rtlCol="0" anchor="t" anchorCtr="0">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182880" tIns="13716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91440" bIns="45720" rtlCol="0" anchor="b"/>
          <a:lstStyle>
            <a:lvl1pPr algn="l">
              <a:defRPr sz="1067" kern="800">
                <a:solidFill>
                  <a:schemeClr val="tx1">
                    <a:tint val="75000"/>
                  </a:schemeClr>
                </a:solidFill>
                <a:latin typeface="+mn-lt"/>
                <a:cs typeface="Segoe UI Light"/>
              </a:defRPr>
            </a:lvl1pPr>
          </a:lstStyle>
          <a:p>
            <a:fld id="{0BDA82E5-744E-48BF-AC50-F815E6EE271C}" type="datetime1">
              <a:rPr lang="en-US"/>
              <a:t>6/3/2018</a:t>
            </a:fld>
            <a:endParaRPr lang="en-US"/>
          </a:p>
        </p:txBody>
      </p:sp>
      <p:sp>
        <p:nvSpPr>
          <p:cNvPr id="6"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tint val="75000"/>
                  </a:schemeClr>
                </a:solidFill>
                <a:latin typeface="+mn-lt"/>
                <a:cs typeface="Segoe UI Light"/>
              </a:defRPr>
            </a:lvl1pPr>
          </a:lstStyle>
          <a:p>
            <a:fld id="{74A398B2-5A34-1A4A-811E-F4027282568C}" type="slidenum">
              <a:rPr lang="en-US"/>
              <a:pPr/>
              <a:t>‹#›</a:t>
            </a:fld>
            <a:endParaRPr lang="en-US"/>
          </a:p>
        </p:txBody>
      </p:sp>
    </p:spTree>
    <p:extLst>
      <p:ext uri="{BB962C8B-B14F-4D97-AF65-F5344CB8AC3E}">
        <p14:creationId xmlns:p14="http://schemas.microsoft.com/office/powerpoint/2010/main" val="3539811326"/>
      </p:ext>
    </p:extLst>
  </p:cSld>
  <p:clrMap bg1="dk1" tx1="lt1" bg2="dk2" tx2="lt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 id="2147483938" r:id="rId11"/>
    <p:sldLayoutId id="2147483939" r:id="rId12"/>
    <p:sldLayoutId id="2147483940" r:id="rId13"/>
    <p:sldLayoutId id="2147483941" r:id="rId14"/>
    <p:sldLayoutId id="2147483942" r:id="rId15"/>
    <p:sldLayoutId id="2147483943" r:id="rId16"/>
    <p:sldLayoutId id="2147483944" r:id="rId17"/>
    <p:sldLayoutId id="2147483945" r:id="rId18"/>
    <p:sldLayoutId id="2147483946" r:id="rId19"/>
    <p:sldLayoutId id="2147483947" r:id="rId20"/>
    <p:sldLayoutId id="2147483948" r:id="rId21"/>
    <p:sldLayoutId id="2147483949" r:id="rId22"/>
    <p:sldLayoutId id="2147483950" r:id="rId23"/>
    <p:sldLayoutId id="2147483951" r:id="rId24"/>
    <p:sldLayoutId id="2147483952" r:id="rId25"/>
    <p:sldLayoutId id="2147483953" r:id="rId26"/>
    <p:sldLayoutId id="2147483954" r:id="rId27"/>
    <p:sldLayoutId id="2147483955" r:id="rId28"/>
    <p:sldLayoutId id="2147483956" r:id="rId29"/>
    <p:sldLayoutId id="2147483957" r:id="rId30"/>
    <p:sldLayoutId id="2147483958" r:id="rId31"/>
    <p:sldLayoutId id="2147483959" r:id="rId32"/>
    <p:sldLayoutId id="2147483960" r:id="rId33"/>
    <p:sldLayoutId id="2147483961" r:id="rId34"/>
    <p:sldLayoutId id="2147483962" r:id="rId35"/>
    <p:sldLayoutId id="2147483963" r:id="rId36"/>
  </p:sldLayoutIdLst>
  <p:hf hdr="0" ftr="0"/>
  <p:txStyles>
    <p:titleStyle>
      <a:lvl1pPr eaLnBrk="1" hangingPunct="1">
        <a:defRPr sz="2667" kern="800">
          <a:solidFill>
            <a:schemeClr val="tx1"/>
          </a:solidFill>
          <a:latin typeface="+mn-lt"/>
          <a:cs typeface="Segoe UI Light"/>
        </a:defRPr>
      </a:lvl1pPr>
    </p:titleStyle>
    <p:bodyStyle>
      <a:lvl1pPr eaLnBrk="1" hangingPunct="1">
        <a:lnSpc>
          <a:spcPct val="120000"/>
        </a:lnSpc>
        <a:defRPr sz="1867" kern="800">
          <a:solidFill>
            <a:srgbClr val="FFFFFF"/>
          </a:solidFill>
          <a:latin typeface="+mn-lt"/>
          <a:cs typeface="Segoe UI Light"/>
        </a:defRPr>
      </a:lvl1pPr>
      <a:lvl2pPr eaLnBrk="1" hangingPunct="1">
        <a:lnSpc>
          <a:spcPct val="120000"/>
        </a:lnSpc>
        <a:defRPr sz="1867" kern="800">
          <a:solidFill>
            <a:srgbClr val="FFFFFF"/>
          </a:solidFill>
          <a:latin typeface="+mn-lt"/>
          <a:cs typeface="Segoe UI Light"/>
        </a:defRPr>
      </a:lvl2pPr>
      <a:lvl3pPr eaLnBrk="1" hangingPunct="1">
        <a:lnSpc>
          <a:spcPct val="120000"/>
        </a:lnSpc>
        <a:defRPr sz="1867" kern="800">
          <a:solidFill>
            <a:srgbClr val="FFFFFF"/>
          </a:solidFill>
          <a:latin typeface="+mn-lt"/>
          <a:cs typeface="Segoe UI Light"/>
        </a:defRPr>
      </a:lvl3pPr>
      <a:lvl4pPr eaLnBrk="1" hangingPunct="1">
        <a:lnSpc>
          <a:spcPct val="120000"/>
        </a:lnSpc>
        <a:defRPr sz="1867" kern="800">
          <a:solidFill>
            <a:srgbClr val="FFFFFF"/>
          </a:solidFill>
          <a:latin typeface="+mn-lt"/>
          <a:cs typeface="Segoe UI Light"/>
        </a:defRPr>
      </a:lvl4pPr>
      <a:lvl5pPr eaLnBrk="1" hangingPunct="1">
        <a:lnSpc>
          <a:spcPct val="120000"/>
        </a:lnSpc>
        <a:defRPr sz="1867" kern="800">
          <a:solidFill>
            <a:srgbClr val="FFFFFF"/>
          </a:solidFill>
          <a:latin typeface="+mn-lt"/>
          <a:cs typeface="Segoe UI Light"/>
        </a:defRPr>
      </a:lvl5pPr>
    </p:bodyStyle>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6/3/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606826370"/>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 id="2147483977" r:id="rId13"/>
    <p:sldLayoutId id="2147483978" r:id="rId14"/>
    <p:sldLayoutId id="2147483979" r:id="rId15"/>
    <p:sldLayoutId id="2147483980" r:id="rId16"/>
    <p:sldLayoutId id="2147483981" r:id="rId17"/>
    <p:sldLayoutId id="2147483982" r:id="rId18"/>
    <p:sldLayoutId id="2147483983" r:id="rId19"/>
    <p:sldLayoutId id="2147483984" r:id="rId20"/>
    <p:sldLayoutId id="2147483985"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EFE36A07-46FC-4E71-A304-E2131C14BD2E}" type="datetimeFigureOut">
              <a:rPr lang="en-US" smtClean="0">
                <a:solidFill>
                  <a:prstClr val="black">
                    <a:tint val="75000"/>
                  </a:prstClr>
                </a:solidFill>
              </a:rPr>
              <a:pPr defTabSz="914400"/>
              <a:t>6/3/20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F1D3FCF2-A216-44BD-889C-147BFFB1151F}"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1822186633"/>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A503EBAF-BB52-4FEC-9EE9-8BBEE62A6D43}" type="datetimeFigureOut">
              <a:rPr lang="de-DE" smtClean="0">
                <a:solidFill>
                  <a:prstClr val="black">
                    <a:tint val="75000"/>
                  </a:prstClr>
                </a:solidFill>
              </a:rPr>
              <a:pPr defTabSz="914400"/>
              <a:t>03.06.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78737CF5-2D32-48D6-9100-749DEC1D6F62}" type="slidenum">
              <a:rPr lang="de-DE" smtClean="0">
                <a:solidFill>
                  <a:prstClr val="black">
                    <a:tint val="75000"/>
                  </a:prstClr>
                </a:solidFill>
              </a:rPr>
              <a:pPr defTabSz="914400"/>
              <a:t>‹#›</a:t>
            </a:fld>
            <a:endParaRPr lang="de-DE">
              <a:solidFill>
                <a:prstClr val="black">
                  <a:tint val="75000"/>
                </a:prstClr>
              </a:solidFill>
            </a:endParaRPr>
          </a:p>
        </p:txBody>
      </p:sp>
    </p:spTree>
    <p:extLst>
      <p:ext uri="{BB962C8B-B14F-4D97-AF65-F5344CB8AC3E}">
        <p14:creationId xmlns:p14="http://schemas.microsoft.com/office/powerpoint/2010/main" val="716544611"/>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18000">
              <a:srgbClr val="B8D4DE"/>
            </a:gs>
            <a:gs pos="99167">
              <a:schemeClr val="bg1">
                <a:lumMod val="95000"/>
              </a:schemeClr>
            </a:gs>
            <a:gs pos="27000">
              <a:schemeClr val="bg1"/>
            </a:gs>
          </a:gsLst>
          <a:lin ang="5400000" scaled="0"/>
          <a:tileRect/>
        </a:gradFill>
        <a:effectLst/>
      </p:bgPr>
    </p:bg>
    <p:spTree>
      <p:nvGrpSpPr>
        <p:cNvPr id="1" name=""/>
        <p:cNvGrpSpPr/>
        <p:nvPr/>
      </p:nvGrpSpPr>
      <p:grpSpPr>
        <a:xfrm>
          <a:off x="0" y="0"/>
          <a:ext cx="0" cy="0"/>
          <a:chOff x="0" y="0"/>
          <a:chExt cx="0" cy="0"/>
        </a:xfrm>
      </p:grpSpPr>
      <p:pic>
        <p:nvPicPr>
          <p:cNvPr id="1026" name="Picture 2" descr="C:\Users\i-jbatsc\Desktop\images\images\azure\azure_socnet_image.png"/>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rot="10800000">
            <a:off x="-55664" y="1085954"/>
            <a:ext cx="5135664" cy="819151"/>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i-jbatsc\Desktop\images\images\azure\azure_illustration_bg.png"/>
          <p:cNvPicPr>
            <a:picLocks noChangeAspect="1" noChangeArrowheads="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3759221" y="1152631"/>
            <a:ext cx="8699500" cy="6572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Autofit/>
          </a:bodyPr>
          <a:lstStyle/>
          <a:p>
            <a:r>
              <a:rPr lang="en-US"/>
              <a:t>Click to edit Master title style</a:t>
            </a:r>
          </a:p>
        </p:txBody>
      </p:sp>
      <p:sp>
        <p:nvSpPr>
          <p:cNvPr id="3" name="Text Placeholder 2"/>
          <p:cNvSpPr>
            <a:spLocks noGrp="1"/>
          </p:cNvSpPr>
          <p:nvPr>
            <p:ph type="body" idx="1"/>
          </p:nvPr>
        </p:nvSpPr>
        <p:spPr>
          <a:xfrm>
            <a:off x="1117601" y="1600202"/>
            <a:ext cx="10464800" cy="4525963"/>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121899" tIns="60949" rIns="121899" bIns="60949" rtlCol="0" anchor="ctr"/>
          <a:lstStyle>
            <a:lvl1pPr algn="l">
              <a:defRPr sz="1600">
                <a:solidFill>
                  <a:schemeClr val="tx1">
                    <a:tint val="75000"/>
                  </a:schemeClr>
                </a:solidFill>
              </a:defRPr>
            </a:lvl1pPr>
          </a:lstStyle>
          <a:p>
            <a:pPr defTabSz="1218987"/>
            <a:fld id="{0FDB083A-04D8-4B57-ABAC-46E7416338DF}" type="datetimeFigureOut">
              <a:rPr lang="en-US" smtClean="0">
                <a:solidFill>
                  <a:prstClr val="black">
                    <a:tint val="75000"/>
                  </a:prstClr>
                </a:solidFill>
              </a:rPr>
              <a:pPr defTabSz="1218987"/>
              <a:t>6/3/2018</a:t>
            </a:fld>
            <a:endParaRPr lang="en-US">
              <a:solidFill>
                <a:prstClr val="black">
                  <a:tint val="75000"/>
                </a:prstClr>
              </a:solidFill>
            </a:endParaRPr>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121899" tIns="60949" rIns="121899" bIns="60949" rtlCol="0" anchor="ctr"/>
          <a:lstStyle>
            <a:lvl1pPr algn="ctr">
              <a:defRPr sz="1600">
                <a:solidFill>
                  <a:schemeClr val="tx1">
                    <a:tint val="75000"/>
                  </a:schemeClr>
                </a:solidFill>
              </a:defRPr>
            </a:lvl1pPr>
          </a:lstStyle>
          <a:p>
            <a:pPr defTabSz="1218987"/>
            <a:endParaRPr lang="en-US">
              <a:solidFill>
                <a:prstClr val="black">
                  <a:tint val="75000"/>
                </a:prstClr>
              </a:solidFill>
            </a:endParaRPr>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121899" tIns="60949" rIns="121899" bIns="60949" rtlCol="0" anchor="ctr"/>
          <a:lstStyle>
            <a:lvl1pPr algn="r">
              <a:defRPr sz="1600">
                <a:solidFill>
                  <a:schemeClr val="tx1">
                    <a:tint val="75000"/>
                  </a:schemeClr>
                </a:solidFill>
              </a:defRPr>
            </a:lvl1pPr>
          </a:lstStyle>
          <a:p>
            <a:pPr defTabSz="1218987"/>
            <a:fld id="{BF8B12A1-1006-42A3-A472-30C60DB048A8}" type="slidenum">
              <a:rPr lang="en-US" smtClean="0">
                <a:solidFill>
                  <a:prstClr val="black">
                    <a:tint val="75000"/>
                  </a:prstClr>
                </a:solidFill>
              </a:rPr>
              <a:pPr defTabSz="1218987"/>
              <a:t>‹#›</a:t>
            </a:fld>
            <a:endParaRPr lang="en-US">
              <a:solidFill>
                <a:prstClr val="black">
                  <a:tint val="75000"/>
                </a:prstClr>
              </a:solidFill>
            </a:endParaRPr>
          </a:p>
        </p:txBody>
      </p:sp>
    </p:spTree>
    <p:extLst>
      <p:ext uri="{BB962C8B-B14F-4D97-AF65-F5344CB8AC3E}">
        <p14:creationId xmlns:p14="http://schemas.microsoft.com/office/powerpoint/2010/main" val="502535979"/>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0" r:id="rId20"/>
    <p:sldLayoutId id="2147484031" r:id="rId21"/>
  </p:sldLayoutIdLst>
  <p:transition>
    <p:fade/>
  </p:transition>
  <p:txStyles>
    <p:titleStyle>
      <a:lvl1pPr algn="l" defTabSz="1218987" rtl="0" eaLnBrk="1" latinLnBrk="0" hangingPunct="1">
        <a:spcBef>
          <a:spcPct val="0"/>
        </a:spcBef>
        <a:buNone/>
        <a:defRPr sz="5300" b="1" i="1" kern="1200">
          <a:solidFill>
            <a:schemeClr val="tx1"/>
          </a:solidFill>
          <a:effectLst/>
          <a:latin typeface="+mj-lt"/>
          <a:ea typeface="Segoe UI" pitchFamily="34" charset="0"/>
          <a:cs typeface="Segoe UI" pitchFamily="34" charset="0"/>
        </a:defRPr>
      </a:lvl1pPr>
    </p:titleStyle>
    <p:bodyStyle>
      <a:lvl1pPr marL="457120" indent="-457120" algn="l" defTabSz="1218987" rtl="0" eaLnBrk="1" latinLnBrk="0" hangingPunct="1">
        <a:spcBef>
          <a:spcPct val="20000"/>
        </a:spcBef>
        <a:buFontTx/>
        <a:buBlip>
          <a:blip r:embed="rId25"/>
        </a:buBlip>
        <a:defRPr sz="4300" kern="1200">
          <a:solidFill>
            <a:schemeClr val="tx1"/>
          </a:solidFill>
          <a:latin typeface="+mn-lt"/>
          <a:ea typeface="+mn-ea"/>
          <a:cs typeface="+mn-cs"/>
        </a:defRPr>
      </a:lvl1pPr>
      <a:lvl2pPr marL="990427" indent="-380933" algn="l" defTabSz="1218987" rtl="0" eaLnBrk="1" latinLnBrk="0" hangingPunct="1">
        <a:spcBef>
          <a:spcPct val="20000"/>
        </a:spcBef>
        <a:buFontTx/>
        <a:buBlip>
          <a:blip r:embed="rId25"/>
        </a:buBlip>
        <a:defRPr sz="3700" kern="1200">
          <a:solidFill>
            <a:schemeClr val="tx1"/>
          </a:solidFill>
          <a:latin typeface="+mn-lt"/>
          <a:ea typeface="+mn-ea"/>
          <a:cs typeface="+mn-cs"/>
        </a:defRPr>
      </a:lvl2pPr>
      <a:lvl3pPr marL="1523733" indent="-304747" algn="l" defTabSz="1218987" rtl="0" eaLnBrk="1" latinLnBrk="0" hangingPunct="1">
        <a:spcBef>
          <a:spcPct val="20000"/>
        </a:spcBef>
        <a:buFontTx/>
        <a:buBlip>
          <a:blip r:embed="rId25"/>
        </a:buBlip>
        <a:defRPr sz="3200" kern="1200">
          <a:solidFill>
            <a:schemeClr val="tx1"/>
          </a:solidFill>
          <a:latin typeface="+mn-lt"/>
          <a:ea typeface="+mn-ea"/>
          <a:cs typeface="+mn-cs"/>
        </a:defRPr>
      </a:lvl3pPr>
      <a:lvl4pPr marL="2133227" indent="-304747" algn="l" defTabSz="1218987" rtl="0" eaLnBrk="1" latinLnBrk="0" hangingPunct="1">
        <a:spcBef>
          <a:spcPct val="20000"/>
        </a:spcBef>
        <a:buFontTx/>
        <a:buBlip>
          <a:blip r:embed="rId25"/>
        </a:buBlip>
        <a:defRPr sz="2700" kern="1200">
          <a:solidFill>
            <a:schemeClr val="tx1"/>
          </a:solidFill>
          <a:latin typeface="+mn-lt"/>
          <a:ea typeface="+mn-ea"/>
          <a:cs typeface="+mn-cs"/>
        </a:defRPr>
      </a:lvl4pPr>
      <a:lvl5pPr marL="2742720" indent="-304747" algn="l" defTabSz="1218987" rtl="0" eaLnBrk="1" latinLnBrk="0" hangingPunct="1">
        <a:spcBef>
          <a:spcPct val="20000"/>
        </a:spcBef>
        <a:buFontTx/>
        <a:buBlip>
          <a:blip r:embed="rId25"/>
        </a:buBlip>
        <a:defRPr sz="2700" kern="1200">
          <a:solidFill>
            <a:schemeClr val="tx1"/>
          </a:solidFill>
          <a:latin typeface="+mn-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p:nvPicPr>
        <p:blipFill>
          <a:blip r:embed="rId33"/>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672571085"/>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 id="2147484044" r:id="rId12"/>
    <p:sldLayoutId id="2147484045" r:id="rId13"/>
    <p:sldLayoutId id="2147484046" r:id="rId14"/>
    <p:sldLayoutId id="2147484047" r:id="rId15"/>
    <p:sldLayoutId id="2147484048" r:id="rId16"/>
    <p:sldLayoutId id="2147484049" r:id="rId17"/>
    <p:sldLayoutId id="2147484050" r:id="rId18"/>
    <p:sldLayoutId id="2147484051" r:id="rId19"/>
    <p:sldLayoutId id="2147484052" r:id="rId20"/>
    <p:sldLayoutId id="2147484053" r:id="rId21"/>
    <p:sldLayoutId id="2147484054" r:id="rId22"/>
    <p:sldLayoutId id="2147484055" r:id="rId23"/>
    <p:sldLayoutId id="2147484056" r:id="rId24"/>
    <p:sldLayoutId id="2147484057" r:id="rId25"/>
    <p:sldLayoutId id="2147484058" r:id="rId26"/>
    <p:sldLayoutId id="2147484059" r:id="rId27"/>
    <p:sldLayoutId id="2147484060" r:id="rId28"/>
    <p:sldLayoutId id="2147484061" r:id="rId29"/>
    <p:sldLayoutId id="2147484062" r:id="rId30"/>
    <p:sldLayoutId id="2147484063" r:id="rId31"/>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A503EBAF-BB52-4FEC-9EE9-8BBEE62A6D43}" type="datetimeFigureOut">
              <a:rPr lang="de-DE" smtClean="0">
                <a:solidFill>
                  <a:prstClr val="black">
                    <a:tint val="75000"/>
                  </a:prstClr>
                </a:solidFill>
              </a:rPr>
              <a:pPr/>
              <a:t>03.06.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670561723"/>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725" r:id="rId12"/>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1393468"/>
      </p:ext>
    </p:extLst>
  </p:cSld>
  <p:clrMap bg1="lt1" tx1="dk1" bg2="lt2" tx2="dk2" accent1="accent1" accent2="accent2" accent3="accent3" accent4="accent4" accent5="accent5" accent6="accent6" hlink="hlink" folHlink="folHlink"/>
  <p:sldLayoutIdLst>
    <p:sldLayoutId id="2147484065" r:id="rId1"/>
    <p:sldLayoutId id="2147484066" r:id="rId2"/>
    <p:sldLayoutId id="2147484067" r:id="rId3"/>
    <p:sldLayoutId id="2147484068" r:id="rId4"/>
    <p:sldLayoutId id="2147484069" r:id="rId5"/>
    <p:sldLayoutId id="2147484070" r:id="rId6"/>
    <p:sldLayoutId id="2147484071" r:id="rId7"/>
    <p:sldLayoutId id="2147484072" r:id="rId8"/>
    <p:sldLayoutId id="2147484073" r:id="rId9"/>
    <p:sldLayoutId id="2147484074" r:id="rId10"/>
    <p:sldLayoutId id="2147484075" r:id="rId11"/>
    <p:sldLayoutId id="2147484076" r:id="rId12"/>
    <p:sldLayoutId id="2147484077" r:id="rId13"/>
    <p:sldLayoutId id="2147484078" r:id="rId14"/>
    <p:sldLayoutId id="2147484079" r:id="rId15"/>
    <p:sldLayoutId id="2147484080" r:id="rId16"/>
    <p:sldLayoutId id="2147484081" r:id="rId17"/>
    <p:sldLayoutId id="2147484082"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7746155"/>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 id="2147484095" r:id="rId12"/>
    <p:sldLayoutId id="2147484096" r:id="rId13"/>
    <p:sldLayoutId id="2147484097" r:id="rId14"/>
    <p:sldLayoutId id="2147484098" r:id="rId15"/>
    <p:sldLayoutId id="2147484099" r:id="rId16"/>
    <p:sldLayoutId id="2147484100" r:id="rId17"/>
    <p:sldLayoutId id="2147484101"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5"/>
          <a:stretch>
            <a:fillRect/>
          </a:stretch>
        </p:blipFill>
        <p:spPr>
          <a:xfrm rot="5400000">
            <a:off x="9187079" y="3012391"/>
            <a:ext cx="6858622" cy="833218"/>
          </a:xfrm>
          <a:prstGeom prst="rect">
            <a:avLst/>
          </a:prstGeom>
        </p:spPr>
      </p:pic>
    </p:spTree>
    <p:extLst>
      <p:ext uri="{BB962C8B-B14F-4D97-AF65-F5344CB8AC3E}">
        <p14:creationId xmlns:p14="http://schemas.microsoft.com/office/powerpoint/2010/main" val="145025001"/>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 id="2147484116" r:id="rId14"/>
    <p:sldLayoutId id="2147484117" r:id="rId15"/>
    <p:sldLayoutId id="2147484118" r:id="rId16"/>
    <p:sldLayoutId id="2147484119" r:id="rId17"/>
    <p:sldLayoutId id="2147484120" r:id="rId18"/>
    <p:sldLayoutId id="2147484121" r:id="rId19"/>
    <p:sldLayoutId id="2147484122" r:id="rId20"/>
    <p:sldLayoutId id="2147484123" r:id="rId21"/>
    <p:sldLayoutId id="2147484124" r:id="rId22"/>
    <p:sldLayoutId id="2147484125" r:id="rId23"/>
  </p:sldLayoutIdLst>
  <p:transition>
    <p:fade/>
  </p:transition>
  <p:txStyles>
    <p:titleStyle>
      <a:lvl1pPr algn="l" defTabSz="913361" rtl="0" eaLnBrk="1" latinLnBrk="0" hangingPunct="1">
        <a:lnSpc>
          <a:spcPct val="90000"/>
        </a:lnSpc>
        <a:spcBef>
          <a:spcPct val="0"/>
        </a:spcBef>
        <a:buNone/>
        <a:defRPr lang="en-US" sz="470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38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5" kern="1200" spc="0" baseline="0">
          <a:gradFill>
            <a:gsLst>
              <a:gs pos="1250">
                <a:schemeClr val="tx1"/>
              </a:gs>
              <a:gs pos="100000">
                <a:schemeClr val="tx1"/>
              </a:gs>
            </a:gsLst>
            <a:lin ang="5400000" scaled="0"/>
          </a:gradFill>
          <a:latin typeface="+mj-lt"/>
          <a:ea typeface="+mn-ea"/>
          <a:cs typeface="+mn-cs"/>
        </a:defRPr>
      </a:lvl1pPr>
      <a:lvl2pPr marL="447700"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2" kern="1200" spc="0" baseline="0">
          <a:gradFill>
            <a:gsLst>
              <a:gs pos="1250">
                <a:schemeClr val="tx1"/>
              </a:gs>
              <a:gs pos="100000">
                <a:schemeClr val="tx1"/>
              </a:gs>
            </a:gsLst>
            <a:lin ang="5400000" scaled="0"/>
          </a:gradFill>
          <a:latin typeface="+mn-lt"/>
          <a:ea typeface="+mn-ea"/>
          <a:cs typeface="+mn-cs"/>
        </a:defRPr>
      </a:lvl2pPr>
      <a:lvl3pPr marL="6715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0" kern="1200" spc="0" baseline="0">
          <a:gradFill>
            <a:gsLst>
              <a:gs pos="1250">
                <a:schemeClr val="tx1"/>
              </a:gs>
              <a:gs pos="100000">
                <a:schemeClr val="tx1"/>
              </a:gs>
            </a:gsLst>
            <a:lin ang="5400000" scaled="0"/>
          </a:gradFill>
          <a:latin typeface="+mn-lt"/>
          <a:ea typeface="+mn-ea"/>
          <a:cs typeface="+mn-cs"/>
        </a:defRPr>
      </a:lvl3pPr>
      <a:lvl4pPr marL="895400"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5" kern="1200" spc="0" baseline="0">
          <a:gradFill>
            <a:gsLst>
              <a:gs pos="1250">
                <a:schemeClr val="tx1"/>
              </a:gs>
              <a:gs pos="100000">
                <a:schemeClr val="tx1"/>
              </a:gs>
            </a:gsLst>
            <a:lin ang="5400000" scaled="0"/>
          </a:gradFill>
          <a:latin typeface="+mn-lt"/>
          <a:ea typeface="+mn-ea"/>
          <a:cs typeface="+mn-cs"/>
        </a:defRPr>
      </a:lvl4pPr>
      <a:lvl5pPr marL="11192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5" kern="1200" spc="0" baseline="0">
          <a:gradFill>
            <a:gsLst>
              <a:gs pos="1250">
                <a:schemeClr val="tx1"/>
              </a:gs>
              <a:gs pos="100000">
                <a:schemeClr val="tx1"/>
              </a:gs>
            </a:gsLst>
            <a:lin ang="5400000" scaled="0"/>
          </a:gradFill>
          <a:latin typeface="+mn-lt"/>
          <a:ea typeface="+mn-ea"/>
          <a:cs typeface="+mn-cs"/>
        </a:defRPr>
      </a:lvl5pPr>
      <a:lvl6pPr marL="2511742"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8424"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5104"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786"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361" rtl="0" eaLnBrk="1" latinLnBrk="0" hangingPunct="1">
        <a:defRPr sz="1763" kern="1200">
          <a:solidFill>
            <a:schemeClr val="tx1"/>
          </a:solidFill>
          <a:latin typeface="+mn-lt"/>
          <a:ea typeface="+mn-ea"/>
          <a:cs typeface="+mn-cs"/>
        </a:defRPr>
      </a:lvl1pPr>
      <a:lvl2pPr marL="456681" algn="l" defTabSz="913361" rtl="0" eaLnBrk="1" latinLnBrk="0" hangingPunct="1">
        <a:defRPr sz="1763" kern="1200">
          <a:solidFill>
            <a:schemeClr val="tx1"/>
          </a:solidFill>
          <a:latin typeface="+mn-lt"/>
          <a:ea typeface="+mn-ea"/>
          <a:cs typeface="+mn-cs"/>
        </a:defRPr>
      </a:lvl2pPr>
      <a:lvl3pPr marL="913361" algn="l" defTabSz="913361" rtl="0" eaLnBrk="1" latinLnBrk="0" hangingPunct="1">
        <a:defRPr sz="1763" kern="1200">
          <a:solidFill>
            <a:schemeClr val="tx1"/>
          </a:solidFill>
          <a:latin typeface="+mn-lt"/>
          <a:ea typeface="+mn-ea"/>
          <a:cs typeface="+mn-cs"/>
        </a:defRPr>
      </a:lvl3pPr>
      <a:lvl4pPr marL="1370042" algn="l" defTabSz="913361" rtl="0" eaLnBrk="1" latinLnBrk="0" hangingPunct="1">
        <a:defRPr sz="1763" kern="1200">
          <a:solidFill>
            <a:schemeClr val="tx1"/>
          </a:solidFill>
          <a:latin typeface="+mn-lt"/>
          <a:ea typeface="+mn-ea"/>
          <a:cs typeface="+mn-cs"/>
        </a:defRPr>
      </a:lvl4pPr>
      <a:lvl5pPr marL="1826722" algn="l" defTabSz="913361" rtl="0" eaLnBrk="1" latinLnBrk="0" hangingPunct="1">
        <a:defRPr sz="1763" kern="1200">
          <a:solidFill>
            <a:schemeClr val="tx1"/>
          </a:solidFill>
          <a:latin typeface="+mn-lt"/>
          <a:ea typeface="+mn-ea"/>
          <a:cs typeface="+mn-cs"/>
        </a:defRPr>
      </a:lvl5pPr>
      <a:lvl6pPr marL="2283404" algn="l" defTabSz="913361" rtl="0" eaLnBrk="1" latinLnBrk="0" hangingPunct="1">
        <a:defRPr sz="1763" kern="1200">
          <a:solidFill>
            <a:schemeClr val="tx1"/>
          </a:solidFill>
          <a:latin typeface="+mn-lt"/>
          <a:ea typeface="+mn-ea"/>
          <a:cs typeface="+mn-cs"/>
        </a:defRPr>
      </a:lvl6pPr>
      <a:lvl7pPr marL="2740084" algn="l" defTabSz="913361" rtl="0" eaLnBrk="1" latinLnBrk="0" hangingPunct="1">
        <a:defRPr sz="1763" kern="1200">
          <a:solidFill>
            <a:schemeClr val="tx1"/>
          </a:solidFill>
          <a:latin typeface="+mn-lt"/>
          <a:ea typeface="+mn-ea"/>
          <a:cs typeface="+mn-cs"/>
        </a:defRPr>
      </a:lvl7pPr>
      <a:lvl8pPr marL="3196764" algn="l" defTabSz="913361" rtl="0" eaLnBrk="1" latinLnBrk="0" hangingPunct="1">
        <a:defRPr sz="1763" kern="1200">
          <a:solidFill>
            <a:schemeClr val="tx1"/>
          </a:solidFill>
          <a:latin typeface="+mn-lt"/>
          <a:ea typeface="+mn-ea"/>
          <a:cs typeface="+mn-cs"/>
        </a:defRPr>
      </a:lvl8pPr>
      <a:lvl9pPr marL="3653446" algn="l" defTabSz="913361"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2"/>
          <a:stretch>
            <a:fillRect/>
          </a:stretch>
        </p:blipFill>
        <p:spPr>
          <a:xfrm rot="5400000">
            <a:off x="9208749" y="2991034"/>
            <a:ext cx="6858623" cy="876557"/>
          </a:xfrm>
          <a:prstGeom prst="rect">
            <a:avLst/>
          </a:prstGeom>
        </p:spPr>
      </p:pic>
    </p:spTree>
    <p:extLst>
      <p:ext uri="{BB962C8B-B14F-4D97-AF65-F5344CB8AC3E}">
        <p14:creationId xmlns:p14="http://schemas.microsoft.com/office/powerpoint/2010/main" val="996808280"/>
      </p:ext>
    </p:extLst>
  </p:cSld>
  <p:clrMap bg1="dk1" tx1="lt1" bg2="dk2" tx2="lt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 id="2147484138" r:id="rId12"/>
    <p:sldLayoutId id="2147484139" r:id="rId13"/>
    <p:sldLayoutId id="2147484140" r:id="rId14"/>
    <p:sldLayoutId id="2147484141" r:id="rId15"/>
    <p:sldLayoutId id="2147484142" r:id="rId16"/>
    <p:sldLayoutId id="2147484143" r:id="rId17"/>
    <p:sldLayoutId id="2147484144" r:id="rId18"/>
    <p:sldLayoutId id="2147484145" r:id="rId19"/>
    <p:sldLayoutId id="2147484146" r:id="rId20"/>
  </p:sldLayoutIdLst>
  <p:transition>
    <p:fade/>
  </p:transition>
  <p:txStyles>
    <p:titleStyle>
      <a:lvl1pPr algn="l" defTabSz="913205" rtl="0" eaLnBrk="1" latinLnBrk="0" hangingPunct="1">
        <a:lnSpc>
          <a:spcPct val="90000"/>
        </a:lnSpc>
        <a:spcBef>
          <a:spcPct val="0"/>
        </a:spcBef>
        <a:buNone/>
        <a:defRPr lang="en-US" sz="469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718" marR="0" indent="-335718" algn="l" defTabSz="913205" rtl="0" eaLnBrk="1" fontAlgn="auto" latinLnBrk="0" hangingPunct="1">
        <a:lnSpc>
          <a:spcPct val="90000"/>
        </a:lnSpc>
        <a:spcBef>
          <a:spcPct val="20000"/>
        </a:spcBef>
        <a:spcAft>
          <a:spcPts val="0"/>
        </a:spcAft>
        <a:buClrTx/>
        <a:buSzPct val="90000"/>
        <a:buFont typeface="Arial" pitchFamily="34" charset="0"/>
        <a:buChar char="•"/>
        <a:tabLst/>
        <a:defRPr sz="3916" kern="1200" spc="0" baseline="0">
          <a:gradFill>
            <a:gsLst>
              <a:gs pos="1250">
                <a:schemeClr val="tx1"/>
              </a:gs>
              <a:gs pos="100000">
                <a:schemeClr val="tx1"/>
              </a:gs>
            </a:gsLst>
            <a:lin ang="5400000" scaled="0"/>
          </a:gradFill>
          <a:latin typeface="+mj-lt"/>
          <a:ea typeface="+mn-ea"/>
          <a:cs typeface="+mn-cs"/>
        </a:defRPr>
      </a:lvl1pPr>
      <a:lvl2pPr marL="571964" marR="0" indent="-236245" algn="l" defTabSz="913205" rtl="0" eaLnBrk="1" fontAlgn="auto" latinLnBrk="0" hangingPunct="1">
        <a:lnSpc>
          <a:spcPct val="90000"/>
        </a:lnSpc>
        <a:spcBef>
          <a:spcPct val="20000"/>
        </a:spcBef>
        <a:spcAft>
          <a:spcPts val="0"/>
        </a:spcAft>
        <a:buClrTx/>
        <a:buSzPct val="90000"/>
        <a:buFont typeface="Arial" pitchFamily="34" charset="0"/>
        <a:buChar char="•"/>
        <a:tabLst/>
        <a:defRPr sz="2350" kern="1200" spc="0" baseline="0">
          <a:gradFill>
            <a:gsLst>
              <a:gs pos="1250">
                <a:schemeClr val="tx1"/>
              </a:gs>
              <a:gs pos="100000">
                <a:schemeClr val="tx1"/>
              </a:gs>
            </a:gsLst>
            <a:lin ang="5400000" scaled="0"/>
          </a:gradFill>
          <a:latin typeface="+mn-lt"/>
          <a:ea typeface="+mn-ea"/>
          <a:cs typeface="+mn-cs"/>
        </a:defRPr>
      </a:lvl2pPr>
      <a:lvl3pPr marL="783342"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959" kern="1200" spc="0" baseline="0">
          <a:gradFill>
            <a:gsLst>
              <a:gs pos="1250">
                <a:schemeClr val="tx1"/>
              </a:gs>
              <a:gs pos="100000">
                <a:schemeClr val="tx1"/>
              </a:gs>
            </a:gsLst>
            <a:lin ang="5400000" scaled="0"/>
          </a:gradFill>
          <a:latin typeface="+mn-lt"/>
          <a:ea typeface="+mn-ea"/>
          <a:cs typeface="+mn-cs"/>
        </a:defRPr>
      </a:lvl3pPr>
      <a:lvl4pPr marL="1007154"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4pPr>
      <a:lvl5pPr marL="1230966"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5pPr>
      <a:lvl6pPr marL="2511315"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7918"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4521"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124"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205" rtl="0" eaLnBrk="1" latinLnBrk="0" hangingPunct="1">
        <a:defRPr sz="1763" kern="1200">
          <a:solidFill>
            <a:schemeClr val="tx1"/>
          </a:solidFill>
          <a:latin typeface="+mn-lt"/>
          <a:ea typeface="+mn-ea"/>
          <a:cs typeface="+mn-cs"/>
        </a:defRPr>
      </a:lvl1pPr>
      <a:lvl2pPr marL="456602" algn="l" defTabSz="913205" rtl="0" eaLnBrk="1" latinLnBrk="0" hangingPunct="1">
        <a:defRPr sz="1763" kern="1200">
          <a:solidFill>
            <a:schemeClr val="tx1"/>
          </a:solidFill>
          <a:latin typeface="+mn-lt"/>
          <a:ea typeface="+mn-ea"/>
          <a:cs typeface="+mn-cs"/>
        </a:defRPr>
      </a:lvl2pPr>
      <a:lvl3pPr marL="913205" algn="l" defTabSz="913205" rtl="0" eaLnBrk="1" latinLnBrk="0" hangingPunct="1">
        <a:defRPr sz="1763" kern="1200">
          <a:solidFill>
            <a:schemeClr val="tx1"/>
          </a:solidFill>
          <a:latin typeface="+mn-lt"/>
          <a:ea typeface="+mn-ea"/>
          <a:cs typeface="+mn-cs"/>
        </a:defRPr>
      </a:lvl3pPr>
      <a:lvl4pPr marL="1369808" algn="l" defTabSz="913205" rtl="0" eaLnBrk="1" latinLnBrk="0" hangingPunct="1">
        <a:defRPr sz="1763" kern="1200">
          <a:solidFill>
            <a:schemeClr val="tx1"/>
          </a:solidFill>
          <a:latin typeface="+mn-lt"/>
          <a:ea typeface="+mn-ea"/>
          <a:cs typeface="+mn-cs"/>
        </a:defRPr>
      </a:lvl4pPr>
      <a:lvl5pPr marL="1826411" algn="l" defTabSz="913205" rtl="0" eaLnBrk="1" latinLnBrk="0" hangingPunct="1">
        <a:defRPr sz="1763" kern="1200">
          <a:solidFill>
            <a:schemeClr val="tx1"/>
          </a:solidFill>
          <a:latin typeface="+mn-lt"/>
          <a:ea typeface="+mn-ea"/>
          <a:cs typeface="+mn-cs"/>
        </a:defRPr>
      </a:lvl5pPr>
      <a:lvl6pPr marL="2283014" algn="l" defTabSz="913205" rtl="0" eaLnBrk="1" latinLnBrk="0" hangingPunct="1">
        <a:defRPr sz="1763" kern="1200">
          <a:solidFill>
            <a:schemeClr val="tx1"/>
          </a:solidFill>
          <a:latin typeface="+mn-lt"/>
          <a:ea typeface="+mn-ea"/>
          <a:cs typeface="+mn-cs"/>
        </a:defRPr>
      </a:lvl6pPr>
      <a:lvl7pPr marL="2739616" algn="l" defTabSz="913205" rtl="0" eaLnBrk="1" latinLnBrk="0" hangingPunct="1">
        <a:defRPr sz="1763" kern="1200">
          <a:solidFill>
            <a:schemeClr val="tx1"/>
          </a:solidFill>
          <a:latin typeface="+mn-lt"/>
          <a:ea typeface="+mn-ea"/>
          <a:cs typeface="+mn-cs"/>
        </a:defRPr>
      </a:lvl7pPr>
      <a:lvl8pPr marL="3196218" algn="l" defTabSz="913205" rtl="0" eaLnBrk="1" latinLnBrk="0" hangingPunct="1">
        <a:defRPr sz="1763" kern="1200">
          <a:solidFill>
            <a:schemeClr val="tx1"/>
          </a:solidFill>
          <a:latin typeface="+mn-lt"/>
          <a:ea typeface="+mn-ea"/>
          <a:cs typeface="+mn-cs"/>
        </a:defRPr>
      </a:lvl8pPr>
      <a:lvl9pPr marL="3652822" algn="l" defTabSz="913205"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199">
                <a:solidFill>
                  <a:schemeClr val="tx1">
                    <a:tint val="75000"/>
                  </a:schemeClr>
                </a:solidFill>
              </a:defRPr>
            </a:lvl1pPr>
          </a:lstStyle>
          <a:p>
            <a:fld id="{DEC3E3B9-70CA-4D48-8F08-30C31143888B}" type="datetimeFigureOut">
              <a:rPr lang="en-US" smtClean="0"/>
              <a:t>6/4/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199">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199">
                <a:solidFill>
                  <a:schemeClr val="tx1">
                    <a:tint val="75000"/>
                  </a:schemeClr>
                </a:solidFill>
              </a:defRPr>
            </a:lvl1pPr>
          </a:lstStyle>
          <a:p>
            <a:fld id="{6DE91631-4B70-4FCA-B887-D236853E66F7}" type="slidenum">
              <a:rPr lang="en-US" smtClean="0"/>
              <a:t>‹#›</a:t>
            </a:fld>
            <a:endParaRPr lang="en-US" dirty="0"/>
          </a:p>
        </p:txBody>
      </p:sp>
    </p:spTree>
    <p:extLst>
      <p:ext uri="{BB962C8B-B14F-4D97-AF65-F5344CB8AC3E}">
        <p14:creationId xmlns:p14="http://schemas.microsoft.com/office/powerpoint/2010/main" val="2757558316"/>
      </p:ext>
    </p:extLst>
  </p:cSld>
  <p:clrMap bg1="lt1" tx1="dk1" bg2="lt2" tx2="dk2" accent1="accent1" accent2="accent2" accent3="accent3" accent4="accent4" accent5="accent5" accent6="accent6" hlink="hlink" folHlink="folHlink"/>
  <p:sldLayoutIdLst>
    <p:sldLayoutId id="2147484148" r:id="rId1"/>
    <p:sldLayoutId id="2147484149" r:id="rId2"/>
    <p:sldLayoutId id="2147484150" r:id="rId3"/>
    <p:sldLayoutId id="2147484151" r:id="rId4"/>
    <p:sldLayoutId id="2147484152" r:id="rId5"/>
    <p:sldLayoutId id="2147484153" r:id="rId6"/>
    <p:sldLayoutId id="2147484154" r:id="rId7"/>
    <p:sldLayoutId id="2147484155" r:id="rId8"/>
    <p:sldLayoutId id="2147484156" r:id="rId9"/>
    <p:sldLayoutId id="2147484157" r:id="rId10"/>
    <p:sldLayoutId id="2147484158" r:id="rId11"/>
    <p:sldLayoutId id="2147484159" r:id="rId12"/>
    <p:sldLayoutId id="2147484160" r:id="rId13"/>
    <p:sldLayoutId id="2147484161" r:id="rId14"/>
    <p:sldLayoutId id="2147484162" r:id="rId15"/>
    <p:sldLayoutId id="2147484163" r:id="rId16"/>
    <p:sldLayoutId id="2147484164" r:id="rId17"/>
    <p:sldLayoutId id="2147484165" r:id="rId18"/>
    <p:sldLayoutId id="2147484166" r:id="rId19"/>
    <p:sldLayoutId id="2147484167" r:id="rId20"/>
    <p:sldLayoutId id="2147484168" r:id="rId21"/>
    <p:sldLayoutId id="2147484169" r:id="rId22"/>
    <p:sldLayoutId id="2147484170" r:id="rId23"/>
    <p:sldLayoutId id="2147484171" r:id="rId24"/>
    <p:sldLayoutId id="2147484172" r:id="rId25"/>
  </p:sldLayoutIdLst>
  <p:txStyles>
    <p:titleStyle>
      <a:lvl1pPr algn="l" defTabSz="913239" rtl="0" eaLnBrk="1" latinLnBrk="0" hangingPunct="1">
        <a:lnSpc>
          <a:spcPct val="90000"/>
        </a:lnSpc>
        <a:spcBef>
          <a:spcPct val="0"/>
        </a:spcBef>
        <a:buNone/>
        <a:defRPr sz="4395" kern="1200">
          <a:solidFill>
            <a:schemeClr val="tx1"/>
          </a:solidFill>
          <a:latin typeface="+mj-lt"/>
          <a:ea typeface="+mj-ea"/>
          <a:cs typeface="+mj-cs"/>
        </a:defRPr>
      </a:lvl1pPr>
    </p:titleStyle>
    <p:bodyStyle>
      <a:lvl1pPr marL="228310" indent="-228310" algn="l" defTabSz="913239" rtl="0" eaLnBrk="1" latinLnBrk="0" hangingPunct="1">
        <a:lnSpc>
          <a:spcPct val="90000"/>
        </a:lnSpc>
        <a:spcBef>
          <a:spcPts val="999"/>
        </a:spcBef>
        <a:buFont typeface="Arial" panose="020B0604020202020204" pitchFamily="34" charset="0"/>
        <a:buChar char="•"/>
        <a:defRPr sz="2797" kern="1200">
          <a:solidFill>
            <a:schemeClr val="tx1"/>
          </a:solidFill>
          <a:latin typeface="+mn-lt"/>
          <a:ea typeface="+mn-ea"/>
          <a:cs typeface="+mn-cs"/>
        </a:defRPr>
      </a:lvl1pPr>
      <a:lvl2pPr marL="684929" indent="-228310" algn="l" defTabSz="913239" rtl="0" eaLnBrk="1" latinLnBrk="0" hangingPunct="1">
        <a:lnSpc>
          <a:spcPct val="90000"/>
        </a:lnSpc>
        <a:spcBef>
          <a:spcPts val="499"/>
        </a:spcBef>
        <a:buFont typeface="Arial" panose="020B0604020202020204" pitchFamily="34" charset="0"/>
        <a:buChar char="•"/>
        <a:defRPr sz="2397" kern="1200">
          <a:solidFill>
            <a:schemeClr val="tx1"/>
          </a:solidFill>
          <a:latin typeface="+mn-lt"/>
          <a:ea typeface="+mn-ea"/>
          <a:cs typeface="+mn-cs"/>
        </a:defRPr>
      </a:lvl2pPr>
      <a:lvl3pPr marL="1141548" indent="-228310" algn="l" defTabSz="913239" rtl="0" eaLnBrk="1" latinLnBrk="0" hangingPunct="1">
        <a:lnSpc>
          <a:spcPct val="90000"/>
        </a:lnSpc>
        <a:spcBef>
          <a:spcPts val="499"/>
        </a:spcBef>
        <a:buFont typeface="Arial" panose="020B0604020202020204" pitchFamily="34" charset="0"/>
        <a:buChar char="•"/>
        <a:defRPr sz="1998" kern="1200">
          <a:solidFill>
            <a:schemeClr val="tx1"/>
          </a:solidFill>
          <a:latin typeface="+mn-lt"/>
          <a:ea typeface="+mn-ea"/>
          <a:cs typeface="+mn-cs"/>
        </a:defRPr>
      </a:lvl3pPr>
      <a:lvl4pPr marL="1598167" indent="-228310" algn="l" defTabSz="913239" rtl="0" eaLnBrk="1" latinLnBrk="0" hangingPunct="1">
        <a:lnSpc>
          <a:spcPct val="90000"/>
        </a:lnSpc>
        <a:spcBef>
          <a:spcPts val="499"/>
        </a:spcBef>
        <a:buFont typeface="Arial" panose="020B0604020202020204" pitchFamily="34" charset="0"/>
        <a:buChar char="•"/>
        <a:defRPr sz="1798" kern="1200">
          <a:solidFill>
            <a:schemeClr val="tx1"/>
          </a:solidFill>
          <a:latin typeface="+mn-lt"/>
          <a:ea typeface="+mn-ea"/>
          <a:cs typeface="+mn-cs"/>
        </a:defRPr>
      </a:lvl4pPr>
      <a:lvl5pPr marL="2054786" indent="-228310" algn="l" defTabSz="913239" rtl="0" eaLnBrk="1" latinLnBrk="0" hangingPunct="1">
        <a:lnSpc>
          <a:spcPct val="90000"/>
        </a:lnSpc>
        <a:spcBef>
          <a:spcPts val="499"/>
        </a:spcBef>
        <a:buFont typeface="Arial" panose="020B0604020202020204" pitchFamily="34" charset="0"/>
        <a:buChar char="•"/>
        <a:defRPr sz="1798" kern="1200">
          <a:solidFill>
            <a:schemeClr val="tx1"/>
          </a:solidFill>
          <a:latin typeface="+mn-lt"/>
          <a:ea typeface="+mn-ea"/>
          <a:cs typeface="+mn-cs"/>
        </a:defRPr>
      </a:lvl5pPr>
      <a:lvl6pPr marL="2511405" indent="-228310" algn="l" defTabSz="913239" rtl="0" eaLnBrk="1" latinLnBrk="0" hangingPunct="1">
        <a:lnSpc>
          <a:spcPct val="90000"/>
        </a:lnSpc>
        <a:spcBef>
          <a:spcPts val="499"/>
        </a:spcBef>
        <a:buFont typeface="Arial" panose="020B0604020202020204" pitchFamily="34" charset="0"/>
        <a:buChar char="•"/>
        <a:defRPr sz="1798" kern="1200">
          <a:solidFill>
            <a:schemeClr val="tx1"/>
          </a:solidFill>
          <a:latin typeface="+mn-lt"/>
          <a:ea typeface="+mn-ea"/>
          <a:cs typeface="+mn-cs"/>
        </a:defRPr>
      </a:lvl6pPr>
      <a:lvl7pPr marL="2968025" indent="-228310" algn="l" defTabSz="913239" rtl="0" eaLnBrk="1" latinLnBrk="0" hangingPunct="1">
        <a:lnSpc>
          <a:spcPct val="90000"/>
        </a:lnSpc>
        <a:spcBef>
          <a:spcPts val="499"/>
        </a:spcBef>
        <a:buFont typeface="Arial" panose="020B0604020202020204" pitchFamily="34" charset="0"/>
        <a:buChar char="•"/>
        <a:defRPr sz="1798" kern="1200">
          <a:solidFill>
            <a:schemeClr val="tx1"/>
          </a:solidFill>
          <a:latin typeface="+mn-lt"/>
          <a:ea typeface="+mn-ea"/>
          <a:cs typeface="+mn-cs"/>
        </a:defRPr>
      </a:lvl7pPr>
      <a:lvl8pPr marL="3424644" indent="-228310" algn="l" defTabSz="913239" rtl="0" eaLnBrk="1" latinLnBrk="0" hangingPunct="1">
        <a:lnSpc>
          <a:spcPct val="90000"/>
        </a:lnSpc>
        <a:spcBef>
          <a:spcPts val="499"/>
        </a:spcBef>
        <a:buFont typeface="Arial" panose="020B0604020202020204" pitchFamily="34" charset="0"/>
        <a:buChar char="•"/>
        <a:defRPr sz="1798" kern="1200">
          <a:solidFill>
            <a:schemeClr val="tx1"/>
          </a:solidFill>
          <a:latin typeface="+mn-lt"/>
          <a:ea typeface="+mn-ea"/>
          <a:cs typeface="+mn-cs"/>
        </a:defRPr>
      </a:lvl8pPr>
      <a:lvl9pPr marL="3881264" indent="-228310" algn="l" defTabSz="913239" rtl="0" eaLnBrk="1" latinLnBrk="0" hangingPunct="1">
        <a:lnSpc>
          <a:spcPct val="90000"/>
        </a:lnSpc>
        <a:spcBef>
          <a:spcPts val="499"/>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239" rtl="0" eaLnBrk="1" latinLnBrk="0" hangingPunct="1">
        <a:defRPr sz="1798" kern="1200">
          <a:solidFill>
            <a:schemeClr val="tx1"/>
          </a:solidFill>
          <a:latin typeface="+mn-lt"/>
          <a:ea typeface="+mn-ea"/>
          <a:cs typeface="+mn-cs"/>
        </a:defRPr>
      </a:lvl1pPr>
      <a:lvl2pPr marL="456619" algn="l" defTabSz="913239" rtl="0" eaLnBrk="1" latinLnBrk="0" hangingPunct="1">
        <a:defRPr sz="1798" kern="1200">
          <a:solidFill>
            <a:schemeClr val="tx1"/>
          </a:solidFill>
          <a:latin typeface="+mn-lt"/>
          <a:ea typeface="+mn-ea"/>
          <a:cs typeface="+mn-cs"/>
        </a:defRPr>
      </a:lvl2pPr>
      <a:lvl3pPr marL="913239" algn="l" defTabSz="913239" rtl="0" eaLnBrk="1" latinLnBrk="0" hangingPunct="1">
        <a:defRPr sz="1798" kern="1200">
          <a:solidFill>
            <a:schemeClr val="tx1"/>
          </a:solidFill>
          <a:latin typeface="+mn-lt"/>
          <a:ea typeface="+mn-ea"/>
          <a:cs typeface="+mn-cs"/>
        </a:defRPr>
      </a:lvl3pPr>
      <a:lvl4pPr marL="1369857" algn="l" defTabSz="913239" rtl="0" eaLnBrk="1" latinLnBrk="0" hangingPunct="1">
        <a:defRPr sz="1798" kern="1200">
          <a:solidFill>
            <a:schemeClr val="tx1"/>
          </a:solidFill>
          <a:latin typeface="+mn-lt"/>
          <a:ea typeface="+mn-ea"/>
          <a:cs typeface="+mn-cs"/>
        </a:defRPr>
      </a:lvl4pPr>
      <a:lvl5pPr marL="1826476" algn="l" defTabSz="913239" rtl="0" eaLnBrk="1" latinLnBrk="0" hangingPunct="1">
        <a:defRPr sz="1798" kern="1200">
          <a:solidFill>
            <a:schemeClr val="tx1"/>
          </a:solidFill>
          <a:latin typeface="+mn-lt"/>
          <a:ea typeface="+mn-ea"/>
          <a:cs typeface="+mn-cs"/>
        </a:defRPr>
      </a:lvl5pPr>
      <a:lvl6pPr marL="2283096" algn="l" defTabSz="913239" rtl="0" eaLnBrk="1" latinLnBrk="0" hangingPunct="1">
        <a:defRPr sz="1798" kern="1200">
          <a:solidFill>
            <a:schemeClr val="tx1"/>
          </a:solidFill>
          <a:latin typeface="+mn-lt"/>
          <a:ea typeface="+mn-ea"/>
          <a:cs typeface="+mn-cs"/>
        </a:defRPr>
      </a:lvl6pPr>
      <a:lvl7pPr marL="2739715" algn="l" defTabSz="913239" rtl="0" eaLnBrk="1" latinLnBrk="0" hangingPunct="1">
        <a:defRPr sz="1798" kern="1200">
          <a:solidFill>
            <a:schemeClr val="tx1"/>
          </a:solidFill>
          <a:latin typeface="+mn-lt"/>
          <a:ea typeface="+mn-ea"/>
          <a:cs typeface="+mn-cs"/>
        </a:defRPr>
      </a:lvl7pPr>
      <a:lvl8pPr marL="3196335" algn="l" defTabSz="913239" rtl="0" eaLnBrk="1" latinLnBrk="0" hangingPunct="1">
        <a:defRPr sz="1798" kern="1200">
          <a:solidFill>
            <a:schemeClr val="tx1"/>
          </a:solidFill>
          <a:latin typeface="+mn-lt"/>
          <a:ea typeface="+mn-ea"/>
          <a:cs typeface="+mn-cs"/>
        </a:defRPr>
      </a:lvl8pPr>
      <a:lvl9pPr marL="3652954" algn="l" defTabSz="913239" rtl="0" eaLnBrk="1" latinLnBrk="0" hangingPunct="1">
        <a:defRPr sz="1798"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2051"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58" y="1559"/>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69242" y="1124472"/>
            <a:ext cx="11653521" cy="168990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289017"/>
      </p:ext>
    </p:extLst>
  </p:cSld>
  <p:clrMap bg1="lt1" tx1="dk1" bg2="lt2" tx2="dk2" accent1="accent1" accent2="accent2" accent3="accent3" accent4="accent4" accent5="accent5" accent6="accent6" hlink="hlink" folHlink="folHlink"/>
  <p:sldLayoutIdLst>
    <p:sldLayoutId id="2147484174" r:id="rId1"/>
    <p:sldLayoutId id="2147484175" r:id="rId2"/>
    <p:sldLayoutId id="2147484176" r:id="rId3"/>
    <p:sldLayoutId id="2147484177" r:id="rId4"/>
    <p:sldLayoutId id="2147484178" r:id="rId5"/>
    <p:sldLayoutId id="2147484179" r:id="rId6"/>
    <p:sldLayoutId id="2147484180" r:id="rId7"/>
    <p:sldLayoutId id="2147484181" r:id="rId8"/>
    <p:sldLayoutId id="2147484182" r:id="rId9"/>
    <p:sldLayoutId id="2147484183" r:id="rId10"/>
    <p:sldLayoutId id="2147484184" r:id="rId11"/>
    <p:sldLayoutId id="2147484185" r:id="rId12"/>
    <p:sldLayoutId id="2147484186" r:id="rId13"/>
    <p:sldLayoutId id="2147484187" r:id="rId14"/>
    <p:sldLayoutId id="2147484188" r:id="rId15"/>
    <p:sldLayoutId id="2147484189" r:id="rId16"/>
    <p:sldLayoutId id="2147484190" r:id="rId17"/>
    <p:sldLayoutId id="2147484191" r:id="rId18"/>
    <p:sldLayoutId id="2147484192" r:id="rId19"/>
    <p:sldLayoutId id="2147484193" r:id="rId20"/>
    <p:sldLayoutId id="2147484194" r:id="rId21"/>
    <p:sldLayoutId id="2147484195" r:id="rId22"/>
    <p:sldLayoutId id="2147484196" r:id="rId23"/>
    <p:sldLayoutId id="2147484197" r:id="rId24"/>
    <p:sldLayoutId id="2147484198" r:id="rId25"/>
    <p:sldLayoutId id="2147484199" r:id="rId26"/>
    <p:sldLayoutId id="2147484200" r:id="rId27"/>
    <p:sldLayoutId id="2147484201" r:id="rId28"/>
    <p:sldLayoutId id="2147484202" r:id="rId29"/>
    <p:sldLayoutId id="2147484203" r:id="rId30"/>
  </p:sldLayoutIdLst>
  <p:transition>
    <p:fade/>
  </p:transition>
  <p:hf sldNum="0" hdr="0" ftr="0" dt="0"/>
  <p:txStyles>
    <p:titleStyle>
      <a:lvl1pPr algn="l" defTabSz="913186" rtl="0" eaLnBrk="1" latinLnBrk="0" hangingPunct="1">
        <a:lnSpc>
          <a:spcPct val="90000"/>
        </a:lnSpc>
        <a:spcBef>
          <a:spcPct val="0"/>
        </a:spcBef>
        <a:buNone/>
        <a:defRPr lang="en-US" sz="3524" b="0" kern="1200" cap="none" spc="-100" baseline="0" dirty="0" smtClean="0">
          <a:ln w="3175">
            <a:noFill/>
          </a:ln>
          <a:solidFill>
            <a:schemeClr val="bg1"/>
          </a:solidFill>
          <a:effectLst/>
          <a:latin typeface="+mj-lt"/>
          <a:ea typeface="+mn-ea"/>
          <a:cs typeface="Segoe UI" pitchFamily="34" charset="0"/>
        </a:defRPr>
      </a:lvl1pPr>
    </p:titleStyle>
    <p:bodyStyle>
      <a:lvl1pPr marL="335711" marR="0" indent="-335711" algn="l" defTabSz="913186" rtl="0" eaLnBrk="1" fontAlgn="auto" latinLnBrk="0" hangingPunct="1">
        <a:lnSpc>
          <a:spcPct val="100000"/>
        </a:lnSpc>
        <a:spcBef>
          <a:spcPts val="587"/>
        </a:spcBef>
        <a:spcAft>
          <a:spcPts val="0"/>
        </a:spcAft>
        <a:buClrTx/>
        <a:buSzPct val="90000"/>
        <a:buFont typeface="Arial" pitchFamily="34" charset="0"/>
        <a:buChar char="•"/>
        <a:tabLst/>
        <a:defRPr sz="1369" kern="1200" spc="0" baseline="0">
          <a:gradFill>
            <a:gsLst>
              <a:gs pos="1250">
                <a:schemeClr val="tx1"/>
              </a:gs>
              <a:gs pos="100000">
                <a:schemeClr val="tx1"/>
              </a:gs>
            </a:gsLst>
            <a:lin ang="5400000" scaled="0"/>
          </a:gradFill>
          <a:latin typeface="+mn-lt"/>
          <a:ea typeface="+mn-ea"/>
          <a:cs typeface="+mn-cs"/>
        </a:defRPr>
      </a:lvl1pPr>
      <a:lvl2pPr marL="571952" marR="0" indent="-236241" algn="l" defTabSz="913186" rtl="0" eaLnBrk="1" fontAlgn="auto" latinLnBrk="0" hangingPunct="1">
        <a:lnSpc>
          <a:spcPct val="100000"/>
        </a:lnSpc>
        <a:spcBef>
          <a:spcPts val="587"/>
        </a:spcBef>
        <a:spcAft>
          <a:spcPts val="0"/>
        </a:spcAft>
        <a:buClrTx/>
        <a:buSzPct val="90000"/>
        <a:buFont typeface="Arial" pitchFamily="34" charset="0"/>
        <a:buChar char="•"/>
        <a:tabLst/>
        <a:defRPr sz="1566" kern="1200" spc="0" baseline="0">
          <a:gradFill>
            <a:gsLst>
              <a:gs pos="1250">
                <a:schemeClr val="tx1"/>
              </a:gs>
              <a:gs pos="100000">
                <a:schemeClr val="tx1"/>
              </a:gs>
            </a:gsLst>
            <a:lin ang="5400000" scaled="0"/>
          </a:gradFill>
          <a:latin typeface="+mn-lt"/>
          <a:ea typeface="+mn-ea"/>
          <a:cs typeface="+mn-cs"/>
        </a:defRPr>
      </a:lvl2pPr>
      <a:lvl3pPr marL="783324" marR="0" indent="-223808" algn="l" defTabSz="913186" rtl="0" eaLnBrk="1" fontAlgn="auto" latinLnBrk="0" hangingPunct="1">
        <a:lnSpc>
          <a:spcPct val="100000"/>
        </a:lnSpc>
        <a:spcBef>
          <a:spcPts val="587"/>
        </a:spcBef>
        <a:spcAft>
          <a:spcPts val="0"/>
        </a:spcAft>
        <a:buClrTx/>
        <a:buSzPct val="90000"/>
        <a:buFont typeface="Arial" pitchFamily="34" charset="0"/>
        <a:buChar char="•"/>
        <a:tabLst/>
        <a:defRPr sz="1566" kern="1200" spc="0" baseline="0">
          <a:gradFill>
            <a:gsLst>
              <a:gs pos="1250">
                <a:schemeClr val="tx1"/>
              </a:gs>
              <a:gs pos="100000">
                <a:schemeClr val="tx1"/>
              </a:gs>
            </a:gsLst>
            <a:lin ang="5400000" scaled="0"/>
          </a:gradFill>
          <a:latin typeface="+mn-lt"/>
          <a:ea typeface="+mn-ea"/>
          <a:cs typeface="+mn-cs"/>
        </a:defRPr>
      </a:lvl3pPr>
      <a:lvl4pPr marL="1007133" marR="0" indent="-223808" algn="l" defTabSz="913186" rtl="0" eaLnBrk="1" fontAlgn="auto" latinLnBrk="0" hangingPunct="1">
        <a:lnSpc>
          <a:spcPct val="100000"/>
        </a:lnSpc>
        <a:spcBef>
          <a:spcPts val="587"/>
        </a:spcBef>
        <a:spcAft>
          <a:spcPts val="0"/>
        </a:spcAft>
        <a:buClrTx/>
        <a:buSzPct val="90000"/>
        <a:buFont typeface="Arial" pitchFamily="34" charset="0"/>
        <a:buChar char="•"/>
        <a:tabLst/>
        <a:defRPr sz="1566" kern="1200" spc="0" baseline="0">
          <a:gradFill>
            <a:gsLst>
              <a:gs pos="1250">
                <a:schemeClr val="tx1"/>
              </a:gs>
              <a:gs pos="100000">
                <a:schemeClr val="tx1"/>
              </a:gs>
            </a:gsLst>
            <a:lin ang="5400000" scaled="0"/>
          </a:gradFill>
          <a:latin typeface="+mn-lt"/>
          <a:ea typeface="+mn-ea"/>
          <a:cs typeface="+mn-cs"/>
        </a:defRPr>
      </a:lvl4pPr>
      <a:lvl5pPr marL="1230938" marR="0" indent="-223808" algn="l" defTabSz="913186" rtl="0" eaLnBrk="1" fontAlgn="auto" latinLnBrk="0" hangingPunct="1">
        <a:lnSpc>
          <a:spcPct val="100000"/>
        </a:lnSpc>
        <a:spcBef>
          <a:spcPts val="587"/>
        </a:spcBef>
        <a:spcAft>
          <a:spcPts val="0"/>
        </a:spcAft>
        <a:buClrTx/>
        <a:buSzPct val="90000"/>
        <a:buFont typeface="Arial" pitchFamily="34" charset="0"/>
        <a:buChar char="•"/>
        <a:tabLst/>
        <a:defRPr sz="1566" kern="1200" spc="0" baseline="0">
          <a:gradFill>
            <a:gsLst>
              <a:gs pos="1250">
                <a:schemeClr val="tx1"/>
              </a:gs>
              <a:gs pos="100000">
                <a:schemeClr val="tx1"/>
              </a:gs>
            </a:gsLst>
            <a:lin ang="5400000" scaled="0"/>
          </a:gradFill>
          <a:latin typeface="+mn-lt"/>
          <a:ea typeface="+mn-ea"/>
          <a:cs typeface="+mn-cs"/>
        </a:defRPr>
      </a:lvl5pPr>
      <a:lvl6pPr marL="2511261" indent="-228297" algn="l" defTabSz="91318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7854" indent="-228297" algn="l" defTabSz="91318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4448" indent="-228297" algn="l" defTabSz="91318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041" indent="-228297" algn="l" defTabSz="91318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186" rtl="0" eaLnBrk="1" latinLnBrk="0" hangingPunct="1">
        <a:defRPr sz="1763" kern="1200">
          <a:solidFill>
            <a:schemeClr val="tx1"/>
          </a:solidFill>
          <a:latin typeface="+mn-lt"/>
          <a:ea typeface="+mn-ea"/>
          <a:cs typeface="+mn-cs"/>
        </a:defRPr>
      </a:lvl1pPr>
      <a:lvl2pPr marL="456592" algn="l" defTabSz="913186" rtl="0" eaLnBrk="1" latinLnBrk="0" hangingPunct="1">
        <a:defRPr sz="1763" kern="1200">
          <a:solidFill>
            <a:schemeClr val="tx1"/>
          </a:solidFill>
          <a:latin typeface="+mn-lt"/>
          <a:ea typeface="+mn-ea"/>
          <a:cs typeface="+mn-cs"/>
        </a:defRPr>
      </a:lvl2pPr>
      <a:lvl3pPr marL="913186" algn="l" defTabSz="913186" rtl="0" eaLnBrk="1" latinLnBrk="0" hangingPunct="1">
        <a:defRPr sz="1763" kern="1200">
          <a:solidFill>
            <a:schemeClr val="tx1"/>
          </a:solidFill>
          <a:latin typeface="+mn-lt"/>
          <a:ea typeface="+mn-ea"/>
          <a:cs typeface="+mn-cs"/>
        </a:defRPr>
      </a:lvl3pPr>
      <a:lvl4pPr marL="1369778" algn="l" defTabSz="913186" rtl="0" eaLnBrk="1" latinLnBrk="0" hangingPunct="1">
        <a:defRPr sz="1763" kern="1200">
          <a:solidFill>
            <a:schemeClr val="tx1"/>
          </a:solidFill>
          <a:latin typeface="+mn-lt"/>
          <a:ea typeface="+mn-ea"/>
          <a:cs typeface="+mn-cs"/>
        </a:defRPr>
      </a:lvl4pPr>
      <a:lvl5pPr marL="1826371" algn="l" defTabSz="913186" rtl="0" eaLnBrk="1" latinLnBrk="0" hangingPunct="1">
        <a:defRPr sz="1763" kern="1200">
          <a:solidFill>
            <a:schemeClr val="tx1"/>
          </a:solidFill>
          <a:latin typeface="+mn-lt"/>
          <a:ea typeface="+mn-ea"/>
          <a:cs typeface="+mn-cs"/>
        </a:defRPr>
      </a:lvl5pPr>
      <a:lvl6pPr marL="2282965" algn="l" defTabSz="913186" rtl="0" eaLnBrk="1" latinLnBrk="0" hangingPunct="1">
        <a:defRPr sz="1763" kern="1200">
          <a:solidFill>
            <a:schemeClr val="tx1"/>
          </a:solidFill>
          <a:latin typeface="+mn-lt"/>
          <a:ea typeface="+mn-ea"/>
          <a:cs typeface="+mn-cs"/>
        </a:defRPr>
      </a:lvl6pPr>
      <a:lvl7pPr marL="2739558" algn="l" defTabSz="913186" rtl="0" eaLnBrk="1" latinLnBrk="0" hangingPunct="1">
        <a:defRPr sz="1763" kern="1200">
          <a:solidFill>
            <a:schemeClr val="tx1"/>
          </a:solidFill>
          <a:latin typeface="+mn-lt"/>
          <a:ea typeface="+mn-ea"/>
          <a:cs typeface="+mn-cs"/>
        </a:defRPr>
      </a:lvl7pPr>
      <a:lvl8pPr marL="3196151" algn="l" defTabSz="913186" rtl="0" eaLnBrk="1" latinLnBrk="0" hangingPunct="1">
        <a:defRPr sz="1763" kern="1200">
          <a:solidFill>
            <a:schemeClr val="tx1"/>
          </a:solidFill>
          <a:latin typeface="+mn-lt"/>
          <a:ea typeface="+mn-ea"/>
          <a:cs typeface="+mn-cs"/>
        </a:defRPr>
      </a:lvl8pPr>
      <a:lvl9pPr marL="3652745" algn="l" defTabSz="91318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D817BCF1-EDE9-46B3-A8B3-659212B54243}" type="datetimeFigureOut">
              <a:rPr lang="en-US" smtClean="0">
                <a:solidFill>
                  <a:srgbClr val="505050">
                    <a:tint val="75000"/>
                  </a:srgbClr>
                </a:solidFill>
              </a:rPr>
              <a:pPr/>
              <a:t>6/3/2018</a:t>
            </a:fld>
            <a:endParaRPr lang="en-US">
              <a:solidFill>
                <a:srgbClr val="505050">
                  <a:tint val="75000"/>
                </a:srgb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a:solidFill>
                <a:srgbClr val="505050">
                  <a:tint val="75000"/>
                </a:srgb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CFBCED8A-DE7B-4F20-BCBD-2F1C97F6A900}" type="slidenum">
              <a:rPr lang="en-US" smtClean="0">
                <a:solidFill>
                  <a:srgbClr val="505050">
                    <a:tint val="75000"/>
                  </a:srgbClr>
                </a:solidFill>
              </a:rPr>
              <a:pPr/>
              <a:t>‹#›</a:t>
            </a:fld>
            <a:endParaRPr lang="en-US">
              <a:solidFill>
                <a:srgbClr val="505050">
                  <a:tint val="75000"/>
                </a:srgbClr>
              </a:solidFill>
            </a:endParaRPr>
          </a:p>
        </p:txBody>
      </p:sp>
    </p:spTree>
    <p:extLst>
      <p:ext uri="{BB962C8B-B14F-4D97-AF65-F5344CB8AC3E}">
        <p14:creationId xmlns:p14="http://schemas.microsoft.com/office/powerpoint/2010/main" val="2163423061"/>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 id="2147483709" r:id="rId29"/>
    <p:sldLayoutId id="2147483710" r:id="rId30"/>
    <p:sldLayoutId id="2147483711" r:id="rId31"/>
    <p:sldLayoutId id="2147483712" r:id="rId32"/>
    <p:sldLayoutId id="2147483713" r:id="rId33"/>
    <p:sldLayoutId id="2147483714" r:id="rId34"/>
    <p:sldLayoutId id="2147483715" r:id="rId35"/>
    <p:sldLayoutId id="2147483716" r:id="rId36"/>
    <p:sldLayoutId id="2147483717" r:id="rId37"/>
    <p:sldLayoutId id="2147483718" r:id="rId38"/>
    <p:sldLayoutId id="2147483719" r:id="rId39"/>
    <p:sldLayoutId id="2147483720" r:id="rId40"/>
    <p:sldLayoutId id="2147483721" r:id="rId41"/>
    <p:sldLayoutId id="2147483722" r:id="rId42"/>
    <p:sldLayoutId id="2147483723" r:id="rId43"/>
    <p:sldLayoutId id="2147483724" r:id="rId44"/>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3408" tIns="89631" rIns="143408" bIns="89631"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3408" tIns="89631" rIns="143408" bIns="89631"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913828508"/>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Lst>
  <p:transition>
    <p:fade/>
  </p:transition>
  <p:txStyles>
    <p:titleStyle>
      <a:lvl1pPr algn="l" defTabSz="914281"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76"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51"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27"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02"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378"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272"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14"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5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9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1" rtl="0" eaLnBrk="1" latinLnBrk="0" hangingPunct="1">
        <a:defRPr sz="1800" kern="1200">
          <a:solidFill>
            <a:schemeClr val="tx1"/>
          </a:solidFill>
          <a:latin typeface="+mn-lt"/>
          <a:ea typeface="+mn-ea"/>
          <a:cs typeface="+mn-cs"/>
        </a:defRPr>
      </a:lvl1pPr>
      <a:lvl2pPr marL="457140" algn="l" defTabSz="914281" rtl="0" eaLnBrk="1" latinLnBrk="0" hangingPunct="1">
        <a:defRPr sz="1800" kern="1200">
          <a:solidFill>
            <a:schemeClr val="tx1"/>
          </a:solidFill>
          <a:latin typeface="+mn-lt"/>
          <a:ea typeface="+mn-ea"/>
          <a:cs typeface="+mn-cs"/>
        </a:defRPr>
      </a:lvl2pPr>
      <a:lvl3pPr marL="914281" algn="l" defTabSz="914281" rtl="0" eaLnBrk="1" latinLnBrk="0" hangingPunct="1">
        <a:defRPr sz="1800" kern="1200">
          <a:solidFill>
            <a:schemeClr val="tx1"/>
          </a:solidFill>
          <a:latin typeface="+mn-lt"/>
          <a:ea typeface="+mn-ea"/>
          <a:cs typeface="+mn-cs"/>
        </a:defRPr>
      </a:lvl3pPr>
      <a:lvl4pPr marL="1371421" algn="l" defTabSz="914281" rtl="0" eaLnBrk="1" latinLnBrk="0" hangingPunct="1">
        <a:defRPr sz="1800" kern="1200">
          <a:solidFill>
            <a:schemeClr val="tx1"/>
          </a:solidFill>
          <a:latin typeface="+mn-lt"/>
          <a:ea typeface="+mn-ea"/>
          <a:cs typeface="+mn-cs"/>
        </a:defRPr>
      </a:lvl4pPr>
      <a:lvl5pPr marL="1828562" algn="l" defTabSz="914281" rtl="0" eaLnBrk="1" latinLnBrk="0" hangingPunct="1">
        <a:defRPr sz="1800" kern="1200">
          <a:solidFill>
            <a:schemeClr val="tx1"/>
          </a:solidFill>
          <a:latin typeface="+mn-lt"/>
          <a:ea typeface="+mn-ea"/>
          <a:cs typeface="+mn-cs"/>
        </a:defRPr>
      </a:lvl5pPr>
      <a:lvl6pPr marL="2285703" algn="l" defTabSz="914281" rtl="0" eaLnBrk="1" latinLnBrk="0" hangingPunct="1">
        <a:defRPr sz="1800" kern="1200">
          <a:solidFill>
            <a:schemeClr val="tx1"/>
          </a:solidFill>
          <a:latin typeface="+mn-lt"/>
          <a:ea typeface="+mn-ea"/>
          <a:cs typeface="+mn-cs"/>
        </a:defRPr>
      </a:lvl6pPr>
      <a:lvl7pPr marL="2742843" algn="l" defTabSz="914281" rtl="0" eaLnBrk="1" latinLnBrk="0" hangingPunct="1">
        <a:defRPr sz="1800" kern="1200">
          <a:solidFill>
            <a:schemeClr val="tx1"/>
          </a:solidFill>
          <a:latin typeface="+mn-lt"/>
          <a:ea typeface="+mn-ea"/>
          <a:cs typeface="+mn-cs"/>
        </a:defRPr>
      </a:lvl7pPr>
      <a:lvl8pPr marL="3199983" algn="l" defTabSz="914281" rtl="0" eaLnBrk="1" latinLnBrk="0" hangingPunct="1">
        <a:defRPr sz="1800" kern="1200">
          <a:solidFill>
            <a:schemeClr val="tx1"/>
          </a:solidFill>
          <a:latin typeface="+mn-lt"/>
          <a:ea typeface="+mn-ea"/>
          <a:cs typeface="+mn-cs"/>
        </a:defRPr>
      </a:lvl8pPr>
      <a:lvl9pPr marL="3657125" algn="l" defTabSz="91428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3394" tIns="89623" rIns="143394" bIns="89623" rtlCol="0" anchor="t">
            <a:noAutofit/>
          </a:bodyPr>
          <a:lstStyle/>
          <a:p>
            <a:r>
              <a:rPr lang="en-US" dirty="0"/>
              <a:t>Click to edit Master title style</a:t>
            </a:r>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3394" tIns="89623" rIns="143394" bIns="8962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6699234"/>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1" r:id="rId4"/>
    <p:sldLayoutId id="2147483753" r:id="rId5"/>
    <p:sldLayoutId id="2147483754" r:id="rId6"/>
    <p:sldLayoutId id="2147483755" r:id="rId7"/>
    <p:sldLayoutId id="2147483756" r:id="rId8"/>
    <p:sldLayoutId id="2147483757" r:id="rId9"/>
  </p:sldLayoutIdLst>
  <p:transition>
    <p:fade/>
  </p:transition>
  <p:txStyles>
    <p:titleStyle>
      <a:lvl1pPr algn="l" defTabSz="914020"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7" marR="0" indent="-336017" algn="l" defTabSz="914020"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5" marR="0" indent="-236456" algn="l" defTabSz="914020"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40"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51"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63"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5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6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57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58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0" rtl="0" eaLnBrk="1" latinLnBrk="0" hangingPunct="1">
        <a:defRPr sz="1800" kern="1200">
          <a:solidFill>
            <a:schemeClr val="tx1"/>
          </a:solidFill>
          <a:latin typeface="+mn-lt"/>
          <a:ea typeface="+mn-ea"/>
          <a:cs typeface="+mn-cs"/>
        </a:defRPr>
      </a:lvl1pPr>
      <a:lvl2pPr marL="457009" algn="l" defTabSz="914020" rtl="0" eaLnBrk="1" latinLnBrk="0" hangingPunct="1">
        <a:defRPr sz="1800" kern="1200">
          <a:solidFill>
            <a:schemeClr val="tx1"/>
          </a:solidFill>
          <a:latin typeface="+mn-lt"/>
          <a:ea typeface="+mn-ea"/>
          <a:cs typeface="+mn-cs"/>
        </a:defRPr>
      </a:lvl2pPr>
      <a:lvl3pPr marL="914020" algn="l" defTabSz="914020" rtl="0" eaLnBrk="1" latinLnBrk="0" hangingPunct="1">
        <a:defRPr sz="1800" kern="1200">
          <a:solidFill>
            <a:schemeClr val="tx1"/>
          </a:solidFill>
          <a:latin typeface="+mn-lt"/>
          <a:ea typeface="+mn-ea"/>
          <a:cs typeface="+mn-cs"/>
        </a:defRPr>
      </a:lvl3pPr>
      <a:lvl4pPr marL="1371029" algn="l" defTabSz="914020" rtl="0" eaLnBrk="1" latinLnBrk="0" hangingPunct="1">
        <a:defRPr sz="1800" kern="1200">
          <a:solidFill>
            <a:schemeClr val="tx1"/>
          </a:solidFill>
          <a:latin typeface="+mn-lt"/>
          <a:ea typeface="+mn-ea"/>
          <a:cs typeface="+mn-cs"/>
        </a:defRPr>
      </a:lvl4pPr>
      <a:lvl5pPr marL="1828039" algn="l" defTabSz="914020" rtl="0" eaLnBrk="1" latinLnBrk="0" hangingPunct="1">
        <a:defRPr sz="1800" kern="1200">
          <a:solidFill>
            <a:schemeClr val="tx1"/>
          </a:solidFill>
          <a:latin typeface="+mn-lt"/>
          <a:ea typeface="+mn-ea"/>
          <a:cs typeface="+mn-cs"/>
        </a:defRPr>
      </a:lvl5pPr>
      <a:lvl6pPr marL="2285050" algn="l" defTabSz="914020" rtl="0" eaLnBrk="1" latinLnBrk="0" hangingPunct="1">
        <a:defRPr sz="1800" kern="1200">
          <a:solidFill>
            <a:schemeClr val="tx1"/>
          </a:solidFill>
          <a:latin typeface="+mn-lt"/>
          <a:ea typeface="+mn-ea"/>
          <a:cs typeface="+mn-cs"/>
        </a:defRPr>
      </a:lvl6pPr>
      <a:lvl7pPr marL="2742060" algn="l" defTabSz="914020" rtl="0" eaLnBrk="1" latinLnBrk="0" hangingPunct="1">
        <a:defRPr sz="1800" kern="1200">
          <a:solidFill>
            <a:schemeClr val="tx1"/>
          </a:solidFill>
          <a:latin typeface="+mn-lt"/>
          <a:ea typeface="+mn-ea"/>
          <a:cs typeface="+mn-cs"/>
        </a:defRPr>
      </a:lvl7pPr>
      <a:lvl8pPr marL="3199068" algn="l" defTabSz="914020" rtl="0" eaLnBrk="1" latinLnBrk="0" hangingPunct="1">
        <a:defRPr sz="1800" kern="1200">
          <a:solidFill>
            <a:schemeClr val="tx1"/>
          </a:solidFill>
          <a:latin typeface="+mn-lt"/>
          <a:ea typeface="+mn-ea"/>
          <a:cs typeface="+mn-cs"/>
        </a:defRPr>
      </a:lvl8pPr>
      <a:lvl9pPr marL="3656079" algn="l" defTabSz="91402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3422" tIns="89639" rIns="143422" bIns="8963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3422" tIns="89639" rIns="143422" bIns="89639"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886347209"/>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Lst>
  <p:transition>
    <p:fade/>
  </p:transition>
  <p:txStyles>
    <p:titleStyle>
      <a:lvl1pPr algn="l" defTabSz="914367"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7" rtl="0" eaLnBrk="1" latinLnBrk="0" hangingPunct="1">
        <a:defRPr sz="1800" kern="1200">
          <a:solidFill>
            <a:schemeClr val="tx1"/>
          </a:solidFill>
          <a:latin typeface="+mn-lt"/>
          <a:ea typeface="+mn-ea"/>
          <a:cs typeface="+mn-cs"/>
        </a:defRPr>
      </a:lvl1pPr>
      <a:lvl2pPr marL="457183" algn="l" defTabSz="914367" rtl="0" eaLnBrk="1" latinLnBrk="0" hangingPunct="1">
        <a:defRPr sz="1800" kern="1200">
          <a:solidFill>
            <a:schemeClr val="tx1"/>
          </a:solidFill>
          <a:latin typeface="+mn-lt"/>
          <a:ea typeface="+mn-ea"/>
          <a:cs typeface="+mn-cs"/>
        </a:defRPr>
      </a:lvl2pPr>
      <a:lvl3pPr marL="914367" algn="l" defTabSz="914367" rtl="0" eaLnBrk="1" latinLnBrk="0" hangingPunct="1">
        <a:defRPr sz="1800" kern="1200">
          <a:solidFill>
            <a:schemeClr val="tx1"/>
          </a:solidFill>
          <a:latin typeface="+mn-lt"/>
          <a:ea typeface="+mn-ea"/>
          <a:cs typeface="+mn-cs"/>
        </a:defRPr>
      </a:lvl3pPr>
      <a:lvl4pPr marL="1371550" algn="l" defTabSz="914367" rtl="0" eaLnBrk="1" latinLnBrk="0" hangingPunct="1">
        <a:defRPr sz="1800" kern="1200">
          <a:solidFill>
            <a:schemeClr val="tx1"/>
          </a:solidFill>
          <a:latin typeface="+mn-lt"/>
          <a:ea typeface="+mn-ea"/>
          <a:cs typeface="+mn-cs"/>
        </a:defRPr>
      </a:lvl4pPr>
      <a:lvl5pPr marL="1828734" algn="l" defTabSz="914367" rtl="0" eaLnBrk="1" latinLnBrk="0" hangingPunct="1">
        <a:defRPr sz="1800" kern="1200">
          <a:solidFill>
            <a:schemeClr val="tx1"/>
          </a:solidFill>
          <a:latin typeface="+mn-lt"/>
          <a:ea typeface="+mn-ea"/>
          <a:cs typeface="+mn-cs"/>
        </a:defRPr>
      </a:lvl5pPr>
      <a:lvl6pPr marL="2285918" algn="l" defTabSz="914367" rtl="0" eaLnBrk="1" latinLnBrk="0" hangingPunct="1">
        <a:defRPr sz="1800" kern="1200">
          <a:solidFill>
            <a:schemeClr val="tx1"/>
          </a:solidFill>
          <a:latin typeface="+mn-lt"/>
          <a:ea typeface="+mn-ea"/>
          <a:cs typeface="+mn-cs"/>
        </a:defRPr>
      </a:lvl6pPr>
      <a:lvl7pPr marL="2743101" algn="l" defTabSz="914367" rtl="0" eaLnBrk="1" latinLnBrk="0" hangingPunct="1">
        <a:defRPr sz="1800" kern="1200">
          <a:solidFill>
            <a:schemeClr val="tx1"/>
          </a:solidFill>
          <a:latin typeface="+mn-lt"/>
          <a:ea typeface="+mn-ea"/>
          <a:cs typeface="+mn-cs"/>
        </a:defRPr>
      </a:lvl7pPr>
      <a:lvl8pPr marL="3200284" algn="l" defTabSz="914367" rtl="0" eaLnBrk="1" latinLnBrk="0" hangingPunct="1">
        <a:defRPr sz="1800" kern="1200">
          <a:solidFill>
            <a:schemeClr val="tx1"/>
          </a:solidFill>
          <a:latin typeface="+mn-lt"/>
          <a:ea typeface="+mn-ea"/>
          <a:cs typeface="+mn-cs"/>
        </a:defRPr>
      </a:lvl8pPr>
      <a:lvl9pPr marL="3657469" algn="l" defTabSz="9143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3408" tIns="89631" rIns="143408" bIns="89631"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3408" tIns="89631" rIns="143408" bIns="89631"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585593"/>
      </p:ext>
    </p:extLst>
  </p:cSld>
  <p:clrMap bg1="dk1" tx1="lt1" bg2="dk2" tx2="lt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Lst>
  <p:transition>
    <p:fade/>
  </p:transition>
  <p:txStyles>
    <p:titleStyle>
      <a:lvl1pPr algn="l" defTabSz="914106"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9" marR="0" indent="-336049" algn="l" defTabSz="914106"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28" marR="0" indent="-236478" algn="l" defTabSz="914106"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14"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146"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178"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790"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3"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96"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49"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6" rtl="0" eaLnBrk="1" latinLnBrk="0" hangingPunct="1">
        <a:defRPr sz="1800" kern="1200">
          <a:solidFill>
            <a:schemeClr val="tx1"/>
          </a:solidFill>
          <a:latin typeface="+mn-lt"/>
          <a:ea typeface="+mn-ea"/>
          <a:cs typeface="+mn-cs"/>
        </a:defRPr>
      </a:lvl1pPr>
      <a:lvl2pPr marL="457052" algn="l" defTabSz="914106" rtl="0" eaLnBrk="1" latinLnBrk="0" hangingPunct="1">
        <a:defRPr sz="1800" kern="1200">
          <a:solidFill>
            <a:schemeClr val="tx1"/>
          </a:solidFill>
          <a:latin typeface="+mn-lt"/>
          <a:ea typeface="+mn-ea"/>
          <a:cs typeface="+mn-cs"/>
        </a:defRPr>
      </a:lvl2pPr>
      <a:lvl3pPr marL="914106" algn="l" defTabSz="914106" rtl="0" eaLnBrk="1" latinLnBrk="0" hangingPunct="1">
        <a:defRPr sz="1800" kern="1200">
          <a:solidFill>
            <a:schemeClr val="tx1"/>
          </a:solidFill>
          <a:latin typeface="+mn-lt"/>
          <a:ea typeface="+mn-ea"/>
          <a:cs typeface="+mn-cs"/>
        </a:defRPr>
      </a:lvl3pPr>
      <a:lvl4pPr marL="1371158" algn="l" defTabSz="914106" rtl="0" eaLnBrk="1" latinLnBrk="0" hangingPunct="1">
        <a:defRPr sz="1800" kern="1200">
          <a:solidFill>
            <a:schemeClr val="tx1"/>
          </a:solidFill>
          <a:latin typeface="+mn-lt"/>
          <a:ea typeface="+mn-ea"/>
          <a:cs typeface="+mn-cs"/>
        </a:defRPr>
      </a:lvl4pPr>
      <a:lvl5pPr marL="1828211" algn="l" defTabSz="914106" rtl="0" eaLnBrk="1" latinLnBrk="0" hangingPunct="1">
        <a:defRPr sz="1800" kern="1200">
          <a:solidFill>
            <a:schemeClr val="tx1"/>
          </a:solidFill>
          <a:latin typeface="+mn-lt"/>
          <a:ea typeface="+mn-ea"/>
          <a:cs typeface="+mn-cs"/>
        </a:defRPr>
      </a:lvl5pPr>
      <a:lvl6pPr marL="2285265" algn="l" defTabSz="914106" rtl="0" eaLnBrk="1" latinLnBrk="0" hangingPunct="1">
        <a:defRPr sz="1800" kern="1200">
          <a:solidFill>
            <a:schemeClr val="tx1"/>
          </a:solidFill>
          <a:latin typeface="+mn-lt"/>
          <a:ea typeface="+mn-ea"/>
          <a:cs typeface="+mn-cs"/>
        </a:defRPr>
      </a:lvl6pPr>
      <a:lvl7pPr marL="2742318" algn="l" defTabSz="914106" rtl="0" eaLnBrk="1" latinLnBrk="0" hangingPunct="1">
        <a:defRPr sz="1800" kern="1200">
          <a:solidFill>
            <a:schemeClr val="tx1"/>
          </a:solidFill>
          <a:latin typeface="+mn-lt"/>
          <a:ea typeface="+mn-ea"/>
          <a:cs typeface="+mn-cs"/>
        </a:defRPr>
      </a:lvl7pPr>
      <a:lvl8pPr marL="3199369" algn="l" defTabSz="914106" rtl="0" eaLnBrk="1" latinLnBrk="0" hangingPunct="1">
        <a:defRPr sz="1800" kern="1200">
          <a:solidFill>
            <a:schemeClr val="tx1"/>
          </a:solidFill>
          <a:latin typeface="+mn-lt"/>
          <a:ea typeface="+mn-ea"/>
          <a:cs typeface="+mn-cs"/>
        </a:defRPr>
      </a:lvl8pPr>
      <a:lvl9pPr marL="3656423" algn="l" defTabSz="914106"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Blu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7965">
                          <a:srgbClr val="000000"/>
                        </a:gs>
                        <a:gs pos="28319">
                          <a:srgbClr val="000000"/>
                        </a:gs>
                      </a:gsLst>
                      <a:lin ang="5400000" scaled="0"/>
                    </a:gradFill>
                    <a:ea typeface="Segoe UI" pitchFamily="34" charset="0"/>
                    <a:cs typeface="Segoe UI" pitchFamily="34" charset="0"/>
                  </a:rPr>
                  <a:t>Cyan</a:t>
                </a:r>
              </a:p>
              <a:p>
                <a:pPr defTabSz="914102" fontAlgn="base">
                  <a:spcBef>
                    <a:spcPct val="0"/>
                  </a:spcBef>
                  <a:spcAft>
                    <a:spcPct val="0"/>
                  </a:spcAft>
                  <a:defRPr/>
                </a:pPr>
                <a:r>
                  <a:rPr lang="en-US" sz="49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92035">
                          <a:srgbClr val="505050"/>
                        </a:gs>
                        <a:gs pos="27000">
                          <a:srgbClr val="505050"/>
                        </a:gs>
                      </a:gsLst>
                      <a:lin ang="5400000" scaled="0"/>
                    </a:gradFill>
                    <a:ea typeface="Segoe UI" pitchFamily="34" charset="0"/>
                    <a:cs typeface="Segoe UI" pitchFamily="34" charset="0"/>
                  </a:rPr>
                  <a:t>Light Gray</a:t>
                </a:r>
              </a:p>
              <a:p>
                <a:pPr defTabSz="914102" fontAlgn="base">
                  <a:spcBef>
                    <a:spcPct val="0"/>
                  </a:spcBef>
                  <a:spcAft>
                    <a:spcPct val="0"/>
                  </a:spcAft>
                  <a:defRPr/>
                </a:pPr>
                <a:r>
                  <a:rPr lang="en-US" sz="49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Blue</a:t>
                </a:r>
              </a:p>
              <a:p>
                <a:pPr defTabSz="914102" fontAlgn="base">
                  <a:spcBef>
                    <a:spcPct val="0"/>
                  </a:spcBef>
                  <a:spcAft>
                    <a:spcPct val="0"/>
                  </a:spcAft>
                  <a:defRPr/>
                </a:pPr>
                <a:r>
                  <a:rPr lang="en-US" sz="490">
                    <a:gradFill>
                      <a:gsLst>
                        <a:gs pos="0">
                          <a:srgbClr val="FFFFFF"/>
                        </a:gs>
                        <a:gs pos="100000">
                          <a:srgbClr val="FFFFFF"/>
                        </a:gs>
                      </a:gsLst>
                      <a:lin ang="5400000" scaled="0"/>
                    </a:gradFill>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Purpl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Orang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een</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6 G:124 B:16</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Secondary colors (use only when necessary)</a:t>
              </a:r>
            </a:p>
          </p:txBody>
        </p:sp>
      </p:grpSp>
    </p:spTree>
    <p:extLst>
      <p:ext uri="{BB962C8B-B14F-4D97-AF65-F5344CB8AC3E}">
        <p14:creationId xmlns:p14="http://schemas.microsoft.com/office/powerpoint/2010/main" val="570733488"/>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5" y="289517"/>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1027" name="Text Placeholder 3"/>
          <p:cNvSpPr>
            <a:spLocks noGrp="1"/>
          </p:cNvSpPr>
          <p:nvPr>
            <p:ph type="body" idx="1"/>
          </p:nvPr>
        </p:nvSpPr>
        <p:spPr bwMode="auto">
          <a:xfrm>
            <a:off x="269243" y="1189182"/>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3" y="6437746"/>
            <a:ext cx="3859607" cy="133860"/>
          </a:xfrm>
          <a:prstGeom prst="rect">
            <a:avLst/>
          </a:prstGeom>
        </p:spPr>
        <p:txBody>
          <a:bodyPr vert="horz" lIns="0" tIns="0" rIns="91440" bIns="0" rtlCol="0" anchor="ctr"/>
          <a:lstStyle>
            <a:lvl1pPr marL="0" algn="l" defTabSz="914016"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9" y="6437746"/>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3154" fontAlgn="base">
              <a:spcBef>
                <a:spcPct val="0"/>
              </a:spcBef>
              <a:spcAft>
                <a:spcPct val="0"/>
              </a:spcAft>
            </a:pPr>
            <a:fld id="{83758903-653A-7442-ACA2-36E6579F0BEB}" type="slidenum">
              <a:rPr lang="en-US" smtClean="0">
                <a:ea typeface="ＭＳ Ｐゴシック" charset="0"/>
              </a:rPr>
              <a:pPr defTabSz="913154" fontAlgn="base">
                <a:spcBef>
                  <a:spcPct val="0"/>
                </a:spcBef>
                <a:spcAft>
                  <a:spcPct val="0"/>
                </a:spcAft>
              </a:pPr>
              <a:t>‹#›</a:t>
            </a:fld>
            <a:endParaRPr lang="en-US">
              <a:ea typeface="ＭＳ Ｐゴシック" charset="0"/>
            </a:endParaRPr>
          </a:p>
        </p:txBody>
      </p:sp>
    </p:spTree>
    <p:extLst>
      <p:ext uri="{BB962C8B-B14F-4D97-AF65-F5344CB8AC3E}">
        <p14:creationId xmlns:p14="http://schemas.microsoft.com/office/powerpoint/2010/main" val="1666944337"/>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Lst>
  <p:transition>
    <p:fade/>
  </p:transition>
  <p:txStyles>
    <p:titleStyle>
      <a:lvl1pPr algn="l" defTabSz="913154" rtl="0" eaLnBrk="0" fontAlgn="base" hangingPunct="0">
        <a:lnSpc>
          <a:spcPct val="90000"/>
        </a:lnSpc>
        <a:spcBef>
          <a:spcPct val="0"/>
        </a:spcBef>
        <a:spcAft>
          <a:spcPct val="0"/>
        </a:spcAft>
        <a:defRPr lang="en-US" sz="5292" kern="1200" spc="-100" dirty="0">
          <a:ln w="3175">
            <a:noFill/>
          </a:ln>
          <a:solidFill>
            <a:schemeClr val="tx2"/>
          </a:solidFill>
          <a:latin typeface="+mj-lt"/>
          <a:ea typeface="ＭＳ Ｐゴシック" charset="0"/>
          <a:cs typeface="Segoe UI" pitchFamily="34" charset="0"/>
        </a:defRPr>
      </a:lvl1pPr>
      <a:lvl2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20"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042"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062"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084"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p:titleStyle>
    <p:bodyStyle>
      <a:lvl1pPr marL="336016" indent="-336016" algn="l" defTabSz="913154" rtl="0" eaLnBrk="0" fontAlgn="base" hangingPunct="0">
        <a:lnSpc>
          <a:spcPct val="90000"/>
        </a:lnSpc>
        <a:spcBef>
          <a:spcPct val="20000"/>
        </a:spcBef>
        <a:spcAft>
          <a:spcPct val="0"/>
        </a:spcAft>
        <a:buSzPct val="90000"/>
        <a:buFont typeface="Arial" charset="0"/>
        <a:buChar char="•"/>
        <a:defRPr sz="3919" kern="1200">
          <a:solidFill>
            <a:schemeClr val="tx2"/>
          </a:solidFill>
          <a:latin typeface="+mj-lt"/>
          <a:ea typeface="ＭＳ Ｐゴシック" charset="0"/>
          <a:cs typeface="ＭＳ Ｐゴシック" charset="0"/>
        </a:defRPr>
      </a:lvl1pPr>
      <a:lvl2pPr marL="572472" indent="-236455" algn="l" defTabSz="913154" rtl="0" eaLnBrk="0" fontAlgn="base" hangingPunct="0">
        <a:lnSpc>
          <a:spcPct val="90000"/>
        </a:lnSpc>
        <a:spcBef>
          <a:spcPct val="20000"/>
        </a:spcBef>
        <a:spcAft>
          <a:spcPct val="0"/>
        </a:spcAft>
        <a:buSzPct val="90000"/>
        <a:buFont typeface="Arial" charset="0"/>
        <a:buChar char="•"/>
        <a:defRPr sz="2352" kern="1200">
          <a:solidFill>
            <a:schemeClr val="tx2"/>
          </a:solidFill>
          <a:latin typeface="+mn-lt"/>
          <a:ea typeface="ＭＳ Ｐゴシック" charset="0"/>
          <a:cs typeface="+mn-cs"/>
        </a:defRPr>
      </a:lvl2pPr>
      <a:lvl3pPr marL="784037" indent="-224012" algn="l" defTabSz="913154" rtl="0" eaLnBrk="0" fontAlgn="base" hangingPunct="0">
        <a:lnSpc>
          <a:spcPct val="90000"/>
        </a:lnSpc>
        <a:spcBef>
          <a:spcPct val="20000"/>
        </a:spcBef>
        <a:spcAft>
          <a:spcPct val="0"/>
        </a:spcAft>
        <a:buSzPct val="90000"/>
        <a:buFont typeface="Arial" charset="0"/>
        <a:buChar char="•"/>
        <a:defRPr sz="1960" kern="1200">
          <a:solidFill>
            <a:schemeClr val="tx2"/>
          </a:solidFill>
          <a:latin typeface="+mn-lt"/>
          <a:ea typeface="ＭＳ Ｐゴシック" charset="0"/>
          <a:cs typeface="+mn-cs"/>
        </a:defRPr>
      </a:lvl3pPr>
      <a:lvl4pPr marL="1008048" indent="-224012" algn="l" defTabSz="91315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057" indent="-224012" algn="l" defTabSz="91315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3543"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60"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70"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16" rtl="0" eaLnBrk="1" latinLnBrk="0" hangingPunct="1">
        <a:defRPr sz="1764" kern="1200">
          <a:solidFill>
            <a:schemeClr val="tx1"/>
          </a:solidFill>
          <a:latin typeface="+mn-lt"/>
          <a:ea typeface="+mn-ea"/>
          <a:cs typeface="+mn-cs"/>
        </a:defRPr>
      </a:lvl1pPr>
      <a:lvl2pPr marL="457008" algn="l" defTabSz="914016" rtl="0" eaLnBrk="1" latinLnBrk="0" hangingPunct="1">
        <a:defRPr sz="1764" kern="1200">
          <a:solidFill>
            <a:schemeClr val="tx1"/>
          </a:solidFill>
          <a:latin typeface="+mn-lt"/>
          <a:ea typeface="+mn-ea"/>
          <a:cs typeface="+mn-cs"/>
        </a:defRPr>
      </a:lvl2pPr>
      <a:lvl3pPr marL="914016" algn="l" defTabSz="914016" rtl="0" eaLnBrk="1" latinLnBrk="0" hangingPunct="1">
        <a:defRPr sz="1764" kern="1200">
          <a:solidFill>
            <a:schemeClr val="tx1"/>
          </a:solidFill>
          <a:latin typeface="+mn-lt"/>
          <a:ea typeface="+mn-ea"/>
          <a:cs typeface="+mn-cs"/>
        </a:defRPr>
      </a:lvl3pPr>
      <a:lvl4pPr marL="1371024" algn="l" defTabSz="914016" rtl="0" eaLnBrk="1" latinLnBrk="0" hangingPunct="1">
        <a:defRPr sz="1764" kern="1200">
          <a:solidFill>
            <a:schemeClr val="tx1"/>
          </a:solidFill>
          <a:latin typeface="+mn-lt"/>
          <a:ea typeface="+mn-ea"/>
          <a:cs typeface="+mn-cs"/>
        </a:defRPr>
      </a:lvl4pPr>
      <a:lvl5pPr marL="1828032" algn="l" defTabSz="914016" rtl="0" eaLnBrk="1" latinLnBrk="0" hangingPunct="1">
        <a:defRPr sz="1764" kern="1200">
          <a:solidFill>
            <a:schemeClr val="tx1"/>
          </a:solidFill>
          <a:latin typeface="+mn-lt"/>
          <a:ea typeface="+mn-ea"/>
          <a:cs typeface="+mn-cs"/>
        </a:defRPr>
      </a:lvl5pPr>
      <a:lvl6pPr marL="2285040" algn="l" defTabSz="914016" rtl="0" eaLnBrk="1" latinLnBrk="0" hangingPunct="1">
        <a:defRPr sz="1764" kern="1200">
          <a:solidFill>
            <a:schemeClr val="tx1"/>
          </a:solidFill>
          <a:latin typeface="+mn-lt"/>
          <a:ea typeface="+mn-ea"/>
          <a:cs typeface="+mn-cs"/>
        </a:defRPr>
      </a:lvl6pPr>
      <a:lvl7pPr marL="2742047" algn="l" defTabSz="914016" rtl="0" eaLnBrk="1" latinLnBrk="0" hangingPunct="1">
        <a:defRPr sz="1764" kern="1200">
          <a:solidFill>
            <a:schemeClr val="tx1"/>
          </a:solidFill>
          <a:latin typeface="+mn-lt"/>
          <a:ea typeface="+mn-ea"/>
          <a:cs typeface="+mn-cs"/>
        </a:defRPr>
      </a:lvl7pPr>
      <a:lvl8pPr marL="3199055" algn="l" defTabSz="914016" rtl="0" eaLnBrk="1" latinLnBrk="0" hangingPunct="1">
        <a:defRPr sz="1764" kern="1200">
          <a:solidFill>
            <a:schemeClr val="tx1"/>
          </a:solidFill>
          <a:latin typeface="+mn-lt"/>
          <a:ea typeface="+mn-ea"/>
          <a:cs typeface="+mn-cs"/>
        </a:defRPr>
      </a:lvl8pPr>
      <a:lvl9pPr marL="3656065" algn="l" defTabSz="914016"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xml"/><Relationship Id="rId1" Type="http://schemas.openxmlformats.org/officeDocument/2006/relationships/slideLayout" Target="../slideLayouts/slideLayout471.xml"/><Relationship Id="rId4" Type="http://schemas.openxmlformats.org/officeDocument/2006/relationships/image" Target="../media/image60.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4.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94.xml"/></Relationships>
</file>

<file path=ppt/slides/_rels/slide101.xml.rels><?xml version="1.0" encoding="UTF-8" standalone="yes"?>
<Relationships xmlns="http://schemas.openxmlformats.org/package/2006/relationships"><Relationship Id="rId3" Type="http://schemas.openxmlformats.org/officeDocument/2006/relationships/image" Target="../media/image143.emf"/><Relationship Id="rId2" Type="http://schemas.openxmlformats.org/officeDocument/2006/relationships/notesSlide" Target="../notesSlides/notesSlide90.xml"/><Relationship Id="rId1" Type="http://schemas.openxmlformats.org/officeDocument/2006/relationships/slideLayout" Target="../slideLayouts/slideLayout294.xml"/></Relationships>
</file>

<file path=ppt/slides/_rels/slide10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91.xml"/><Relationship Id="rId1" Type="http://schemas.openxmlformats.org/officeDocument/2006/relationships/slideLayout" Target="../slideLayouts/slideLayout133.xml"/><Relationship Id="rId5" Type="http://schemas.openxmlformats.org/officeDocument/2006/relationships/image" Target="../media/image111.emf"/><Relationship Id="rId4" Type="http://schemas.openxmlformats.org/officeDocument/2006/relationships/image" Target="../media/image144.png"/></Relationships>
</file>

<file path=ppt/slides/_rels/slide103.xml.rels><?xml version="1.0" encoding="UTF-8" standalone="yes"?>
<Relationships xmlns="http://schemas.openxmlformats.org/package/2006/relationships"><Relationship Id="rId8" Type="http://schemas.openxmlformats.org/officeDocument/2006/relationships/image" Target="../media/image150.png"/><Relationship Id="rId3" Type="http://schemas.openxmlformats.org/officeDocument/2006/relationships/image" Target="../media/image145.png"/><Relationship Id="rId7" Type="http://schemas.openxmlformats.org/officeDocument/2006/relationships/image" Target="../media/image149.png"/><Relationship Id="rId12" Type="http://schemas.openxmlformats.org/officeDocument/2006/relationships/image" Target="../media/image153.emf"/><Relationship Id="rId2" Type="http://schemas.openxmlformats.org/officeDocument/2006/relationships/notesSlide" Target="../notesSlides/notesSlide92.xml"/><Relationship Id="rId1" Type="http://schemas.openxmlformats.org/officeDocument/2006/relationships/slideLayout" Target="../slideLayouts/slideLayout113.xml"/><Relationship Id="rId6" Type="http://schemas.openxmlformats.org/officeDocument/2006/relationships/image" Target="../media/image148.png"/><Relationship Id="rId11" Type="http://schemas.openxmlformats.org/officeDocument/2006/relationships/image" Target="../media/image140.emf"/><Relationship Id="rId5" Type="http://schemas.openxmlformats.org/officeDocument/2006/relationships/image" Target="../media/image147.png"/><Relationship Id="rId10" Type="http://schemas.openxmlformats.org/officeDocument/2006/relationships/image" Target="../media/image152.png"/><Relationship Id="rId4" Type="http://schemas.openxmlformats.org/officeDocument/2006/relationships/image" Target="../media/image146.png"/><Relationship Id="rId9" Type="http://schemas.openxmlformats.org/officeDocument/2006/relationships/image" Target="../media/image151.png"/></Relationships>
</file>

<file path=ppt/slides/_rels/slide104.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93.xml"/><Relationship Id="rId1" Type="http://schemas.openxmlformats.org/officeDocument/2006/relationships/slideLayout" Target="../slideLayouts/slideLayout310.xml"/></Relationships>
</file>

<file path=ppt/slides/_rels/slide105.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94.xml"/><Relationship Id="rId1" Type="http://schemas.openxmlformats.org/officeDocument/2006/relationships/slideLayout" Target="../slideLayouts/slideLayout176.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103.xml"/></Relationships>
</file>

<file path=ppt/slides/_rels/slide107.xml.rels><?xml version="1.0" encoding="UTF-8" standalone="yes"?>
<Relationships xmlns="http://schemas.openxmlformats.org/package/2006/relationships"><Relationship Id="rId3" Type="http://schemas.openxmlformats.org/officeDocument/2006/relationships/image" Target="../media/image155.jpg"/><Relationship Id="rId2" Type="http://schemas.openxmlformats.org/officeDocument/2006/relationships/notesSlide" Target="../notesSlides/notesSlide96.xml"/><Relationship Id="rId1" Type="http://schemas.openxmlformats.org/officeDocument/2006/relationships/slideLayout" Target="../slideLayouts/slideLayout425.xml"/><Relationship Id="rId4" Type="http://schemas.openxmlformats.org/officeDocument/2006/relationships/hyperlink" Target="mailto:Dave.Burnison@Microsoft.com" TargetMode="External"/></Relationships>
</file>

<file path=ppt/slides/_rels/slide108.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97.xml"/><Relationship Id="rId1" Type="http://schemas.openxmlformats.org/officeDocument/2006/relationships/slideLayout" Target="../slideLayouts/slideLayout426.xml"/><Relationship Id="rId4" Type="http://schemas.openxmlformats.org/officeDocument/2006/relationships/image" Target="../media/image157.wmf"/></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hyperlink" Target="https://www.microsoft.com/en-us/learning/exam-70-535.aspx" TargetMode="External"/><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10.xml.rels><?xml version="1.0" encoding="UTF-8" standalone="yes"?>
<Relationships xmlns="http://schemas.openxmlformats.org/package/2006/relationships"><Relationship Id="rId8" Type="http://schemas.openxmlformats.org/officeDocument/2006/relationships/hyperlink" Target="https://github.com/coreos/coreos-overlay/tree/master/app-emulation/wa-linux-agent" TargetMode="External"/><Relationship Id="rId3" Type="http://schemas.openxmlformats.org/officeDocument/2006/relationships/hyperlink" Target="https://support.microsoft.com/en-us/help/3206074" TargetMode="External"/><Relationship Id="rId7" Type="http://schemas.openxmlformats.org/officeDocument/2006/relationships/hyperlink" Target="https://coreos.com/docs/running-coreos/cloud-providers/azure/" TargetMode="External"/><Relationship Id="rId2" Type="http://schemas.openxmlformats.org/officeDocument/2006/relationships/notesSlide" Target="../notesSlides/notesSlide99.xml"/><Relationship Id="rId1" Type="http://schemas.openxmlformats.org/officeDocument/2006/relationships/slideLayout" Target="../slideLayouts/slideLayout6.xml"/><Relationship Id="rId6" Type="http://schemas.openxmlformats.org/officeDocument/2006/relationships/hyperlink" Target="https://github.com/Azure/WALinuxAgent" TargetMode="External"/><Relationship Id="rId5" Type="http://schemas.openxmlformats.org/officeDocument/2006/relationships/hyperlink" Target="http://olcentgbl.trafficmanager.net/openlogic/6/openlogic/x86_64/RPMS/" TargetMode="External"/><Relationship Id="rId10" Type="http://schemas.openxmlformats.org/officeDocument/2006/relationships/hyperlink" Target="https://build.opensuse.org/project/show/Cloud:Tools" TargetMode="External"/><Relationship Id="rId4" Type="http://schemas.openxmlformats.org/officeDocument/2006/relationships/hyperlink" Target="http://go.microsoft.com/fwlink/?LinkID=403033&amp;clcid=0x409" TargetMode="External"/><Relationship Id="rId9" Type="http://schemas.openxmlformats.org/officeDocument/2006/relationships/hyperlink" Target="http://go.microsoft.com/fwlink/p/?LinkID=250998" TargetMode="Externa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6.xml"/></Relationships>
</file>

<file path=ppt/slides/_rels/slide112.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6.xml"/><Relationship Id="rId1" Type="http://schemas.openxmlformats.org/officeDocument/2006/relationships/themeOverride" Target="../theme/themeOverride2.xml"/><Relationship Id="rId5" Type="http://schemas.openxmlformats.org/officeDocument/2006/relationships/image" Target="../media/image159.png"/><Relationship Id="rId4" Type="http://schemas.openxmlformats.org/officeDocument/2006/relationships/image" Target="../media/image158.png"/></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6.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6.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5.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10.xml"/></Relationships>
</file>

<file path=ppt/slides/_rels/slide118.xml.rels><?xml version="1.0" encoding="UTF-8" standalone="yes"?>
<Relationships xmlns="http://schemas.openxmlformats.org/package/2006/relationships"><Relationship Id="rId3" Type="http://schemas.openxmlformats.org/officeDocument/2006/relationships/image" Target="../media/image86.emf"/><Relationship Id="rId2" Type="http://schemas.openxmlformats.org/officeDocument/2006/relationships/notesSlide" Target="../notesSlides/notesSlide107.xml"/><Relationship Id="rId1" Type="http://schemas.openxmlformats.org/officeDocument/2006/relationships/slideLayout" Target="../slideLayouts/slideLayout10.xml"/></Relationships>
</file>

<file path=ppt/slides/_rels/slide119.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108.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6.xml"/><Relationship Id="rId1" Type="http://schemas.openxmlformats.org/officeDocument/2006/relationships/slideLayout" Target="../slideLayouts/slideLayout176.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120.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09.xml"/><Relationship Id="rId1" Type="http://schemas.openxmlformats.org/officeDocument/2006/relationships/slideLayout" Target="../slideLayouts/slideLayout6.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6.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6.xml"/></Relationships>
</file>

<file path=ppt/slides/_rels/slide123.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12.xml"/><Relationship Id="rId1" Type="http://schemas.openxmlformats.org/officeDocument/2006/relationships/slideLayout" Target="../slideLayouts/slideLayout6.xml"/></Relationships>
</file>

<file path=ppt/slides/_rels/slide124.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template-best-practices#resource-names" TargetMode="External"/><Relationship Id="rId2" Type="http://schemas.openxmlformats.org/officeDocument/2006/relationships/notesSlide" Target="../notesSlides/notesSlide113.xml"/><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14.xml"/><Relationship Id="rId1" Type="http://schemas.openxmlformats.org/officeDocument/2006/relationships/slideLayout" Target="../slideLayouts/slideLayout6.xml"/><Relationship Id="rId4" Type="http://schemas.openxmlformats.org/officeDocument/2006/relationships/image" Target="../media/image164.png"/></Relationships>
</file>

<file path=ppt/slides/_rels/slide126.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template-functions" TargetMode="External"/><Relationship Id="rId2" Type="http://schemas.openxmlformats.org/officeDocument/2006/relationships/notesSlide" Target="../notesSlides/notesSlide115.xml"/><Relationship Id="rId1" Type="http://schemas.openxmlformats.org/officeDocument/2006/relationships/slideLayout" Target="../slideLayouts/slideLayout6.xml"/><Relationship Id="rId4" Type="http://schemas.openxmlformats.org/officeDocument/2006/relationships/image" Target="../media/image165.png"/></Relationships>
</file>

<file path=ppt/slides/_rels/slide127.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16.xml"/><Relationship Id="rId1" Type="http://schemas.openxmlformats.org/officeDocument/2006/relationships/slideLayout" Target="../slideLayouts/slideLayout6.xml"/><Relationship Id="rId4" Type="http://schemas.openxmlformats.org/officeDocument/2006/relationships/image" Target="../media/image167.png"/></Relationships>
</file>

<file path=ppt/slides/_rels/slide128.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update" TargetMode="External"/><Relationship Id="rId2" Type="http://schemas.openxmlformats.org/officeDocument/2006/relationships/notesSlide" Target="../notesSlides/notesSlide117.xml"/><Relationship Id="rId1" Type="http://schemas.openxmlformats.org/officeDocument/2006/relationships/slideLayout" Target="../slideLayouts/slideLayout6.xml"/><Relationship Id="rId5" Type="http://schemas.openxmlformats.org/officeDocument/2006/relationships/hyperlink" Target="https://docs.microsoft.com/en-us/azure/azure-resource-manager/best-practices-resource-manager-design-templates" TargetMode="External"/><Relationship Id="rId4" Type="http://schemas.openxmlformats.org/officeDocument/2006/relationships/hyperlink" Target="https://docs.microsoft.com/en-us/azure/azure-resource-manager/best-practices-resource-manager-state" TargetMode="Externa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hyperlink" Target="https://docs.microsoft.com/en-us/azure/#pivot=products&amp;panel=Compute" TargetMode="External"/><Relationship Id="rId2" Type="http://schemas.openxmlformats.org/officeDocument/2006/relationships/image" Target="../media/image73.png"/><Relationship Id="rId1" Type="http://schemas.openxmlformats.org/officeDocument/2006/relationships/slideLayout" Target="../slideLayouts/slideLayout6.xml"/></Relationships>
</file>

<file path=ppt/slides/_rels/slide130.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19.xml"/><Relationship Id="rId1" Type="http://schemas.openxmlformats.org/officeDocument/2006/relationships/slideLayout" Target="../slideLayouts/slideLayout6.xml"/><Relationship Id="rId4" Type="http://schemas.openxmlformats.org/officeDocument/2006/relationships/image" Target="../media/image169.png"/></Relationships>
</file>

<file path=ppt/slides/_rels/slide131.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20.xml"/><Relationship Id="rId1" Type="http://schemas.openxmlformats.org/officeDocument/2006/relationships/slideLayout" Target="../slideLayouts/slideLayout6.xml"/></Relationships>
</file>

<file path=ppt/slides/_rels/slide132.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21.xml"/><Relationship Id="rId1" Type="http://schemas.openxmlformats.org/officeDocument/2006/relationships/slideLayout" Target="../slideLayouts/slideLayout6.xml"/><Relationship Id="rId5" Type="http://schemas.openxmlformats.org/officeDocument/2006/relationships/image" Target="../media/image173.png"/><Relationship Id="rId4" Type="http://schemas.openxmlformats.org/officeDocument/2006/relationships/image" Target="../media/image172.png"/></Relationships>
</file>

<file path=ppt/slides/_rels/slide133.xml.rels><?xml version="1.0" encoding="UTF-8" standalone="yes"?>
<Relationships xmlns="http://schemas.openxmlformats.org/package/2006/relationships"><Relationship Id="rId3" Type="http://schemas.openxmlformats.org/officeDocument/2006/relationships/image" Target="../media/image174.emf"/><Relationship Id="rId2" Type="http://schemas.openxmlformats.org/officeDocument/2006/relationships/notesSlide" Target="../notesSlides/notesSlide122.xml"/><Relationship Id="rId1" Type="http://schemas.openxmlformats.org/officeDocument/2006/relationships/slideLayout" Target="../slideLayouts/slideLayout6.xml"/></Relationships>
</file>

<file path=ppt/slides/_rels/slide134.xml.rels><?xml version="1.0" encoding="UTF-8" standalone="yes"?>
<Relationships xmlns="http://schemas.openxmlformats.org/package/2006/relationships"><Relationship Id="rId8" Type="http://schemas.openxmlformats.org/officeDocument/2006/relationships/hyperlink" Target="https://docs.microsoft.com/en-us/azure/azure-resource-manager/resource-group-template-deploy-portal" TargetMode="External"/><Relationship Id="rId3" Type="http://schemas.openxmlformats.org/officeDocument/2006/relationships/hyperlink" Target="https://docs.microsoft.com/en-us/azure/azure-resource-manager/resource-group-template-deploy-portal#create-resource-group" TargetMode="External"/><Relationship Id="rId7" Type="http://schemas.openxmlformats.org/officeDocument/2006/relationships/hyperlink" Target="https://docs.microsoft.com/en-us/azure/azure-resource-manager/resource-group-template-deploy-portal#next-steps" TargetMode="External"/><Relationship Id="rId2" Type="http://schemas.openxmlformats.org/officeDocument/2006/relationships/notesSlide" Target="../notesSlides/notesSlide123.xml"/><Relationship Id="rId1" Type="http://schemas.openxmlformats.org/officeDocument/2006/relationships/slideLayout" Target="../slideLayouts/slideLayout1.xml"/><Relationship Id="rId6" Type="http://schemas.openxmlformats.org/officeDocument/2006/relationships/hyperlink" Target="https://docs.microsoft.com/en-us/azure/azure-resource-manager/resource-group-template-deploy-portal#deploy-resources-from-a-template-saved-to-your-account" TargetMode="External"/><Relationship Id="rId5" Type="http://schemas.openxmlformats.org/officeDocument/2006/relationships/hyperlink" Target="https://docs.microsoft.com/en-us/azure/azure-resource-manager/resource-group-template-deploy-portal#deploy-resources-from-custom-template" TargetMode="External"/><Relationship Id="rId4" Type="http://schemas.openxmlformats.org/officeDocument/2006/relationships/hyperlink" Target="https://docs.microsoft.com/en-us/azure/azure-resource-manager/resource-group-template-deploy-portal#deploy-resources-from-marketplace" TargetMode="External"/></Relationships>
</file>

<file path=ppt/slides/_rels/slide135.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24.xml"/><Relationship Id="rId1" Type="http://schemas.openxmlformats.org/officeDocument/2006/relationships/slideLayout" Target="../slideLayouts/slideLayout6.xml"/><Relationship Id="rId6" Type="http://schemas.openxmlformats.org/officeDocument/2006/relationships/image" Target="../media/image178.png"/><Relationship Id="rId5" Type="http://schemas.openxmlformats.org/officeDocument/2006/relationships/image" Target="../media/image177.png"/><Relationship Id="rId4" Type="http://schemas.openxmlformats.org/officeDocument/2006/relationships/image" Target="../media/image176.png"/></Relationships>
</file>

<file path=ppt/slides/_rels/slide136.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25.xml"/><Relationship Id="rId1" Type="http://schemas.openxmlformats.org/officeDocument/2006/relationships/slideLayout" Target="../slideLayouts/slideLayout6.xml"/></Relationships>
</file>

<file path=ppt/slides/_rels/slide137.xml.rels><?xml version="1.0" encoding="UTF-8" standalone="yes"?>
<Relationships xmlns="http://schemas.openxmlformats.org/package/2006/relationships"><Relationship Id="rId8" Type="http://schemas.openxmlformats.org/officeDocument/2006/relationships/hyperlink" Target="https://docs.microsoft.com/en-us/azure/azure-resource-manager/resource-group-template-deploy#sample-template" TargetMode="External"/><Relationship Id="rId3" Type="http://schemas.openxmlformats.org/officeDocument/2006/relationships/hyperlink" Target="https://docs.microsoft.com/en-us/azure/azure-resource-manager/resource-group-template-deploy#deploy-a-template-from-your-local-machine" TargetMode="External"/><Relationship Id="rId7" Type="http://schemas.openxmlformats.org/officeDocument/2006/relationships/hyperlink" Target="https://docs.microsoft.com/en-us/azure/azure-resource-manager/resource-group-template-deploy#incremental-and-complete-deployments" TargetMode="External"/><Relationship Id="rId2" Type="http://schemas.openxmlformats.org/officeDocument/2006/relationships/notesSlide" Target="../notesSlides/notesSlide126.xml"/><Relationship Id="rId1" Type="http://schemas.openxmlformats.org/officeDocument/2006/relationships/slideLayout" Target="../slideLayouts/slideLayout1.xml"/><Relationship Id="rId6" Type="http://schemas.openxmlformats.org/officeDocument/2006/relationships/hyperlink" Target="https://docs.microsoft.com/en-us/azure/azure-resource-manager/resource-group-template-deploy#test-a-template-deployment" TargetMode="External"/><Relationship Id="rId5" Type="http://schemas.openxmlformats.org/officeDocument/2006/relationships/hyperlink" Target="https://docs.microsoft.com/en-us/azure/azure-resource-manager/resource-group-template-deploy#parameter-files" TargetMode="External"/><Relationship Id="rId4" Type="http://schemas.openxmlformats.org/officeDocument/2006/relationships/hyperlink" Target="https://docs.microsoft.com/en-us/azure/azure-resource-manager/resource-group-template-deploy#deploy-a-template-from-an-external-source" TargetMode="External"/><Relationship Id="rId9" Type="http://schemas.openxmlformats.org/officeDocument/2006/relationships/hyperlink" Target="https://docs.microsoft.com/en-us/azure/azure-resource-manager/resource-group-template-deploy#next-steps" TargetMode="Externa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5.xml"/></Relationships>
</file>

<file path=ppt/slides/_rels/slide139.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28.xml"/><Relationship Id="rId1" Type="http://schemas.openxmlformats.org/officeDocument/2006/relationships/slideLayout" Target="../slideLayouts/slideLayout6.xml"/><Relationship Id="rId4" Type="http://schemas.openxmlformats.org/officeDocument/2006/relationships/image" Target="../media/image181.jpeg"/></Relationships>
</file>

<file path=ppt/slides/_rels/slide14.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png"/><Relationship Id="rId12" Type="http://schemas.openxmlformats.org/officeDocument/2006/relationships/image" Target="../media/image83.png"/><Relationship Id="rId2" Type="http://schemas.openxmlformats.org/officeDocument/2006/relationships/notesSlide" Target="../notesSlides/notesSlide7.xml"/><Relationship Id="rId1" Type="http://schemas.openxmlformats.org/officeDocument/2006/relationships/slideLayout" Target="../slideLayouts/slideLayout22.xml"/><Relationship Id="rId6" Type="http://schemas.openxmlformats.org/officeDocument/2006/relationships/image" Target="../media/image77.png"/><Relationship Id="rId11" Type="http://schemas.openxmlformats.org/officeDocument/2006/relationships/image" Target="../media/image82.png"/><Relationship Id="rId5" Type="http://schemas.openxmlformats.org/officeDocument/2006/relationships/image" Target="../media/image76.png"/><Relationship Id="rId10" Type="http://schemas.openxmlformats.org/officeDocument/2006/relationships/image" Target="../media/image81.png"/><Relationship Id="rId4" Type="http://schemas.openxmlformats.org/officeDocument/2006/relationships/image" Target="../media/image75.png"/><Relationship Id="rId9" Type="http://schemas.openxmlformats.org/officeDocument/2006/relationships/image" Target="../media/image80.png"/></Relationships>
</file>

<file path=ppt/slides/_rels/slide140.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29.xml"/><Relationship Id="rId1" Type="http://schemas.openxmlformats.org/officeDocument/2006/relationships/slideLayout" Target="../slideLayouts/slideLayout6.xml"/></Relationships>
</file>

<file path=ppt/slides/_rels/slide141.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30.xml"/><Relationship Id="rId1" Type="http://schemas.openxmlformats.org/officeDocument/2006/relationships/slideLayout" Target="../slideLayouts/slideLayout6.xml"/></Relationships>
</file>

<file path=ppt/slides/_rels/slide142.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31.xml"/><Relationship Id="rId1" Type="http://schemas.openxmlformats.org/officeDocument/2006/relationships/slideLayout" Target="../slideLayouts/slideLayout6.xml"/><Relationship Id="rId4" Type="http://schemas.openxmlformats.org/officeDocument/2006/relationships/hyperlink" Target="https://docs.microsoft.com/en-us/azure/architecture/reference-architectures/virtual-machines-linux/multi-region-application" TargetMode="External"/></Relationships>
</file>

<file path=ppt/slides/_rels/slide143.xml.rels><?xml version="1.0" encoding="UTF-8" standalone="yes"?>
<Relationships xmlns="http://schemas.openxmlformats.org/package/2006/relationships"><Relationship Id="rId3" Type="http://schemas.openxmlformats.org/officeDocument/2006/relationships/hyperlink" Target="https://docs.microsoft.com/en-us/azure/architecture/resiliency/high-availability-azure-applications" TargetMode="External"/><Relationship Id="rId2" Type="http://schemas.openxmlformats.org/officeDocument/2006/relationships/notesSlide" Target="../notesSlides/notesSlide132.xml"/><Relationship Id="rId1" Type="http://schemas.openxmlformats.org/officeDocument/2006/relationships/slideLayout" Target="../slideLayouts/slideLayout6.xml"/><Relationship Id="rId4" Type="http://schemas.openxmlformats.org/officeDocument/2006/relationships/hyperlink" Target="https://docs.microsoft.com/en-us/azure/architecture/resiliency/index#designing-for-resiliency"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84.gif"/><Relationship Id="rId2" Type="http://schemas.openxmlformats.org/officeDocument/2006/relationships/notesSlide" Target="../notesSlides/notesSlide8.xml"/><Relationship Id="rId1" Type="http://schemas.openxmlformats.org/officeDocument/2006/relationships/slideLayout" Target="../slideLayouts/slideLayout158.xml"/></Relationships>
</file>

<file path=ppt/slides/_rels/slide16.xml.rels><?xml version="1.0" encoding="UTF-8" standalone="yes"?>
<Relationships xmlns="http://schemas.openxmlformats.org/package/2006/relationships"><Relationship Id="rId3" Type="http://schemas.openxmlformats.org/officeDocument/2006/relationships/image" Target="../media/image84.gif"/><Relationship Id="rId2" Type="http://schemas.openxmlformats.org/officeDocument/2006/relationships/notesSlide" Target="../notesSlides/notesSlide9.xml"/><Relationship Id="rId1" Type="http://schemas.openxmlformats.org/officeDocument/2006/relationships/slideLayout" Target="../slideLayouts/slideLayout158.xml"/></Relationships>
</file>

<file path=ppt/slides/_rels/slide17.xml.rels><?xml version="1.0" encoding="UTF-8" standalone="yes"?>
<Relationships xmlns="http://schemas.openxmlformats.org/package/2006/relationships"><Relationship Id="rId3" Type="http://schemas.openxmlformats.org/officeDocument/2006/relationships/image" Target="../media/image84.gif"/><Relationship Id="rId2" Type="http://schemas.openxmlformats.org/officeDocument/2006/relationships/notesSlide" Target="../notesSlides/notesSlide10.xml"/><Relationship Id="rId1" Type="http://schemas.openxmlformats.org/officeDocument/2006/relationships/slideLayout" Target="../slideLayouts/slideLayout158.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20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hyperlink" Target="https://aka.ms/comparecompute" TargetMode="Externa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473.xml"/></Relationships>
</file>

<file path=ppt/slides/_rels/slide20.xml.rels><?xml version="1.0" encoding="UTF-8" standalone="yes"?>
<Relationships xmlns="http://schemas.openxmlformats.org/package/2006/relationships"><Relationship Id="rId3" Type="http://schemas.openxmlformats.org/officeDocument/2006/relationships/image" Target="../media/image86.emf"/><Relationship Id="rId2" Type="http://schemas.openxmlformats.org/officeDocument/2006/relationships/notesSlide" Target="../notesSlides/notesSlide12.xml"/><Relationship Id="rId1" Type="http://schemas.openxmlformats.org/officeDocument/2006/relationships/slideLayout" Target="../slideLayouts/slideLayout10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4.xml"/></Relationships>
</file>

<file path=ppt/slides/_rels/slide2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hyperlink" Target="https://azure.microsoft.com/en-us/resources/templates/" TargetMode="Externa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8" Type="http://schemas.openxmlformats.org/officeDocument/2006/relationships/image" Target="../media/image92.png"/><Relationship Id="rId3" Type="http://schemas.microsoft.com/office/2007/relationships/media" Target="../media/media1.mp4"/><Relationship Id="rId7" Type="http://schemas.openxmlformats.org/officeDocument/2006/relationships/image" Target="../media/image91.png"/><Relationship Id="rId2" Type="http://schemas.openxmlformats.org/officeDocument/2006/relationships/tags" Target="../tags/tag12.xml"/><Relationship Id="rId1" Type="http://schemas.openxmlformats.org/officeDocument/2006/relationships/video" Target="NULL" TargetMode="External"/><Relationship Id="rId6" Type="http://schemas.openxmlformats.org/officeDocument/2006/relationships/hyperlink" Target="https://azure.microsoft.com/en-us/resources/templates/" TargetMode="External"/><Relationship Id="rId5" Type="http://schemas.openxmlformats.org/officeDocument/2006/relationships/notesSlide" Target="../notesSlides/notesSlide15.xml"/><Relationship Id="rId4" Type="http://schemas.openxmlformats.org/officeDocument/2006/relationships/slideLayout" Target="../slideLayouts/slideLayout103.xml"/></Relationships>
</file>

<file path=ppt/slides/_rels/slide2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6.xml"/><Relationship Id="rId1" Type="http://schemas.openxmlformats.org/officeDocument/2006/relationships/slideLayout" Target="../slideLayouts/slideLayout274.xml"/></Relationships>
</file>

<file path=ppt/slides/_rels/slide2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7.xml"/><Relationship Id="rId1" Type="http://schemas.openxmlformats.org/officeDocument/2006/relationships/slideLayout" Target="../slideLayouts/slideLayout124.xml"/><Relationship Id="rId4" Type="http://schemas.microsoft.com/office/2007/relationships/hdphoto" Target="../media/hdphoto5.wdp"/></Relationships>
</file>

<file path=ppt/slides/_rels/slide2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8.xml"/><Relationship Id="rId1" Type="http://schemas.openxmlformats.org/officeDocument/2006/relationships/slideLayout" Target="../slideLayouts/slideLayout224.xml"/></Relationships>
</file>

<file path=ppt/slides/_rels/slide3.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473.xml"/></Relationships>
</file>

<file path=ppt/slides/_rels/slide3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9.xml"/><Relationship Id="rId1" Type="http://schemas.openxmlformats.org/officeDocument/2006/relationships/slideLayout" Target="../slideLayouts/slideLayout224.xml"/></Relationships>
</file>

<file path=ppt/slides/_rels/slide31.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notesSlide" Target="../notesSlides/notesSlide20.xml"/><Relationship Id="rId1" Type="http://schemas.openxmlformats.org/officeDocument/2006/relationships/slideLayout" Target="../slideLayouts/slideLayout113.xml"/><Relationship Id="rId5" Type="http://schemas.openxmlformats.org/officeDocument/2006/relationships/image" Target="../media/image98.png"/><Relationship Id="rId4" Type="http://schemas.openxmlformats.org/officeDocument/2006/relationships/image" Target="../media/image97.emf"/></Relationships>
</file>

<file path=ppt/slides/_rels/slide32.xml.rels><?xml version="1.0" encoding="UTF-8" standalone="yes"?>
<Relationships xmlns="http://schemas.openxmlformats.org/package/2006/relationships"><Relationship Id="rId8" Type="http://schemas.openxmlformats.org/officeDocument/2006/relationships/hyperlink" Target="https://docs.microsoft.com/en-us/azure/virtual-machines/windows/sizes-hpc"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gpu" TargetMode="External"/><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storage"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compute" TargetMode="External"/></Relationships>
</file>

<file path=ppt/slides/_rels/slide33.xml.rels><?xml version="1.0" encoding="UTF-8" standalone="yes"?>
<Relationships xmlns="http://schemas.openxmlformats.org/package/2006/relationships"><Relationship Id="rId8" Type="http://schemas.openxmlformats.org/officeDocument/2006/relationships/hyperlink" Target="https://docs.microsoft.com/en-us/azure/virtual-machines/windows/sizes-storage"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compute" TargetMode="External"/><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general"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hpc"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3.xml"/><Relationship Id="rId1" Type="http://schemas.openxmlformats.org/officeDocument/2006/relationships/slideLayout" Target="../slideLayouts/slideLayout387.xml"/></Relationships>
</file>

<file path=ppt/slides/_rels/slide3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4.xml"/><Relationship Id="rId1" Type="http://schemas.openxmlformats.org/officeDocument/2006/relationships/slideLayout" Target="../slideLayouts/slideLayout38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20.xml"/><Relationship Id="rId1" Type="http://schemas.openxmlformats.org/officeDocument/2006/relationships/tags" Target="../tags/tag13.xml"/></Relationships>
</file>

<file path=ppt/slides/_rels/slide4.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47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2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2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20.xml"/></Relationships>
</file>

<file path=ppt/slides/_rels/slide4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2.xml"/><Relationship Id="rId1" Type="http://schemas.openxmlformats.org/officeDocument/2006/relationships/slideLayout" Target="../slideLayouts/slideLayout220.xml"/></Relationships>
</file>

<file path=ppt/slides/_rels/slide4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3.xml"/><Relationship Id="rId1" Type="http://schemas.openxmlformats.org/officeDocument/2006/relationships/slideLayout" Target="../slideLayouts/slideLayout6.xml"/><Relationship Id="rId4" Type="http://schemas.openxmlformats.org/officeDocument/2006/relationships/image" Target="../media/image102.jpeg"/></Relationships>
</file>

<file path=ppt/slides/_rels/slide45.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20.xml"/></Relationships>
</file>

<file path=ppt/slides/_rels/slide47.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tags" Target="../tags/tag25.xml"/><Relationship Id="rId2" Type="http://schemas.openxmlformats.org/officeDocument/2006/relationships/tags" Target="../tags/tag15.xml"/><Relationship Id="rId16" Type="http://schemas.openxmlformats.org/officeDocument/2006/relationships/notesSlide" Target="../notesSlides/notesSlide36.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slideLayout" Target="../slideLayouts/slideLayout251.xml"/><Relationship Id="rId10" Type="http://schemas.openxmlformats.org/officeDocument/2006/relationships/tags" Target="../tags/tag23.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s>
</file>

<file path=ppt/slides/_rels/slide4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7.xml"/><Relationship Id="rId1" Type="http://schemas.openxmlformats.org/officeDocument/2006/relationships/slideLayout" Target="../slideLayouts/slideLayout124.xml"/><Relationship Id="rId4" Type="http://schemas.microsoft.com/office/2007/relationships/hdphoto" Target="../media/hdphoto5.wdp"/></Relationships>
</file>

<file path=ppt/slides/_rels/slide4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8.xml"/><Relationship Id="rId1" Type="http://schemas.openxmlformats.org/officeDocument/2006/relationships/slideLayout" Target="../slideLayouts/slideLayout103.xml"/></Relationships>
</file>

<file path=ppt/slides/_rels/slide5.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473.xml"/></Relationships>
</file>

<file path=ppt/slides/_rels/slide5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39.xml"/><Relationship Id="rId1" Type="http://schemas.openxmlformats.org/officeDocument/2006/relationships/slideLayout" Target="../slideLayouts/slideLayout10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04.xml"/></Relationships>
</file>

<file path=ppt/slides/_rels/slide52.xml.rels><?xml version="1.0" encoding="UTF-8" standalone="yes"?>
<Relationships xmlns="http://schemas.openxmlformats.org/package/2006/relationships"><Relationship Id="rId8" Type="http://schemas.openxmlformats.org/officeDocument/2006/relationships/image" Target="../media/image111.emf"/><Relationship Id="rId3" Type="http://schemas.openxmlformats.org/officeDocument/2006/relationships/image" Target="../media/image106.png"/><Relationship Id="rId7" Type="http://schemas.openxmlformats.org/officeDocument/2006/relationships/image" Target="../media/image110.png"/><Relationship Id="rId2" Type="http://schemas.openxmlformats.org/officeDocument/2006/relationships/notesSlide" Target="../notesSlides/notesSlide41.xml"/><Relationship Id="rId1" Type="http://schemas.openxmlformats.org/officeDocument/2006/relationships/slideLayout" Target="../slideLayouts/slideLayout107.xml"/><Relationship Id="rId6" Type="http://schemas.openxmlformats.org/officeDocument/2006/relationships/image" Target="../media/image109.emf"/><Relationship Id="rId5" Type="http://schemas.openxmlformats.org/officeDocument/2006/relationships/image" Target="../media/image108.png"/><Relationship Id="rId4" Type="http://schemas.openxmlformats.org/officeDocument/2006/relationships/image" Target="../media/image107.png"/><Relationship Id="rId9" Type="http://schemas.openxmlformats.org/officeDocument/2006/relationships/image" Target="../media/image112.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1.xml"/></Relationships>
</file>

<file path=ppt/slides/_rels/slide57.xml.rels><?xml version="1.0" encoding="UTF-8" standalone="yes"?>
<Relationships xmlns="http://schemas.openxmlformats.org/package/2006/relationships"><Relationship Id="rId3" Type="http://schemas.openxmlformats.org/officeDocument/2006/relationships/hyperlink" Target="https://azure.microsoft.com/en-us/services/virtual-machine-scale-sets/" TargetMode="External"/><Relationship Id="rId2" Type="http://schemas.openxmlformats.org/officeDocument/2006/relationships/notesSlide" Target="../notesSlides/notesSlide46.xml"/><Relationship Id="rId1" Type="http://schemas.openxmlformats.org/officeDocument/2006/relationships/slideLayout" Target="../slideLayouts/slideLayout30.xml"/><Relationship Id="rId6" Type="http://schemas.openxmlformats.org/officeDocument/2006/relationships/image" Target="../media/image113.png"/><Relationship Id="rId5" Type="http://schemas.openxmlformats.org/officeDocument/2006/relationships/hyperlink" Target="https://azure.microsoft.com/en-us/services/storage/" TargetMode="External"/><Relationship Id="rId4" Type="http://schemas.openxmlformats.org/officeDocument/2006/relationships/hyperlink" Target="https://azure.microsoft.com/en-us/services/virtual-network/" TargetMode="External"/></Relationships>
</file>

<file path=ppt/slides/_rels/slide58.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hyperlink" Target="https://azure.microsoft.com/en-us/services/virtual-machines/" TargetMode="External"/><Relationship Id="rId7" Type="http://schemas.openxmlformats.org/officeDocument/2006/relationships/hyperlink" Target="https://azure.microsoft.com/en-us/services/storage/" TargetMode="External"/><Relationship Id="rId2" Type="http://schemas.openxmlformats.org/officeDocument/2006/relationships/notesSlide" Target="../notesSlides/notesSlide47.xml"/><Relationship Id="rId1" Type="http://schemas.openxmlformats.org/officeDocument/2006/relationships/slideLayout" Target="../slideLayouts/slideLayout30.xml"/><Relationship Id="rId6" Type="http://schemas.openxmlformats.org/officeDocument/2006/relationships/hyperlink" Target="https://azure.microsoft.com/en-us/services/expressroute/" TargetMode="External"/><Relationship Id="rId5" Type="http://schemas.openxmlformats.org/officeDocument/2006/relationships/hyperlink" Target="https://azure.microsoft.com/en-us/services/vpn-gateway/" TargetMode="External"/><Relationship Id="rId4" Type="http://schemas.openxmlformats.org/officeDocument/2006/relationships/hyperlink" Target="https://azure.microsoft.com/en-us/services/virtual-network/" TargetMode="Externa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2.xml"/><Relationship Id="rId1" Type="http://schemas.openxmlformats.org/officeDocument/2006/relationships/slideLayout" Target="../slideLayouts/slideLayout453.xml"/></Relationships>
</file>

<file path=ppt/slides/_rels/slide6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9.xml"/><Relationship Id="rId1" Type="http://schemas.openxmlformats.org/officeDocument/2006/relationships/slideLayout" Target="../slideLayouts/slideLayout274.xml"/><Relationship Id="rId4" Type="http://schemas.openxmlformats.org/officeDocument/2006/relationships/image" Target="../media/image69.png"/></Relationships>
</file>

<file path=ppt/slides/_rels/slide61.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50.xml"/><Relationship Id="rId1" Type="http://schemas.openxmlformats.org/officeDocument/2006/relationships/slideLayout" Target="../slideLayouts/slideLayout335.xml"/><Relationship Id="rId4" Type="http://schemas.openxmlformats.org/officeDocument/2006/relationships/image" Target="../media/image116.jpe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65.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65.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65.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65.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47.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47.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47.xml"/></Relationships>
</file>

<file path=ppt/slides/_rels/slide69.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58.xml"/><Relationship Id="rId1" Type="http://schemas.openxmlformats.org/officeDocument/2006/relationships/slideLayout" Target="../slideLayouts/slideLayout347.xml"/></Relationships>
</file>

<file path=ppt/slides/_rels/slide7.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453.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7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74.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65.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65.xml"/></Relationships>
</file>

<file path=ppt/slides/_rels/slide74.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63.xml"/><Relationship Id="rId1" Type="http://schemas.openxmlformats.org/officeDocument/2006/relationships/slideLayout" Target="../slideLayouts/slideLayout113.xml"/><Relationship Id="rId5" Type="http://schemas.openxmlformats.org/officeDocument/2006/relationships/image" Target="../media/image120.png"/><Relationship Id="rId4" Type="http://schemas.openxmlformats.org/officeDocument/2006/relationships/image" Target="../media/image119.png"/></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74.xml"/></Relationships>
</file>

<file path=ppt/slides/_rels/slide76.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65.xml"/><Relationship Id="rId1" Type="http://schemas.openxmlformats.org/officeDocument/2006/relationships/slideLayout" Target="../slideLayouts/slideLayout165.xml"/></Relationships>
</file>

<file path=ppt/slides/_rels/slide77.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66.xml"/><Relationship Id="rId1" Type="http://schemas.openxmlformats.org/officeDocument/2006/relationships/slideLayout" Target="../slideLayouts/slideLayout22.xml"/></Relationships>
</file>

<file path=ppt/slides/_rels/slide78.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67.xml"/><Relationship Id="rId1" Type="http://schemas.openxmlformats.org/officeDocument/2006/relationships/slideLayout" Target="../slideLayouts/slideLayout113.xml"/></Relationships>
</file>

<file path=ppt/slides/_rels/slide7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68.xml"/><Relationship Id="rId1" Type="http://schemas.openxmlformats.org/officeDocument/2006/relationships/slideLayout" Target="../slideLayouts/slideLayout274.xml"/><Relationship Id="rId5" Type="http://schemas.openxmlformats.org/officeDocument/2006/relationships/image" Target="../media/image70.png"/><Relationship Id="rId4" Type="http://schemas.openxmlformats.org/officeDocument/2006/relationships/image" Target="../media/image69.png"/></Relationships>
</file>

<file path=ppt/slides/_rels/slide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453.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347.xml"/><Relationship Id="rId1" Type="http://schemas.openxmlformats.org/officeDocument/2006/relationships/tags" Target="../tags/tag28.xml"/><Relationship Id="rId5" Type="http://schemas.openxmlformats.org/officeDocument/2006/relationships/image" Target="../media/image125.emf"/><Relationship Id="rId4" Type="http://schemas.openxmlformats.org/officeDocument/2006/relationships/image" Target="../media/image124.emf"/></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347.xml"/></Relationships>
</file>

<file path=ppt/slides/_rels/slide82.xml.rels><?xml version="1.0" encoding="UTF-8" standalone="yes"?>
<Relationships xmlns="http://schemas.openxmlformats.org/package/2006/relationships"><Relationship Id="rId8" Type="http://schemas.openxmlformats.org/officeDocument/2006/relationships/image" Target="../media/image131.emf"/><Relationship Id="rId3" Type="http://schemas.openxmlformats.org/officeDocument/2006/relationships/image" Target="../media/image126.emf"/><Relationship Id="rId7" Type="http://schemas.openxmlformats.org/officeDocument/2006/relationships/image" Target="../media/image130.emf"/><Relationship Id="rId2" Type="http://schemas.openxmlformats.org/officeDocument/2006/relationships/notesSlide" Target="../notesSlides/notesSlide71.xml"/><Relationship Id="rId1" Type="http://schemas.openxmlformats.org/officeDocument/2006/relationships/slideLayout" Target="../slideLayouts/slideLayout107.xml"/><Relationship Id="rId6" Type="http://schemas.openxmlformats.org/officeDocument/2006/relationships/image" Target="../media/image129.emf"/><Relationship Id="rId5" Type="http://schemas.openxmlformats.org/officeDocument/2006/relationships/image" Target="../media/image128.png"/><Relationship Id="rId4" Type="http://schemas.openxmlformats.org/officeDocument/2006/relationships/image" Target="../media/image127.emf"/><Relationship Id="rId9" Type="http://schemas.openxmlformats.org/officeDocument/2006/relationships/image" Target="../media/image132.png"/></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2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2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1.xml"/></Relationships>
</file>

<file path=ppt/slides/_rels/slide8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75.xml"/><Relationship Id="rId1" Type="http://schemas.openxmlformats.org/officeDocument/2006/relationships/slideLayout" Target="../slideLayouts/slideLayout176.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87.xml.rels><?xml version="1.0" encoding="UTF-8" standalone="yes"?>
<Relationships xmlns="http://schemas.openxmlformats.org/package/2006/relationships"><Relationship Id="rId3" Type="http://schemas.openxmlformats.org/officeDocument/2006/relationships/image" Target="../media/image133.emf"/><Relationship Id="rId2" Type="http://schemas.openxmlformats.org/officeDocument/2006/relationships/notesSlide" Target="../notesSlides/notesSlide76.xml"/><Relationship Id="rId1" Type="http://schemas.openxmlformats.org/officeDocument/2006/relationships/slideLayout" Target="../slideLayouts/slideLayout107.xml"/><Relationship Id="rId5" Type="http://schemas.openxmlformats.org/officeDocument/2006/relationships/image" Target="../media/image135.emf"/><Relationship Id="rId4" Type="http://schemas.openxmlformats.org/officeDocument/2006/relationships/image" Target="../media/image134.emf"/></Relationships>
</file>

<file path=ppt/slides/_rels/slide88.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77.xml"/><Relationship Id="rId1" Type="http://schemas.openxmlformats.org/officeDocument/2006/relationships/slideLayout" Target="../slideLayouts/slideLayout21.xml"/></Relationships>
</file>

<file path=ppt/slides/_rels/slide89.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78.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3" Type="http://schemas.openxmlformats.org/officeDocument/2006/relationships/hyperlink" Target="mailto:Dave.Burnison@Microsoft.com" TargetMode="External"/><Relationship Id="rId2" Type="http://schemas.openxmlformats.org/officeDocument/2006/relationships/notesSlide" Target="../notesSlides/notesSlide3.xml"/><Relationship Id="rId1" Type="http://schemas.openxmlformats.org/officeDocument/2006/relationships/slideLayout" Target="../slideLayouts/slideLayout427.xml"/></Relationships>
</file>

<file path=ppt/slides/_rels/slide90.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79.xml"/><Relationship Id="rId1" Type="http://schemas.openxmlformats.org/officeDocument/2006/relationships/slideLayout" Target="../slideLayouts/slideLayout21.xml"/></Relationships>
</file>

<file path=ppt/slides/_rels/slide91.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80.xml"/><Relationship Id="rId1" Type="http://schemas.openxmlformats.org/officeDocument/2006/relationships/slideLayout" Target="../slideLayouts/slideLayout21.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1.xml"/></Relationships>
</file>

<file path=ppt/slides/_rels/slide93.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82.xml"/><Relationship Id="rId1" Type="http://schemas.openxmlformats.org/officeDocument/2006/relationships/slideLayout" Target="../slideLayouts/slideLayout176.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94.xml.rels><?xml version="1.0" encoding="UTF-8" standalone="yes"?>
<Relationships xmlns="http://schemas.openxmlformats.org/package/2006/relationships"><Relationship Id="rId3" Type="http://schemas.openxmlformats.org/officeDocument/2006/relationships/image" Target="../media/image140.emf"/><Relationship Id="rId2" Type="http://schemas.openxmlformats.org/officeDocument/2006/relationships/notesSlide" Target="../notesSlides/notesSlide83.xml"/><Relationship Id="rId1" Type="http://schemas.openxmlformats.org/officeDocument/2006/relationships/slideLayout" Target="../slideLayouts/slideLayout141.xml"/><Relationship Id="rId5" Type="http://schemas.openxmlformats.org/officeDocument/2006/relationships/image" Target="../media/image142.emf"/><Relationship Id="rId4" Type="http://schemas.openxmlformats.org/officeDocument/2006/relationships/image" Target="../media/image141.emf"/></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94.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94.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94.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94.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9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6453" y="4377"/>
            <a:ext cx="8219095" cy="739718"/>
          </a:xfrm>
        </p:spPr>
        <p:txBody>
          <a:bodyPr/>
          <a:lstStyle/>
          <a:p>
            <a:r>
              <a:rPr lang="en-US" dirty="0"/>
              <a:t>Hello! Instructor introduction</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67334" y="5864288"/>
            <a:ext cx="2190420" cy="805732"/>
          </a:xfrm>
          <a:prstGeom prst="rect">
            <a:avLst/>
          </a:prstGeom>
        </p:spPr>
      </p:pic>
      <p:sp>
        <p:nvSpPr>
          <p:cNvPr id="3" name="Text Placeholder 2"/>
          <p:cNvSpPr>
            <a:spLocks noGrp="1"/>
          </p:cNvSpPr>
          <p:nvPr>
            <p:ph type="body" sz="quarter" idx="13"/>
          </p:nvPr>
        </p:nvSpPr>
        <p:spPr>
          <a:xfrm>
            <a:off x="1986452" y="1069815"/>
            <a:ext cx="6468732" cy="5098883"/>
          </a:xfrm>
        </p:spPr>
        <p:txBody>
          <a:bodyPr/>
          <a:lstStyle/>
          <a:p>
            <a:endParaRPr lang="en-US" sz="2397" dirty="0">
              <a:solidFill>
                <a:srgbClr val="0070C0"/>
              </a:solidFill>
            </a:endParaRPr>
          </a:p>
          <a:p>
            <a:endParaRPr lang="en-US" sz="2397" dirty="0">
              <a:solidFill>
                <a:srgbClr val="0070C0"/>
              </a:solidFill>
            </a:endParaRPr>
          </a:p>
          <a:p>
            <a:r>
              <a:rPr lang="en-US" sz="2397" dirty="0">
                <a:solidFill>
                  <a:srgbClr val="0070C0"/>
                </a:solidFill>
              </a:rPr>
              <a:t>Instructor: Mark Ingram</a:t>
            </a:r>
            <a:endParaRPr lang="en-US" sz="2397" dirty="0"/>
          </a:p>
          <a:p>
            <a:r>
              <a:rPr lang="en-US" sz="2397" dirty="0"/>
              <a:t>BSc (IT), MCT, MCSE Cloud Platform and Infrastructure, etc</a:t>
            </a:r>
          </a:p>
          <a:p>
            <a:r>
              <a:rPr lang="en-US" sz="2397" dirty="0"/>
              <a:t>Trained and / or consulted in 20 countries</a:t>
            </a:r>
          </a:p>
          <a:p>
            <a:r>
              <a:rPr lang="en-US" sz="2397" dirty="0"/>
              <a:t>Pluralsight author</a:t>
            </a:r>
          </a:p>
          <a:p>
            <a:pPr lvl="1"/>
            <a:r>
              <a:rPr lang="en-US" sz="1998" dirty="0"/>
              <a:t>Four courses—three on SharePoint 2016 and one on Windows 10 Data Security</a:t>
            </a:r>
          </a:p>
          <a:p>
            <a:endParaRPr lang="en-US" sz="2397" dirty="0"/>
          </a:p>
        </p:txBody>
      </p:sp>
      <p:grpSp>
        <p:nvGrpSpPr>
          <p:cNvPr id="17" name="Group 16"/>
          <p:cNvGrpSpPr>
            <a:grpSpLocks noChangeAspect="1"/>
          </p:cNvGrpSpPr>
          <p:nvPr/>
        </p:nvGrpSpPr>
        <p:grpSpPr>
          <a:xfrm>
            <a:off x="7808169" y="1069816"/>
            <a:ext cx="2089258" cy="1329528"/>
            <a:chOff x="1066800" y="1066800"/>
            <a:chExt cx="3352800" cy="2133600"/>
          </a:xfrm>
        </p:grpSpPr>
        <p:grpSp>
          <p:nvGrpSpPr>
            <p:cNvPr id="18" name="Group 17"/>
            <p:cNvGrpSpPr/>
            <p:nvPr/>
          </p:nvGrpSpPr>
          <p:grpSpPr>
            <a:xfrm>
              <a:off x="1066800" y="1066800"/>
              <a:ext cx="3352800" cy="2133600"/>
              <a:chOff x="762000" y="1066800"/>
              <a:chExt cx="3352800" cy="2133600"/>
            </a:xfrm>
            <a:solidFill>
              <a:srgbClr val="0072C6"/>
            </a:solidFill>
          </p:grpSpPr>
          <p:sp>
            <p:nvSpPr>
              <p:cNvPr id="20" name="Rounded Rectangle 19"/>
              <p:cNvSpPr>
                <a:spLocks noChangeAspect="1"/>
              </p:cNvSpPr>
              <p:nvPr/>
            </p:nvSpPr>
            <p:spPr>
              <a:xfrm>
                <a:off x="762000" y="1066800"/>
                <a:ext cx="3352800" cy="2133600"/>
              </a:xfrm>
              <a:prstGeom prst="roundRect">
                <a:avLst/>
              </a:prstGeom>
              <a:solidFill>
                <a:srgbClr val="00188F"/>
              </a:solidFill>
              <a:ln>
                <a:solidFill>
                  <a:srgbClr val="0018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3"/>
                <a:endParaRPr lang="en-US" sz="1798" dirty="0">
                  <a:solidFill>
                    <a:prstClr val="white"/>
                  </a:solidFill>
                  <a:latin typeface="Calibri" panose="020F0502020204030204"/>
                </a:endParaRPr>
              </a:p>
            </p:txBody>
          </p:sp>
          <p:sp>
            <p:nvSpPr>
              <p:cNvPr id="21" name="Rectangle 20"/>
              <p:cNvSpPr/>
              <p:nvPr/>
            </p:nvSpPr>
            <p:spPr>
              <a:xfrm>
                <a:off x="762000" y="1676400"/>
                <a:ext cx="3352800" cy="1219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3"/>
                <a:endParaRPr lang="en-US" sz="1798" dirty="0">
                  <a:solidFill>
                    <a:prstClr val="white"/>
                  </a:solidFill>
                  <a:latin typeface="Calibri" panose="020F0502020204030204"/>
                </a:endParaRPr>
              </a:p>
            </p:txBody>
          </p:sp>
        </p:grpSp>
        <p:pic>
          <p:nvPicPr>
            <p:cNvPr id="1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24036" y="1161615"/>
              <a:ext cx="1838325" cy="466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2368567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ctrTitle"/>
          </p:nvPr>
        </p:nvSpPr>
        <p:spPr>
          <a:xfrm>
            <a:off x="582410" y="-1120027"/>
            <a:ext cx="11027179" cy="2387600"/>
          </a:xfrm>
          <a:solidFill>
            <a:schemeClr val="tx2">
              <a:alpha val="80000"/>
            </a:schemeClr>
          </a:solidFill>
        </p:spPr>
        <p:txBody>
          <a:bodyPr>
            <a:normAutofit/>
          </a:bodyPr>
          <a:lstStyle/>
          <a:p>
            <a:r>
              <a:rPr lang="en-US" sz="7200" dirty="0">
                <a:solidFill>
                  <a:schemeClr val="bg1"/>
                </a:solidFill>
                <a:latin typeface="Segoe UI Light" panose="020B0502040204020203" pitchFamily="34" charset="0"/>
                <a:cs typeface="Segoe UI Light" panose="020B0502040204020203" pitchFamily="34" charset="0"/>
              </a:rPr>
              <a:t>Azure Compute</a:t>
            </a:r>
          </a:p>
        </p:txBody>
      </p:sp>
      <p:sp>
        <p:nvSpPr>
          <p:cNvPr id="3" name="Subtitle 2"/>
          <p:cNvSpPr>
            <a:spLocks noGrp="1"/>
          </p:cNvSpPr>
          <p:nvPr>
            <p:ph type="subTitle" idx="1"/>
          </p:nvPr>
        </p:nvSpPr>
        <p:spPr>
          <a:xfrm>
            <a:off x="1264492" y="1267932"/>
            <a:ext cx="9144000" cy="667322"/>
          </a:xfrm>
          <a:solidFill>
            <a:schemeClr val="accent2">
              <a:lumMod val="75000"/>
              <a:alpha val="78000"/>
            </a:schemeClr>
          </a:solidFill>
        </p:spPr>
        <p:txBody>
          <a:bodyPr>
            <a:normAutofit/>
          </a:bodyPr>
          <a:lstStyle/>
          <a:p>
            <a:r>
              <a:rPr lang="en-US" sz="4000" b="1" dirty="0">
                <a:solidFill>
                  <a:schemeClr val="accent4"/>
                </a:solidFill>
                <a:latin typeface="Segoe UI Light" panose="020B0502040204020203" pitchFamily="34" charset="0"/>
                <a:cs typeface="Segoe UI Light" panose="020B0502040204020203" pitchFamily="34" charset="0"/>
              </a:rPr>
              <a:t>Exam 70-535 Certification Jump Start</a:t>
            </a:r>
          </a:p>
        </p:txBody>
      </p:sp>
      <p:sp>
        <p:nvSpPr>
          <p:cNvPr id="4" name="Text Placeholder 1"/>
          <p:cNvSpPr txBox="1">
            <a:spLocks/>
          </p:cNvSpPr>
          <p:nvPr/>
        </p:nvSpPr>
        <p:spPr>
          <a:xfrm>
            <a:off x="430180" y="5314632"/>
            <a:ext cx="5340998" cy="1403461"/>
          </a:xfrm>
          <a:prstGeom prst="rect">
            <a:avLst/>
          </a:prstGeom>
          <a:no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B050"/>
                </a:solidFill>
                <a:effectLst/>
                <a:uLnTx/>
                <a:uFillTx/>
                <a:latin typeface="Calibri" panose="020F0502020204030204"/>
                <a:ea typeface="+mn-ea"/>
                <a:cs typeface="+mn-cs"/>
              </a:rPr>
              <a:t>Dave Burnison </a:t>
            </a:r>
            <a:r>
              <a:rPr kumimoji="0" lang="en-US" sz="2800" b="1" i="0" u="none" strike="noStrike" kern="1200" cap="none" spc="0" normalizeH="0" baseline="0" noProof="0">
                <a:ln>
                  <a:noFill/>
                </a:ln>
                <a:solidFill>
                  <a:srgbClr val="00B050"/>
                </a:solidFill>
                <a:effectLst/>
                <a:uLnTx/>
                <a:uFillTx/>
                <a:latin typeface="Calibri" panose="020F0502020204030204"/>
                <a:ea typeface="+mn-ea"/>
                <a:cs typeface="+mn-cs"/>
              </a:rPr>
              <a:t>- Microsoft</a:t>
            </a:r>
            <a:endParaRPr kumimoji="0" lang="en-US" sz="2800" b="1" i="0" u="none" strike="noStrike" kern="1200" cap="none" spc="0" normalizeH="0" baseline="0" noProof="0" dirty="0">
              <a:ln>
                <a:noFill/>
              </a:ln>
              <a:solidFill>
                <a:srgbClr val="00B05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ED7D31"/>
                </a:solidFill>
                <a:effectLst/>
                <a:uLnTx/>
                <a:uFillTx/>
                <a:latin typeface="Calibri" panose="020F0502020204030204"/>
                <a:ea typeface="+mn-ea"/>
                <a:cs typeface="+mn-cs"/>
              </a:rPr>
              <a:t>Azure App Dev TSP </a:t>
            </a:r>
            <a:r>
              <a:rPr kumimoji="0" lang="en-US" sz="2800" b="1"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 – </a:t>
            </a:r>
            <a:r>
              <a:rPr kumimoji="0" lang="en-US" sz="2800" b="1" i="0" u="none" strike="noStrike" kern="1200" cap="none" spc="0" normalizeH="0" baseline="0" noProof="0" dirty="0">
                <a:ln>
                  <a:noFill/>
                </a:ln>
                <a:solidFill>
                  <a:srgbClr val="00B050"/>
                </a:solidFill>
                <a:effectLst/>
                <a:uLnTx/>
                <a:uFillTx/>
                <a:latin typeface="Calibri" panose="020F0502020204030204"/>
                <a:ea typeface="+mn-ea"/>
                <a:cs typeface="+mn-cs"/>
              </a:rPr>
              <a:t>US NC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accent1"/>
                </a:solidFill>
                <a:effectLst/>
                <a:uLnTx/>
                <a:uFillTx/>
                <a:latin typeface="Calibri" panose="020F0502020204030204"/>
                <a:ea typeface="+mn-ea"/>
                <a:cs typeface="+mn-cs"/>
              </a:rPr>
              <a:t>dabu@microsoft.com </a:t>
            </a:r>
            <a:endParaRPr kumimoji="0" lang="en-US" sz="2000" b="0" i="0" u="none" strike="noStrike" kern="1200" cap="none" spc="0" normalizeH="0" baseline="0" noProof="0" dirty="0">
              <a:ln>
                <a:noFill/>
              </a:ln>
              <a:solidFill>
                <a:schemeClr val="accent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771124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758950" y="2332038"/>
            <a:ext cx="8674100" cy="219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128" name="Group 127"/>
          <p:cNvGrpSpPr/>
          <p:nvPr/>
        </p:nvGrpSpPr>
        <p:grpSpPr>
          <a:xfrm>
            <a:off x="2317750" y="4048126"/>
            <a:ext cx="1908176" cy="519112"/>
            <a:chOff x="2317750" y="4048126"/>
            <a:chExt cx="1908176" cy="519112"/>
          </a:xfrm>
        </p:grpSpPr>
        <p:sp>
          <p:nvSpPr>
            <p:cNvPr id="5" name="Rectangle 5"/>
            <p:cNvSpPr>
              <a:spLocks noChangeArrowheads="1"/>
            </p:cNvSpPr>
            <p:nvPr/>
          </p:nvSpPr>
          <p:spPr bwMode="auto">
            <a:xfrm>
              <a:off x="2317750" y="4048126"/>
              <a:ext cx="706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ill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930525" y="4048126"/>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3024188" y="4048126"/>
              <a:ext cx="1201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 devices fe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405063" y="4262438"/>
              <a:ext cx="6159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into S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Rectangle 9"/>
            <p:cNvSpPr>
              <a:spLocks noChangeArrowheads="1"/>
            </p:cNvSpPr>
            <p:nvPr/>
          </p:nvSpPr>
          <p:spPr bwMode="auto">
            <a:xfrm>
              <a:off x="2881313" y="42624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10"/>
            <p:cNvSpPr>
              <a:spLocks noChangeArrowheads="1"/>
            </p:cNvSpPr>
            <p:nvPr/>
          </p:nvSpPr>
          <p:spPr bwMode="auto">
            <a:xfrm>
              <a:off x="2938463" y="4262438"/>
              <a:ext cx="1206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am Analytic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2" name="Group 1"/>
          <p:cNvGrpSpPr/>
          <p:nvPr/>
        </p:nvGrpSpPr>
        <p:grpSpPr>
          <a:xfrm>
            <a:off x="1755775" y="2570163"/>
            <a:ext cx="1320800" cy="1149351"/>
            <a:chOff x="1755775" y="2570163"/>
            <a:chExt cx="1320800" cy="1149351"/>
          </a:xfrm>
        </p:grpSpPr>
        <p:sp>
          <p:nvSpPr>
            <p:cNvPr id="37" name="Freeform 37"/>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Rectangle 49"/>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Rectangle 50"/>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rgbClr val="CCE3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rgbClr val="99C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rgbClr val="B2D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rgbClr val="DFE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1778000" y="2617788"/>
              <a:ext cx="2857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Oval 78"/>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Oval 79"/>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5" name="Group 124"/>
          <p:cNvGrpSpPr/>
          <p:nvPr/>
        </p:nvGrpSpPr>
        <p:grpSpPr>
          <a:xfrm>
            <a:off x="3182938" y="2781301"/>
            <a:ext cx="1455737" cy="723900"/>
            <a:chOff x="3182938" y="2781301"/>
            <a:chExt cx="1455737" cy="723900"/>
          </a:xfrm>
        </p:grpSpPr>
        <p:sp>
          <p:nvSpPr>
            <p:cNvPr id="18" name="Freeform 18"/>
            <p:cNvSpPr>
              <a:spLocks noEditPoints="1"/>
            </p:cNvSpPr>
            <p:nvPr/>
          </p:nvSpPr>
          <p:spPr bwMode="auto">
            <a:xfrm>
              <a:off x="3182938" y="3143251"/>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3455988"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Freeform 95"/>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Freeform 96"/>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Freeform 97"/>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7" name="Group 126"/>
          <p:cNvGrpSpPr/>
          <p:nvPr/>
        </p:nvGrpSpPr>
        <p:grpSpPr>
          <a:xfrm>
            <a:off x="8288338" y="2328863"/>
            <a:ext cx="2147887" cy="2238375"/>
            <a:chOff x="8288338" y="2328863"/>
            <a:chExt cx="2147887" cy="2238375"/>
          </a:xfrm>
        </p:grpSpPr>
        <p:sp>
          <p:nvSpPr>
            <p:cNvPr id="11" name="Freeform 11"/>
            <p:cNvSpPr>
              <a:spLocks noEditPoints="1"/>
            </p:cNvSpPr>
            <p:nvPr/>
          </p:nvSpPr>
          <p:spPr bwMode="auto">
            <a:xfrm>
              <a:off x="8785225" y="23288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lnTo>
                    <a:pt x="392" y="429"/>
                  </a:ln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lnTo>
                    <a:pt x="432" y="380"/>
                  </a:ln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lnTo>
                    <a:pt x="20" y="31"/>
                  </a:ln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1"/>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noEditPoints="1"/>
            </p:cNvSpPr>
            <p:nvPr/>
          </p:nvSpPr>
          <p:spPr bwMode="auto">
            <a:xfrm>
              <a:off x="8288338"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50 w 187"/>
                <a:gd name="T23" fmla="*/ 19 h 19"/>
                <a:gd name="T24" fmla="*/ 150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50" y="19"/>
                  </a:lnTo>
                  <a:lnTo>
                    <a:pt x="150"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562975"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6"/>
            <p:cNvSpPr>
              <a:spLocks noChangeArrowheads="1"/>
            </p:cNvSpPr>
            <p:nvPr/>
          </p:nvSpPr>
          <p:spPr bwMode="auto">
            <a:xfrm>
              <a:off x="9134475" y="4048126"/>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Rectangle 27"/>
            <p:cNvSpPr>
              <a:spLocks noChangeArrowheads="1"/>
            </p:cNvSpPr>
            <p:nvPr/>
          </p:nvSpPr>
          <p:spPr bwMode="auto">
            <a:xfrm>
              <a:off x="937736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9434513" y="4048126"/>
              <a:ext cx="800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 data in</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9186863" y="4262438"/>
              <a:ext cx="1011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QL Onlin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8" name="Freeform 98"/>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Oval 101"/>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Oval 102"/>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Freeform 103"/>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Freeform 104"/>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Freeform 105"/>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Freeform 106"/>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6" name="Group 125"/>
          <p:cNvGrpSpPr/>
          <p:nvPr/>
        </p:nvGrpSpPr>
        <p:grpSpPr>
          <a:xfrm>
            <a:off x="4803775" y="2328863"/>
            <a:ext cx="3395663" cy="2024063"/>
            <a:chOff x="4803775" y="2328863"/>
            <a:chExt cx="3395663" cy="2024063"/>
          </a:xfrm>
        </p:grpSpPr>
        <p:sp>
          <p:nvSpPr>
            <p:cNvPr id="12" name="Freeform 12"/>
            <p:cNvSpPr>
              <a:spLocks noEditPoints="1"/>
            </p:cNvSpPr>
            <p:nvPr/>
          </p:nvSpPr>
          <p:spPr bwMode="auto">
            <a:xfrm>
              <a:off x="4803775"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3"/>
            <p:cNvSpPr>
              <a:spLocks/>
            </p:cNvSpPr>
            <p:nvPr/>
          </p:nvSpPr>
          <p:spPr bwMode="auto">
            <a:xfrm>
              <a:off x="5078413"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6"/>
            <p:cNvSpPr>
              <a:spLocks noEditPoints="1"/>
            </p:cNvSpPr>
            <p:nvPr/>
          </p:nvSpPr>
          <p:spPr bwMode="auto">
            <a:xfrm>
              <a:off x="6535738" y="3143251"/>
              <a:ext cx="296863" cy="30163"/>
            </a:xfrm>
            <a:custGeom>
              <a:avLst/>
              <a:gdLst>
                <a:gd name="T0" fmla="*/ 165 w 187"/>
                <a:gd name="T1" fmla="*/ 19 h 19"/>
                <a:gd name="T2" fmla="*/ 187 w 187"/>
                <a:gd name="T3" fmla="*/ 19 h 19"/>
                <a:gd name="T4" fmla="*/ 187 w 187"/>
                <a:gd name="T5" fmla="*/ 0 h 19"/>
                <a:gd name="T6" fmla="*/ 165 w 187"/>
                <a:gd name="T7" fmla="*/ 0 h 19"/>
                <a:gd name="T8" fmla="*/ 165 w 187"/>
                <a:gd name="T9" fmla="*/ 19 h 19"/>
                <a:gd name="T10" fmla="*/ 165 w 187"/>
                <a:gd name="T11" fmla="*/ 19 h 19"/>
                <a:gd name="T12" fmla="*/ 165 w 187"/>
                <a:gd name="T13" fmla="*/ 19 h 19"/>
                <a:gd name="T14" fmla="*/ 165 w 187"/>
                <a:gd name="T15" fmla="*/ 0 h 19"/>
                <a:gd name="T16" fmla="*/ 165 w 187"/>
                <a:gd name="T17" fmla="*/ 0 h 19"/>
                <a:gd name="T18" fmla="*/ 165 w 187"/>
                <a:gd name="T19" fmla="*/ 19 h 19"/>
                <a:gd name="T20" fmla="*/ 111 w 187"/>
                <a:gd name="T21" fmla="*/ 19 h 19"/>
                <a:gd name="T22" fmla="*/ 146 w 187"/>
                <a:gd name="T23" fmla="*/ 19 h 19"/>
                <a:gd name="T24" fmla="*/ 146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4 w 187"/>
                <a:gd name="T41" fmla="*/ 19 h 19"/>
                <a:gd name="T42" fmla="*/ 92 w 187"/>
                <a:gd name="T43" fmla="*/ 19 h 19"/>
                <a:gd name="T44" fmla="*/ 92 w 187"/>
                <a:gd name="T45" fmla="*/ 0 h 19"/>
                <a:gd name="T46" fmla="*/ 54 w 187"/>
                <a:gd name="T47" fmla="*/ 0 h 19"/>
                <a:gd name="T48" fmla="*/ 54 w 187"/>
                <a:gd name="T49" fmla="*/ 19 h 19"/>
                <a:gd name="T50" fmla="*/ 54 w 187"/>
                <a:gd name="T51" fmla="*/ 19 h 19"/>
                <a:gd name="T52" fmla="*/ 54 w 187"/>
                <a:gd name="T53" fmla="*/ 19 h 19"/>
                <a:gd name="T54" fmla="*/ 54 w 187"/>
                <a:gd name="T55" fmla="*/ 0 h 19"/>
                <a:gd name="T56" fmla="*/ 54 w 187"/>
                <a:gd name="T57" fmla="*/ 0 h 19"/>
                <a:gd name="T58" fmla="*/ 54 w 187"/>
                <a:gd name="T59" fmla="*/ 19 h 19"/>
                <a:gd name="T60" fmla="*/ 0 w 187"/>
                <a:gd name="T61" fmla="*/ 19 h 19"/>
                <a:gd name="T62" fmla="*/ 35 w 187"/>
                <a:gd name="T63" fmla="*/ 19 h 19"/>
                <a:gd name="T64" fmla="*/ 35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5" y="19"/>
                  </a:moveTo>
                  <a:lnTo>
                    <a:pt x="187" y="19"/>
                  </a:lnTo>
                  <a:lnTo>
                    <a:pt x="187" y="0"/>
                  </a:lnTo>
                  <a:lnTo>
                    <a:pt x="165" y="0"/>
                  </a:lnTo>
                  <a:lnTo>
                    <a:pt x="165" y="19"/>
                  </a:lnTo>
                  <a:close/>
                  <a:moveTo>
                    <a:pt x="165" y="19"/>
                  </a:moveTo>
                  <a:lnTo>
                    <a:pt x="165" y="19"/>
                  </a:lnTo>
                  <a:lnTo>
                    <a:pt x="165" y="0"/>
                  </a:lnTo>
                  <a:lnTo>
                    <a:pt x="165" y="0"/>
                  </a:lnTo>
                  <a:lnTo>
                    <a:pt x="165" y="19"/>
                  </a:lnTo>
                  <a:close/>
                  <a:moveTo>
                    <a:pt x="111" y="19"/>
                  </a:moveTo>
                  <a:lnTo>
                    <a:pt x="146" y="19"/>
                  </a:lnTo>
                  <a:lnTo>
                    <a:pt x="146" y="0"/>
                  </a:lnTo>
                  <a:lnTo>
                    <a:pt x="111" y="0"/>
                  </a:lnTo>
                  <a:lnTo>
                    <a:pt x="111" y="19"/>
                  </a:lnTo>
                  <a:close/>
                  <a:moveTo>
                    <a:pt x="111" y="19"/>
                  </a:moveTo>
                  <a:lnTo>
                    <a:pt x="111" y="19"/>
                  </a:lnTo>
                  <a:lnTo>
                    <a:pt x="111" y="0"/>
                  </a:lnTo>
                  <a:lnTo>
                    <a:pt x="111" y="0"/>
                  </a:lnTo>
                  <a:lnTo>
                    <a:pt x="111" y="19"/>
                  </a:lnTo>
                  <a:close/>
                  <a:moveTo>
                    <a:pt x="54" y="19"/>
                  </a:moveTo>
                  <a:lnTo>
                    <a:pt x="92" y="19"/>
                  </a:lnTo>
                  <a:lnTo>
                    <a:pt x="92" y="0"/>
                  </a:lnTo>
                  <a:lnTo>
                    <a:pt x="54" y="0"/>
                  </a:lnTo>
                  <a:lnTo>
                    <a:pt x="54" y="19"/>
                  </a:lnTo>
                  <a:close/>
                  <a:moveTo>
                    <a:pt x="54" y="19"/>
                  </a:moveTo>
                  <a:lnTo>
                    <a:pt x="54" y="19"/>
                  </a:lnTo>
                  <a:lnTo>
                    <a:pt x="54" y="0"/>
                  </a:lnTo>
                  <a:lnTo>
                    <a:pt x="54" y="0"/>
                  </a:lnTo>
                  <a:lnTo>
                    <a:pt x="54" y="19"/>
                  </a:lnTo>
                  <a:close/>
                  <a:moveTo>
                    <a:pt x="0" y="19"/>
                  </a:moveTo>
                  <a:lnTo>
                    <a:pt x="35" y="19"/>
                  </a:lnTo>
                  <a:lnTo>
                    <a:pt x="35"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6810375" y="30829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5799138" y="24558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5330825" y="2455863"/>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30"/>
            <p:cNvSpPr>
              <a:spLocks noChangeArrowheads="1"/>
            </p:cNvSpPr>
            <p:nvPr/>
          </p:nvSpPr>
          <p:spPr bwMode="auto">
            <a:xfrm>
              <a:off x="5708650" y="4048126"/>
              <a:ext cx="200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5780088" y="4048126"/>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24681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302375" y="4048126"/>
              <a:ext cx="1074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to structu</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Rectangle 34"/>
            <p:cNvSpPr>
              <a:spLocks noChangeArrowheads="1"/>
            </p:cNvSpPr>
            <p:nvPr/>
          </p:nvSpPr>
          <p:spPr bwMode="auto">
            <a:xfrm>
              <a:off x="7215188"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 name="Rectangle 35"/>
            <p:cNvSpPr>
              <a:spLocks noChangeArrowheads="1"/>
            </p:cNvSpPr>
            <p:nvPr/>
          </p:nvSpPr>
          <p:spPr bwMode="auto">
            <a:xfrm>
              <a:off x="7270750" y="4048126"/>
              <a:ext cx="714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 name="Freeform 36"/>
            <p:cNvSpPr>
              <a:spLocks noEditPoints="1"/>
            </p:cNvSpPr>
            <p:nvPr/>
          </p:nvSpPr>
          <p:spPr bwMode="auto">
            <a:xfrm>
              <a:off x="5353050" y="2328863"/>
              <a:ext cx="2846388" cy="1657350"/>
            </a:xfrm>
            <a:custGeom>
              <a:avLst/>
              <a:gdLst>
                <a:gd name="T0" fmla="*/ 158 w 758"/>
                <a:gd name="T1" fmla="*/ 8 h 440"/>
                <a:gd name="T2" fmla="*/ 197 w 758"/>
                <a:gd name="T3" fmla="*/ 9 h 440"/>
                <a:gd name="T4" fmla="*/ 220 w 758"/>
                <a:gd name="T5" fmla="*/ 8 h 440"/>
                <a:gd name="T6" fmla="*/ 265 w 758"/>
                <a:gd name="T7" fmla="*/ 0 h 440"/>
                <a:gd name="T8" fmla="*/ 273 w 758"/>
                <a:gd name="T9" fmla="*/ 8 h 440"/>
                <a:gd name="T10" fmla="*/ 311 w 758"/>
                <a:gd name="T11" fmla="*/ 0 h 440"/>
                <a:gd name="T12" fmla="*/ 341 w 758"/>
                <a:gd name="T13" fmla="*/ 0 h 440"/>
                <a:gd name="T14" fmla="*/ 380 w 758"/>
                <a:gd name="T15" fmla="*/ 8 h 440"/>
                <a:gd name="T16" fmla="*/ 425 w 758"/>
                <a:gd name="T17" fmla="*/ 0 h 440"/>
                <a:gd name="T18" fmla="*/ 433 w 758"/>
                <a:gd name="T19" fmla="*/ 8 h 440"/>
                <a:gd name="T20" fmla="*/ 471 w 758"/>
                <a:gd name="T21" fmla="*/ 0 h 440"/>
                <a:gd name="T22" fmla="*/ 501 w 758"/>
                <a:gd name="T23" fmla="*/ 0 h 440"/>
                <a:gd name="T24" fmla="*/ 539 w 758"/>
                <a:gd name="T25" fmla="*/ 8 h 440"/>
                <a:gd name="T26" fmla="*/ 585 w 758"/>
                <a:gd name="T27" fmla="*/ 4 h 440"/>
                <a:gd name="T28" fmla="*/ 591 w 758"/>
                <a:gd name="T29" fmla="*/ 13 h 440"/>
                <a:gd name="T30" fmla="*/ 630 w 758"/>
                <a:gd name="T31" fmla="*/ 18 h 440"/>
                <a:gd name="T32" fmla="*/ 657 w 758"/>
                <a:gd name="T33" fmla="*/ 33 h 440"/>
                <a:gd name="T34" fmla="*/ 683 w 758"/>
                <a:gd name="T35" fmla="*/ 62 h 440"/>
                <a:gd name="T36" fmla="*/ 719 w 758"/>
                <a:gd name="T37" fmla="*/ 91 h 440"/>
                <a:gd name="T38" fmla="*/ 716 w 758"/>
                <a:gd name="T39" fmla="*/ 101 h 440"/>
                <a:gd name="T40" fmla="*/ 741 w 758"/>
                <a:gd name="T41" fmla="*/ 131 h 440"/>
                <a:gd name="T42" fmla="*/ 751 w 758"/>
                <a:gd name="T43" fmla="*/ 161 h 440"/>
                <a:gd name="T44" fmla="*/ 750 w 758"/>
                <a:gd name="T45" fmla="*/ 199 h 440"/>
                <a:gd name="T46" fmla="*/ 750 w 758"/>
                <a:gd name="T47" fmla="*/ 222 h 440"/>
                <a:gd name="T48" fmla="*/ 754 w 758"/>
                <a:gd name="T49" fmla="*/ 268 h 440"/>
                <a:gd name="T50" fmla="*/ 744 w 758"/>
                <a:gd name="T51" fmla="*/ 274 h 440"/>
                <a:gd name="T52" fmla="*/ 740 w 758"/>
                <a:gd name="T53" fmla="*/ 312 h 440"/>
                <a:gd name="T54" fmla="*/ 725 w 758"/>
                <a:gd name="T55" fmla="*/ 339 h 440"/>
                <a:gd name="T56" fmla="*/ 696 w 758"/>
                <a:gd name="T57" fmla="*/ 365 h 440"/>
                <a:gd name="T58" fmla="*/ 667 w 758"/>
                <a:gd name="T59" fmla="*/ 401 h 440"/>
                <a:gd name="T60" fmla="*/ 656 w 758"/>
                <a:gd name="T61" fmla="*/ 399 h 440"/>
                <a:gd name="T62" fmla="*/ 626 w 758"/>
                <a:gd name="T63" fmla="*/ 423 h 440"/>
                <a:gd name="T64" fmla="*/ 597 w 758"/>
                <a:gd name="T65" fmla="*/ 433 h 440"/>
                <a:gd name="T66" fmla="*/ 558 w 758"/>
                <a:gd name="T67" fmla="*/ 432 h 440"/>
                <a:gd name="T68" fmla="*/ 535 w 758"/>
                <a:gd name="T69" fmla="*/ 432 h 440"/>
                <a:gd name="T70" fmla="*/ 490 w 758"/>
                <a:gd name="T71" fmla="*/ 440 h 440"/>
                <a:gd name="T72" fmla="*/ 482 w 758"/>
                <a:gd name="T73" fmla="*/ 432 h 440"/>
                <a:gd name="T74" fmla="*/ 444 w 758"/>
                <a:gd name="T75" fmla="*/ 440 h 440"/>
                <a:gd name="T76" fmla="*/ 414 w 758"/>
                <a:gd name="T77" fmla="*/ 440 h 440"/>
                <a:gd name="T78" fmla="*/ 376 w 758"/>
                <a:gd name="T79" fmla="*/ 432 h 440"/>
                <a:gd name="T80" fmla="*/ 330 w 758"/>
                <a:gd name="T81" fmla="*/ 440 h 440"/>
                <a:gd name="T82" fmla="*/ 322 w 758"/>
                <a:gd name="T83" fmla="*/ 432 h 440"/>
                <a:gd name="T84" fmla="*/ 284 w 758"/>
                <a:gd name="T85" fmla="*/ 440 h 440"/>
                <a:gd name="T86" fmla="*/ 254 w 758"/>
                <a:gd name="T87" fmla="*/ 440 h 440"/>
                <a:gd name="T88" fmla="*/ 216 w 758"/>
                <a:gd name="T89" fmla="*/ 432 h 440"/>
                <a:gd name="T90" fmla="*/ 170 w 758"/>
                <a:gd name="T91" fmla="*/ 435 h 440"/>
                <a:gd name="T92" fmla="*/ 164 w 758"/>
                <a:gd name="T93" fmla="*/ 426 h 440"/>
                <a:gd name="T94" fmla="*/ 126 w 758"/>
                <a:gd name="T95" fmla="*/ 421 h 440"/>
                <a:gd name="T96" fmla="*/ 99 w 758"/>
                <a:gd name="T97" fmla="*/ 406 h 440"/>
                <a:gd name="T98" fmla="*/ 73 w 758"/>
                <a:gd name="T99" fmla="*/ 376 h 440"/>
                <a:gd name="T100" fmla="*/ 38 w 758"/>
                <a:gd name="T101" fmla="*/ 347 h 440"/>
                <a:gd name="T102" fmla="*/ 40 w 758"/>
                <a:gd name="T103" fmla="*/ 336 h 440"/>
                <a:gd name="T104" fmla="*/ 16 w 758"/>
                <a:gd name="T105" fmla="*/ 306 h 440"/>
                <a:gd name="T106" fmla="*/ 6 w 758"/>
                <a:gd name="T107" fmla="*/ 277 h 440"/>
                <a:gd name="T108" fmla="*/ 8 w 758"/>
                <a:gd name="T109" fmla="*/ 238 h 440"/>
                <a:gd name="T110" fmla="*/ 8 w 758"/>
                <a:gd name="T111" fmla="*/ 215 h 440"/>
                <a:gd name="T112" fmla="*/ 5 w 758"/>
                <a:gd name="T113" fmla="*/ 169 h 440"/>
                <a:gd name="T114" fmla="*/ 14 w 758"/>
                <a:gd name="T115" fmla="*/ 16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8" h="440">
                  <a:moveTo>
                    <a:pt x="151" y="10"/>
                  </a:moveTo>
                  <a:cubicBezTo>
                    <a:pt x="150" y="10"/>
                    <a:pt x="150" y="10"/>
                    <a:pt x="149" y="10"/>
                  </a:cubicBezTo>
                  <a:cubicBezTo>
                    <a:pt x="151" y="18"/>
                    <a:pt x="151" y="18"/>
                    <a:pt x="151" y="18"/>
                  </a:cubicBezTo>
                  <a:cubicBezTo>
                    <a:pt x="152" y="18"/>
                    <a:pt x="153" y="17"/>
                    <a:pt x="153" y="17"/>
                  </a:cubicBezTo>
                  <a:cubicBezTo>
                    <a:pt x="151" y="10"/>
                    <a:pt x="151" y="10"/>
                    <a:pt x="151" y="10"/>
                  </a:cubicBezTo>
                  <a:close/>
                  <a:moveTo>
                    <a:pt x="174" y="4"/>
                  </a:moveTo>
                  <a:cubicBezTo>
                    <a:pt x="168" y="5"/>
                    <a:pt x="163" y="6"/>
                    <a:pt x="158" y="8"/>
                  </a:cubicBezTo>
                  <a:cubicBezTo>
                    <a:pt x="161" y="15"/>
                    <a:pt x="161" y="15"/>
                    <a:pt x="161" y="15"/>
                  </a:cubicBezTo>
                  <a:cubicBezTo>
                    <a:pt x="165" y="14"/>
                    <a:pt x="170" y="13"/>
                    <a:pt x="175" y="12"/>
                  </a:cubicBezTo>
                  <a:cubicBezTo>
                    <a:pt x="174" y="4"/>
                    <a:pt x="174" y="4"/>
                    <a:pt x="174" y="4"/>
                  </a:cubicBezTo>
                  <a:close/>
                  <a:moveTo>
                    <a:pt x="197" y="1"/>
                  </a:moveTo>
                  <a:cubicBezTo>
                    <a:pt x="191" y="1"/>
                    <a:pt x="186" y="2"/>
                    <a:pt x="181" y="3"/>
                  </a:cubicBezTo>
                  <a:cubicBezTo>
                    <a:pt x="182" y="10"/>
                    <a:pt x="182" y="10"/>
                    <a:pt x="182" y="10"/>
                  </a:cubicBezTo>
                  <a:cubicBezTo>
                    <a:pt x="187" y="10"/>
                    <a:pt x="192" y="9"/>
                    <a:pt x="197" y="9"/>
                  </a:cubicBezTo>
                  <a:lnTo>
                    <a:pt x="197" y="1"/>
                  </a:lnTo>
                  <a:close/>
                  <a:moveTo>
                    <a:pt x="220" y="0"/>
                  </a:moveTo>
                  <a:cubicBezTo>
                    <a:pt x="214" y="0"/>
                    <a:pt x="214" y="0"/>
                    <a:pt x="214" y="0"/>
                  </a:cubicBezTo>
                  <a:cubicBezTo>
                    <a:pt x="211" y="0"/>
                    <a:pt x="208" y="0"/>
                    <a:pt x="204" y="0"/>
                  </a:cubicBezTo>
                  <a:cubicBezTo>
                    <a:pt x="205" y="8"/>
                    <a:pt x="205" y="8"/>
                    <a:pt x="205" y="8"/>
                  </a:cubicBezTo>
                  <a:cubicBezTo>
                    <a:pt x="208" y="8"/>
                    <a:pt x="211" y="8"/>
                    <a:pt x="214" y="8"/>
                  </a:cubicBezTo>
                  <a:cubicBezTo>
                    <a:pt x="220" y="8"/>
                    <a:pt x="220" y="8"/>
                    <a:pt x="220" y="8"/>
                  </a:cubicBezTo>
                  <a:cubicBezTo>
                    <a:pt x="220" y="0"/>
                    <a:pt x="220" y="0"/>
                    <a:pt x="220" y="0"/>
                  </a:cubicBezTo>
                  <a:close/>
                  <a:moveTo>
                    <a:pt x="243" y="0"/>
                  </a:moveTo>
                  <a:cubicBezTo>
                    <a:pt x="227" y="0"/>
                    <a:pt x="227" y="0"/>
                    <a:pt x="227" y="0"/>
                  </a:cubicBezTo>
                  <a:cubicBezTo>
                    <a:pt x="227" y="8"/>
                    <a:pt x="227" y="8"/>
                    <a:pt x="227" y="8"/>
                  </a:cubicBezTo>
                  <a:cubicBezTo>
                    <a:pt x="243" y="8"/>
                    <a:pt x="243" y="8"/>
                    <a:pt x="243" y="8"/>
                  </a:cubicBezTo>
                  <a:lnTo>
                    <a:pt x="243" y="0"/>
                  </a:lnTo>
                  <a:close/>
                  <a:moveTo>
                    <a:pt x="265" y="0"/>
                  </a:moveTo>
                  <a:cubicBezTo>
                    <a:pt x="250" y="0"/>
                    <a:pt x="250" y="0"/>
                    <a:pt x="250" y="0"/>
                  </a:cubicBezTo>
                  <a:cubicBezTo>
                    <a:pt x="250" y="8"/>
                    <a:pt x="250" y="8"/>
                    <a:pt x="250" y="8"/>
                  </a:cubicBezTo>
                  <a:cubicBezTo>
                    <a:pt x="265" y="8"/>
                    <a:pt x="265" y="8"/>
                    <a:pt x="265" y="8"/>
                  </a:cubicBezTo>
                  <a:lnTo>
                    <a:pt x="265" y="0"/>
                  </a:lnTo>
                  <a:close/>
                  <a:moveTo>
                    <a:pt x="288" y="0"/>
                  </a:moveTo>
                  <a:cubicBezTo>
                    <a:pt x="273" y="0"/>
                    <a:pt x="273" y="0"/>
                    <a:pt x="273" y="0"/>
                  </a:cubicBezTo>
                  <a:cubicBezTo>
                    <a:pt x="273" y="8"/>
                    <a:pt x="273" y="8"/>
                    <a:pt x="273" y="8"/>
                  </a:cubicBezTo>
                  <a:cubicBezTo>
                    <a:pt x="288" y="8"/>
                    <a:pt x="288" y="8"/>
                    <a:pt x="288" y="8"/>
                  </a:cubicBezTo>
                  <a:lnTo>
                    <a:pt x="288" y="0"/>
                  </a:lnTo>
                  <a:close/>
                  <a:moveTo>
                    <a:pt x="311" y="0"/>
                  </a:moveTo>
                  <a:cubicBezTo>
                    <a:pt x="296" y="0"/>
                    <a:pt x="296" y="0"/>
                    <a:pt x="296" y="0"/>
                  </a:cubicBezTo>
                  <a:cubicBezTo>
                    <a:pt x="296" y="8"/>
                    <a:pt x="296" y="8"/>
                    <a:pt x="296" y="8"/>
                  </a:cubicBezTo>
                  <a:cubicBezTo>
                    <a:pt x="311" y="8"/>
                    <a:pt x="311" y="8"/>
                    <a:pt x="311" y="8"/>
                  </a:cubicBezTo>
                  <a:lnTo>
                    <a:pt x="311" y="0"/>
                  </a:lnTo>
                  <a:close/>
                  <a:moveTo>
                    <a:pt x="334" y="0"/>
                  </a:moveTo>
                  <a:cubicBezTo>
                    <a:pt x="319" y="0"/>
                    <a:pt x="319" y="0"/>
                    <a:pt x="319" y="0"/>
                  </a:cubicBezTo>
                  <a:cubicBezTo>
                    <a:pt x="319" y="8"/>
                    <a:pt x="319" y="8"/>
                    <a:pt x="319" y="8"/>
                  </a:cubicBezTo>
                  <a:cubicBezTo>
                    <a:pt x="334" y="8"/>
                    <a:pt x="334" y="8"/>
                    <a:pt x="334" y="8"/>
                  </a:cubicBezTo>
                  <a:lnTo>
                    <a:pt x="334" y="0"/>
                  </a:lnTo>
                  <a:close/>
                  <a:moveTo>
                    <a:pt x="357" y="0"/>
                  </a:moveTo>
                  <a:cubicBezTo>
                    <a:pt x="341" y="0"/>
                    <a:pt x="341" y="0"/>
                    <a:pt x="341" y="0"/>
                  </a:cubicBezTo>
                  <a:cubicBezTo>
                    <a:pt x="341" y="8"/>
                    <a:pt x="341" y="8"/>
                    <a:pt x="341" y="8"/>
                  </a:cubicBezTo>
                  <a:cubicBezTo>
                    <a:pt x="357" y="8"/>
                    <a:pt x="357" y="8"/>
                    <a:pt x="357" y="8"/>
                  </a:cubicBezTo>
                  <a:lnTo>
                    <a:pt x="357" y="0"/>
                  </a:lnTo>
                  <a:close/>
                  <a:moveTo>
                    <a:pt x="380" y="0"/>
                  </a:moveTo>
                  <a:cubicBezTo>
                    <a:pt x="364" y="0"/>
                    <a:pt x="364" y="0"/>
                    <a:pt x="364" y="0"/>
                  </a:cubicBezTo>
                  <a:cubicBezTo>
                    <a:pt x="364" y="8"/>
                    <a:pt x="364" y="8"/>
                    <a:pt x="364" y="8"/>
                  </a:cubicBezTo>
                  <a:cubicBezTo>
                    <a:pt x="380" y="8"/>
                    <a:pt x="380" y="8"/>
                    <a:pt x="380" y="8"/>
                  </a:cubicBezTo>
                  <a:lnTo>
                    <a:pt x="380" y="0"/>
                  </a:lnTo>
                  <a:close/>
                  <a:moveTo>
                    <a:pt x="402" y="0"/>
                  </a:moveTo>
                  <a:cubicBezTo>
                    <a:pt x="387" y="0"/>
                    <a:pt x="387" y="0"/>
                    <a:pt x="387" y="0"/>
                  </a:cubicBezTo>
                  <a:cubicBezTo>
                    <a:pt x="387" y="8"/>
                    <a:pt x="387" y="8"/>
                    <a:pt x="387" y="8"/>
                  </a:cubicBezTo>
                  <a:cubicBezTo>
                    <a:pt x="402" y="8"/>
                    <a:pt x="402" y="8"/>
                    <a:pt x="402" y="8"/>
                  </a:cubicBezTo>
                  <a:lnTo>
                    <a:pt x="402" y="0"/>
                  </a:lnTo>
                  <a:close/>
                  <a:moveTo>
                    <a:pt x="425" y="0"/>
                  </a:moveTo>
                  <a:cubicBezTo>
                    <a:pt x="410" y="0"/>
                    <a:pt x="410" y="0"/>
                    <a:pt x="410" y="0"/>
                  </a:cubicBezTo>
                  <a:cubicBezTo>
                    <a:pt x="410" y="8"/>
                    <a:pt x="410" y="8"/>
                    <a:pt x="410" y="8"/>
                  </a:cubicBezTo>
                  <a:cubicBezTo>
                    <a:pt x="425" y="8"/>
                    <a:pt x="425" y="8"/>
                    <a:pt x="425" y="8"/>
                  </a:cubicBezTo>
                  <a:lnTo>
                    <a:pt x="425" y="0"/>
                  </a:lnTo>
                  <a:close/>
                  <a:moveTo>
                    <a:pt x="448" y="0"/>
                  </a:moveTo>
                  <a:cubicBezTo>
                    <a:pt x="433" y="0"/>
                    <a:pt x="433" y="0"/>
                    <a:pt x="433" y="0"/>
                  </a:cubicBezTo>
                  <a:cubicBezTo>
                    <a:pt x="433" y="8"/>
                    <a:pt x="433" y="8"/>
                    <a:pt x="433" y="8"/>
                  </a:cubicBezTo>
                  <a:cubicBezTo>
                    <a:pt x="448" y="8"/>
                    <a:pt x="448" y="8"/>
                    <a:pt x="448" y="8"/>
                  </a:cubicBezTo>
                  <a:lnTo>
                    <a:pt x="448" y="0"/>
                  </a:lnTo>
                  <a:close/>
                  <a:moveTo>
                    <a:pt x="471" y="0"/>
                  </a:moveTo>
                  <a:cubicBezTo>
                    <a:pt x="456" y="0"/>
                    <a:pt x="456" y="0"/>
                    <a:pt x="456" y="0"/>
                  </a:cubicBezTo>
                  <a:cubicBezTo>
                    <a:pt x="456" y="8"/>
                    <a:pt x="456" y="8"/>
                    <a:pt x="456" y="8"/>
                  </a:cubicBezTo>
                  <a:cubicBezTo>
                    <a:pt x="471" y="8"/>
                    <a:pt x="471" y="8"/>
                    <a:pt x="471" y="8"/>
                  </a:cubicBezTo>
                  <a:lnTo>
                    <a:pt x="471" y="0"/>
                  </a:lnTo>
                  <a:close/>
                  <a:moveTo>
                    <a:pt x="494" y="0"/>
                  </a:moveTo>
                  <a:cubicBezTo>
                    <a:pt x="478" y="0"/>
                    <a:pt x="478" y="0"/>
                    <a:pt x="478" y="0"/>
                  </a:cubicBezTo>
                  <a:cubicBezTo>
                    <a:pt x="478" y="8"/>
                    <a:pt x="478" y="8"/>
                    <a:pt x="478" y="8"/>
                  </a:cubicBezTo>
                  <a:cubicBezTo>
                    <a:pt x="494" y="8"/>
                    <a:pt x="494" y="8"/>
                    <a:pt x="494" y="8"/>
                  </a:cubicBezTo>
                  <a:lnTo>
                    <a:pt x="494" y="0"/>
                  </a:lnTo>
                  <a:close/>
                  <a:moveTo>
                    <a:pt x="516" y="0"/>
                  </a:moveTo>
                  <a:cubicBezTo>
                    <a:pt x="501" y="0"/>
                    <a:pt x="501" y="0"/>
                    <a:pt x="501" y="0"/>
                  </a:cubicBezTo>
                  <a:cubicBezTo>
                    <a:pt x="501" y="8"/>
                    <a:pt x="501" y="8"/>
                    <a:pt x="501" y="8"/>
                  </a:cubicBezTo>
                  <a:cubicBezTo>
                    <a:pt x="516" y="8"/>
                    <a:pt x="516" y="8"/>
                    <a:pt x="516" y="8"/>
                  </a:cubicBezTo>
                  <a:lnTo>
                    <a:pt x="516" y="0"/>
                  </a:lnTo>
                  <a:close/>
                  <a:moveTo>
                    <a:pt x="539" y="0"/>
                  </a:moveTo>
                  <a:cubicBezTo>
                    <a:pt x="524" y="0"/>
                    <a:pt x="524" y="0"/>
                    <a:pt x="524" y="0"/>
                  </a:cubicBezTo>
                  <a:cubicBezTo>
                    <a:pt x="524" y="8"/>
                    <a:pt x="524" y="8"/>
                    <a:pt x="524" y="8"/>
                  </a:cubicBezTo>
                  <a:cubicBezTo>
                    <a:pt x="539" y="8"/>
                    <a:pt x="539" y="8"/>
                    <a:pt x="539" y="8"/>
                  </a:cubicBezTo>
                  <a:lnTo>
                    <a:pt x="539" y="0"/>
                  </a:lnTo>
                  <a:close/>
                  <a:moveTo>
                    <a:pt x="562" y="1"/>
                  </a:moveTo>
                  <a:cubicBezTo>
                    <a:pt x="557" y="0"/>
                    <a:pt x="552" y="0"/>
                    <a:pt x="547" y="0"/>
                  </a:cubicBezTo>
                  <a:cubicBezTo>
                    <a:pt x="547" y="8"/>
                    <a:pt x="547" y="8"/>
                    <a:pt x="547" y="8"/>
                  </a:cubicBezTo>
                  <a:cubicBezTo>
                    <a:pt x="552" y="8"/>
                    <a:pt x="557" y="8"/>
                    <a:pt x="562" y="9"/>
                  </a:cubicBezTo>
                  <a:cubicBezTo>
                    <a:pt x="562" y="1"/>
                    <a:pt x="562" y="1"/>
                    <a:pt x="562" y="1"/>
                  </a:cubicBezTo>
                  <a:close/>
                  <a:moveTo>
                    <a:pt x="585" y="4"/>
                  </a:moveTo>
                  <a:cubicBezTo>
                    <a:pt x="580" y="3"/>
                    <a:pt x="575" y="2"/>
                    <a:pt x="570" y="2"/>
                  </a:cubicBezTo>
                  <a:cubicBezTo>
                    <a:pt x="569" y="9"/>
                    <a:pt x="569" y="9"/>
                    <a:pt x="569" y="9"/>
                  </a:cubicBezTo>
                  <a:cubicBezTo>
                    <a:pt x="574" y="10"/>
                    <a:pt x="579" y="11"/>
                    <a:pt x="584" y="12"/>
                  </a:cubicBezTo>
                  <a:lnTo>
                    <a:pt x="585" y="4"/>
                  </a:lnTo>
                  <a:close/>
                  <a:moveTo>
                    <a:pt x="608" y="10"/>
                  </a:moveTo>
                  <a:cubicBezTo>
                    <a:pt x="603" y="8"/>
                    <a:pt x="598" y="7"/>
                    <a:pt x="593" y="6"/>
                  </a:cubicBezTo>
                  <a:cubicBezTo>
                    <a:pt x="591" y="13"/>
                    <a:pt x="591" y="13"/>
                    <a:pt x="591" y="13"/>
                  </a:cubicBezTo>
                  <a:cubicBezTo>
                    <a:pt x="596" y="15"/>
                    <a:pt x="601" y="16"/>
                    <a:pt x="606" y="17"/>
                  </a:cubicBezTo>
                  <a:lnTo>
                    <a:pt x="608" y="10"/>
                  </a:lnTo>
                  <a:close/>
                  <a:moveTo>
                    <a:pt x="630" y="18"/>
                  </a:moveTo>
                  <a:cubicBezTo>
                    <a:pt x="625" y="16"/>
                    <a:pt x="620" y="14"/>
                    <a:pt x="615" y="12"/>
                  </a:cubicBezTo>
                  <a:cubicBezTo>
                    <a:pt x="613" y="20"/>
                    <a:pt x="613" y="20"/>
                    <a:pt x="613" y="20"/>
                  </a:cubicBezTo>
                  <a:cubicBezTo>
                    <a:pt x="617" y="21"/>
                    <a:pt x="622" y="23"/>
                    <a:pt x="627" y="25"/>
                  </a:cubicBezTo>
                  <a:cubicBezTo>
                    <a:pt x="630" y="18"/>
                    <a:pt x="630" y="18"/>
                    <a:pt x="630" y="18"/>
                  </a:cubicBezTo>
                  <a:close/>
                  <a:moveTo>
                    <a:pt x="650" y="29"/>
                  </a:moveTo>
                  <a:cubicBezTo>
                    <a:pt x="646" y="26"/>
                    <a:pt x="641" y="24"/>
                    <a:pt x="637" y="21"/>
                  </a:cubicBezTo>
                  <a:cubicBezTo>
                    <a:pt x="633" y="28"/>
                    <a:pt x="633" y="28"/>
                    <a:pt x="633" y="28"/>
                  </a:cubicBezTo>
                  <a:cubicBezTo>
                    <a:pt x="638" y="31"/>
                    <a:pt x="642" y="33"/>
                    <a:pt x="646" y="35"/>
                  </a:cubicBezTo>
                  <a:lnTo>
                    <a:pt x="650" y="29"/>
                  </a:lnTo>
                  <a:close/>
                  <a:moveTo>
                    <a:pt x="670" y="41"/>
                  </a:moveTo>
                  <a:cubicBezTo>
                    <a:pt x="666" y="38"/>
                    <a:pt x="661" y="35"/>
                    <a:pt x="657" y="33"/>
                  </a:cubicBezTo>
                  <a:cubicBezTo>
                    <a:pt x="653" y="39"/>
                    <a:pt x="653" y="39"/>
                    <a:pt x="653" y="39"/>
                  </a:cubicBezTo>
                  <a:cubicBezTo>
                    <a:pt x="657" y="42"/>
                    <a:pt x="661" y="45"/>
                    <a:pt x="665" y="48"/>
                  </a:cubicBezTo>
                  <a:cubicBezTo>
                    <a:pt x="670" y="41"/>
                    <a:pt x="670" y="41"/>
                    <a:pt x="670" y="41"/>
                  </a:cubicBezTo>
                  <a:close/>
                  <a:moveTo>
                    <a:pt x="688" y="56"/>
                  </a:moveTo>
                  <a:cubicBezTo>
                    <a:pt x="684" y="53"/>
                    <a:pt x="680" y="49"/>
                    <a:pt x="676" y="46"/>
                  </a:cubicBezTo>
                  <a:cubicBezTo>
                    <a:pt x="671" y="52"/>
                    <a:pt x="671" y="52"/>
                    <a:pt x="671" y="52"/>
                  </a:cubicBezTo>
                  <a:cubicBezTo>
                    <a:pt x="675" y="55"/>
                    <a:pt x="679" y="58"/>
                    <a:pt x="683" y="62"/>
                  </a:cubicBezTo>
                  <a:cubicBezTo>
                    <a:pt x="688" y="56"/>
                    <a:pt x="688" y="56"/>
                    <a:pt x="688" y="56"/>
                  </a:cubicBezTo>
                  <a:close/>
                  <a:moveTo>
                    <a:pt x="704" y="73"/>
                  </a:moveTo>
                  <a:cubicBezTo>
                    <a:pt x="701" y="69"/>
                    <a:pt x="697" y="65"/>
                    <a:pt x="693" y="61"/>
                  </a:cubicBezTo>
                  <a:cubicBezTo>
                    <a:pt x="688" y="67"/>
                    <a:pt x="688" y="67"/>
                    <a:pt x="688" y="67"/>
                  </a:cubicBezTo>
                  <a:cubicBezTo>
                    <a:pt x="692" y="70"/>
                    <a:pt x="695" y="74"/>
                    <a:pt x="698" y="78"/>
                  </a:cubicBezTo>
                  <a:cubicBezTo>
                    <a:pt x="704" y="73"/>
                    <a:pt x="704" y="73"/>
                    <a:pt x="704" y="73"/>
                  </a:cubicBezTo>
                  <a:close/>
                  <a:moveTo>
                    <a:pt x="719" y="91"/>
                  </a:moveTo>
                  <a:cubicBezTo>
                    <a:pt x="716" y="87"/>
                    <a:pt x="712" y="82"/>
                    <a:pt x="709" y="78"/>
                  </a:cubicBezTo>
                  <a:cubicBezTo>
                    <a:pt x="703" y="83"/>
                    <a:pt x="703" y="83"/>
                    <a:pt x="703" y="83"/>
                  </a:cubicBezTo>
                  <a:cubicBezTo>
                    <a:pt x="706" y="87"/>
                    <a:pt x="709" y="91"/>
                    <a:pt x="712" y="95"/>
                  </a:cubicBezTo>
                  <a:cubicBezTo>
                    <a:pt x="719" y="91"/>
                    <a:pt x="719" y="91"/>
                    <a:pt x="719" y="91"/>
                  </a:cubicBezTo>
                  <a:close/>
                  <a:moveTo>
                    <a:pt x="731" y="110"/>
                  </a:moveTo>
                  <a:cubicBezTo>
                    <a:pt x="728" y="106"/>
                    <a:pt x="726" y="101"/>
                    <a:pt x="723" y="97"/>
                  </a:cubicBezTo>
                  <a:cubicBezTo>
                    <a:pt x="716" y="101"/>
                    <a:pt x="716" y="101"/>
                    <a:pt x="716" y="101"/>
                  </a:cubicBezTo>
                  <a:cubicBezTo>
                    <a:pt x="719" y="106"/>
                    <a:pt x="722" y="110"/>
                    <a:pt x="724" y="114"/>
                  </a:cubicBezTo>
                  <a:cubicBezTo>
                    <a:pt x="731" y="110"/>
                    <a:pt x="731" y="110"/>
                    <a:pt x="731" y="110"/>
                  </a:cubicBezTo>
                  <a:close/>
                  <a:moveTo>
                    <a:pt x="741" y="131"/>
                  </a:moveTo>
                  <a:cubicBezTo>
                    <a:pt x="739" y="127"/>
                    <a:pt x="737" y="122"/>
                    <a:pt x="735" y="117"/>
                  </a:cubicBezTo>
                  <a:cubicBezTo>
                    <a:pt x="728" y="121"/>
                    <a:pt x="728" y="121"/>
                    <a:pt x="728" y="121"/>
                  </a:cubicBezTo>
                  <a:cubicBezTo>
                    <a:pt x="730" y="125"/>
                    <a:pt x="732" y="130"/>
                    <a:pt x="734" y="134"/>
                  </a:cubicBezTo>
                  <a:cubicBezTo>
                    <a:pt x="741" y="131"/>
                    <a:pt x="741" y="131"/>
                    <a:pt x="741" y="131"/>
                  </a:cubicBezTo>
                  <a:close/>
                  <a:moveTo>
                    <a:pt x="749" y="153"/>
                  </a:moveTo>
                  <a:cubicBezTo>
                    <a:pt x="748" y="148"/>
                    <a:pt x="746" y="143"/>
                    <a:pt x="744" y="138"/>
                  </a:cubicBezTo>
                  <a:cubicBezTo>
                    <a:pt x="737" y="141"/>
                    <a:pt x="737" y="141"/>
                    <a:pt x="737" y="141"/>
                  </a:cubicBezTo>
                  <a:cubicBezTo>
                    <a:pt x="739" y="146"/>
                    <a:pt x="740" y="151"/>
                    <a:pt x="742" y="155"/>
                  </a:cubicBezTo>
                  <a:cubicBezTo>
                    <a:pt x="749" y="153"/>
                    <a:pt x="749" y="153"/>
                    <a:pt x="749" y="153"/>
                  </a:cubicBezTo>
                  <a:close/>
                  <a:moveTo>
                    <a:pt x="754" y="176"/>
                  </a:moveTo>
                  <a:cubicBezTo>
                    <a:pt x="753" y="171"/>
                    <a:pt x="752" y="166"/>
                    <a:pt x="751" y="161"/>
                  </a:cubicBezTo>
                  <a:cubicBezTo>
                    <a:pt x="744" y="163"/>
                    <a:pt x="744" y="163"/>
                    <a:pt x="744" y="163"/>
                  </a:cubicBezTo>
                  <a:cubicBezTo>
                    <a:pt x="745" y="167"/>
                    <a:pt x="746" y="172"/>
                    <a:pt x="747" y="177"/>
                  </a:cubicBezTo>
                  <a:cubicBezTo>
                    <a:pt x="754" y="176"/>
                    <a:pt x="754" y="176"/>
                    <a:pt x="754" y="176"/>
                  </a:cubicBezTo>
                  <a:close/>
                  <a:moveTo>
                    <a:pt x="757" y="199"/>
                  </a:moveTo>
                  <a:cubicBezTo>
                    <a:pt x="757" y="194"/>
                    <a:pt x="756" y="188"/>
                    <a:pt x="756" y="183"/>
                  </a:cubicBezTo>
                  <a:cubicBezTo>
                    <a:pt x="748" y="185"/>
                    <a:pt x="748" y="185"/>
                    <a:pt x="748" y="185"/>
                  </a:cubicBezTo>
                  <a:cubicBezTo>
                    <a:pt x="749" y="189"/>
                    <a:pt x="749" y="194"/>
                    <a:pt x="750" y="199"/>
                  </a:cubicBezTo>
                  <a:cubicBezTo>
                    <a:pt x="757" y="199"/>
                    <a:pt x="757" y="199"/>
                    <a:pt x="757" y="199"/>
                  </a:cubicBezTo>
                  <a:close/>
                  <a:moveTo>
                    <a:pt x="758" y="222"/>
                  </a:moveTo>
                  <a:cubicBezTo>
                    <a:pt x="758" y="214"/>
                    <a:pt x="758" y="214"/>
                    <a:pt x="758" y="214"/>
                  </a:cubicBezTo>
                  <a:cubicBezTo>
                    <a:pt x="758" y="212"/>
                    <a:pt x="758" y="209"/>
                    <a:pt x="758" y="207"/>
                  </a:cubicBezTo>
                  <a:cubicBezTo>
                    <a:pt x="750" y="207"/>
                    <a:pt x="750" y="207"/>
                    <a:pt x="750" y="207"/>
                  </a:cubicBezTo>
                  <a:cubicBezTo>
                    <a:pt x="750" y="209"/>
                    <a:pt x="750" y="212"/>
                    <a:pt x="750" y="214"/>
                  </a:cubicBezTo>
                  <a:cubicBezTo>
                    <a:pt x="750" y="222"/>
                    <a:pt x="750" y="222"/>
                    <a:pt x="750" y="222"/>
                  </a:cubicBezTo>
                  <a:cubicBezTo>
                    <a:pt x="758" y="222"/>
                    <a:pt x="758" y="222"/>
                    <a:pt x="758" y="222"/>
                  </a:cubicBezTo>
                  <a:close/>
                  <a:moveTo>
                    <a:pt x="757" y="245"/>
                  </a:moveTo>
                  <a:cubicBezTo>
                    <a:pt x="757" y="240"/>
                    <a:pt x="758" y="235"/>
                    <a:pt x="758" y="230"/>
                  </a:cubicBezTo>
                  <a:cubicBezTo>
                    <a:pt x="750" y="229"/>
                    <a:pt x="750" y="229"/>
                    <a:pt x="750" y="229"/>
                  </a:cubicBezTo>
                  <a:cubicBezTo>
                    <a:pt x="750" y="234"/>
                    <a:pt x="750" y="239"/>
                    <a:pt x="749" y="244"/>
                  </a:cubicBezTo>
                  <a:cubicBezTo>
                    <a:pt x="757" y="245"/>
                    <a:pt x="757" y="245"/>
                    <a:pt x="757" y="245"/>
                  </a:cubicBezTo>
                  <a:close/>
                  <a:moveTo>
                    <a:pt x="754" y="268"/>
                  </a:moveTo>
                  <a:cubicBezTo>
                    <a:pt x="755" y="263"/>
                    <a:pt x="756" y="258"/>
                    <a:pt x="756" y="253"/>
                  </a:cubicBezTo>
                  <a:cubicBezTo>
                    <a:pt x="749" y="252"/>
                    <a:pt x="749" y="252"/>
                    <a:pt x="749" y="252"/>
                  </a:cubicBezTo>
                  <a:cubicBezTo>
                    <a:pt x="748" y="257"/>
                    <a:pt x="747" y="262"/>
                    <a:pt x="746" y="266"/>
                  </a:cubicBezTo>
                  <a:cubicBezTo>
                    <a:pt x="754" y="268"/>
                    <a:pt x="754" y="268"/>
                    <a:pt x="754" y="268"/>
                  </a:cubicBezTo>
                  <a:close/>
                  <a:moveTo>
                    <a:pt x="748" y="291"/>
                  </a:moveTo>
                  <a:cubicBezTo>
                    <a:pt x="749" y="286"/>
                    <a:pt x="751" y="281"/>
                    <a:pt x="752" y="276"/>
                  </a:cubicBezTo>
                  <a:cubicBezTo>
                    <a:pt x="744" y="274"/>
                    <a:pt x="744" y="274"/>
                    <a:pt x="744" y="274"/>
                  </a:cubicBezTo>
                  <a:cubicBezTo>
                    <a:pt x="743" y="279"/>
                    <a:pt x="742" y="283"/>
                    <a:pt x="740" y="288"/>
                  </a:cubicBezTo>
                  <a:cubicBezTo>
                    <a:pt x="748" y="291"/>
                    <a:pt x="748" y="291"/>
                    <a:pt x="748" y="291"/>
                  </a:cubicBezTo>
                  <a:close/>
                  <a:moveTo>
                    <a:pt x="740" y="312"/>
                  </a:moveTo>
                  <a:cubicBezTo>
                    <a:pt x="742" y="308"/>
                    <a:pt x="744" y="303"/>
                    <a:pt x="745" y="298"/>
                  </a:cubicBezTo>
                  <a:cubicBezTo>
                    <a:pt x="738" y="295"/>
                    <a:pt x="738" y="295"/>
                    <a:pt x="738" y="295"/>
                  </a:cubicBezTo>
                  <a:cubicBezTo>
                    <a:pt x="736" y="300"/>
                    <a:pt x="735" y="305"/>
                    <a:pt x="733" y="309"/>
                  </a:cubicBezTo>
                  <a:cubicBezTo>
                    <a:pt x="740" y="312"/>
                    <a:pt x="740" y="312"/>
                    <a:pt x="740" y="312"/>
                  </a:cubicBezTo>
                  <a:close/>
                  <a:moveTo>
                    <a:pt x="729" y="333"/>
                  </a:moveTo>
                  <a:cubicBezTo>
                    <a:pt x="732" y="328"/>
                    <a:pt x="734" y="324"/>
                    <a:pt x="736" y="319"/>
                  </a:cubicBezTo>
                  <a:cubicBezTo>
                    <a:pt x="729" y="316"/>
                    <a:pt x="729" y="316"/>
                    <a:pt x="729" y="316"/>
                  </a:cubicBezTo>
                  <a:cubicBezTo>
                    <a:pt x="727" y="320"/>
                    <a:pt x="725" y="325"/>
                    <a:pt x="722" y="329"/>
                  </a:cubicBezTo>
                  <a:cubicBezTo>
                    <a:pt x="729" y="333"/>
                    <a:pt x="729" y="333"/>
                    <a:pt x="729" y="333"/>
                  </a:cubicBezTo>
                  <a:close/>
                  <a:moveTo>
                    <a:pt x="716" y="352"/>
                  </a:moveTo>
                  <a:cubicBezTo>
                    <a:pt x="719" y="348"/>
                    <a:pt x="722" y="344"/>
                    <a:pt x="725" y="339"/>
                  </a:cubicBezTo>
                  <a:cubicBezTo>
                    <a:pt x="719" y="335"/>
                    <a:pt x="719" y="335"/>
                    <a:pt x="719" y="335"/>
                  </a:cubicBezTo>
                  <a:cubicBezTo>
                    <a:pt x="716" y="340"/>
                    <a:pt x="713" y="344"/>
                    <a:pt x="710" y="348"/>
                  </a:cubicBezTo>
                  <a:cubicBezTo>
                    <a:pt x="716" y="352"/>
                    <a:pt x="716" y="352"/>
                    <a:pt x="716" y="352"/>
                  </a:cubicBezTo>
                  <a:close/>
                  <a:moveTo>
                    <a:pt x="702" y="370"/>
                  </a:moveTo>
                  <a:cubicBezTo>
                    <a:pt x="705" y="366"/>
                    <a:pt x="708" y="362"/>
                    <a:pt x="712" y="358"/>
                  </a:cubicBezTo>
                  <a:cubicBezTo>
                    <a:pt x="706" y="354"/>
                    <a:pt x="706" y="354"/>
                    <a:pt x="706" y="354"/>
                  </a:cubicBezTo>
                  <a:cubicBezTo>
                    <a:pt x="702" y="358"/>
                    <a:pt x="699" y="361"/>
                    <a:pt x="696" y="365"/>
                  </a:cubicBezTo>
                  <a:cubicBezTo>
                    <a:pt x="702" y="370"/>
                    <a:pt x="702" y="370"/>
                    <a:pt x="702" y="370"/>
                  </a:cubicBezTo>
                  <a:close/>
                  <a:moveTo>
                    <a:pt x="685" y="386"/>
                  </a:moveTo>
                  <a:cubicBezTo>
                    <a:pt x="689" y="383"/>
                    <a:pt x="693" y="380"/>
                    <a:pt x="696" y="376"/>
                  </a:cubicBezTo>
                  <a:cubicBezTo>
                    <a:pt x="691" y="370"/>
                    <a:pt x="691" y="370"/>
                    <a:pt x="691" y="370"/>
                  </a:cubicBezTo>
                  <a:cubicBezTo>
                    <a:pt x="687" y="374"/>
                    <a:pt x="684" y="377"/>
                    <a:pt x="680" y="381"/>
                  </a:cubicBezTo>
                  <a:cubicBezTo>
                    <a:pt x="685" y="386"/>
                    <a:pt x="685" y="386"/>
                    <a:pt x="685" y="386"/>
                  </a:cubicBezTo>
                  <a:close/>
                  <a:moveTo>
                    <a:pt x="667" y="401"/>
                  </a:moveTo>
                  <a:cubicBezTo>
                    <a:pt x="671" y="398"/>
                    <a:pt x="675" y="395"/>
                    <a:pt x="679" y="391"/>
                  </a:cubicBezTo>
                  <a:cubicBezTo>
                    <a:pt x="674" y="385"/>
                    <a:pt x="674" y="385"/>
                    <a:pt x="674" y="385"/>
                  </a:cubicBezTo>
                  <a:cubicBezTo>
                    <a:pt x="670" y="389"/>
                    <a:pt x="666" y="392"/>
                    <a:pt x="662" y="395"/>
                  </a:cubicBezTo>
                  <a:cubicBezTo>
                    <a:pt x="667" y="401"/>
                    <a:pt x="667" y="401"/>
                    <a:pt x="667" y="401"/>
                  </a:cubicBezTo>
                  <a:close/>
                  <a:moveTo>
                    <a:pt x="647" y="413"/>
                  </a:moveTo>
                  <a:cubicBezTo>
                    <a:pt x="652" y="411"/>
                    <a:pt x="656" y="408"/>
                    <a:pt x="660" y="405"/>
                  </a:cubicBezTo>
                  <a:cubicBezTo>
                    <a:pt x="656" y="399"/>
                    <a:pt x="656" y="399"/>
                    <a:pt x="656" y="399"/>
                  </a:cubicBezTo>
                  <a:cubicBezTo>
                    <a:pt x="652" y="401"/>
                    <a:pt x="648" y="404"/>
                    <a:pt x="643" y="406"/>
                  </a:cubicBezTo>
                  <a:cubicBezTo>
                    <a:pt x="647" y="413"/>
                    <a:pt x="647" y="413"/>
                    <a:pt x="647" y="413"/>
                  </a:cubicBezTo>
                  <a:close/>
                  <a:moveTo>
                    <a:pt x="626" y="423"/>
                  </a:moveTo>
                  <a:cubicBezTo>
                    <a:pt x="631" y="421"/>
                    <a:pt x="636" y="419"/>
                    <a:pt x="640" y="417"/>
                  </a:cubicBezTo>
                  <a:cubicBezTo>
                    <a:pt x="637" y="410"/>
                    <a:pt x="637" y="410"/>
                    <a:pt x="637" y="410"/>
                  </a:cubicBezTo>
                  <a:cubicBezTo>
                    <a:pt x="632" y="412"/>
                    <a:pt x="628" y="414"/>
                    <a:pt x="623" y="416"/>
                  </a:cubicBezTo>
                  <a:cubicBezTo>
                    <a:pt x="626" y="423"/>
                    <a:pt x="626" y="423"/>
                    <a:pt x="626" y="423"/>
                  </a:cubicBezTo>
                  <a:close/>
                  <a:moveTo>
                    <a:pt x="604" y="431"/>
                  </a:moveTo>
                  <a:cubicBezTo>
                    <a:pt x="609" y="430"/>
                    <a:pt x="614" y="428"/>
                    <a:pt x="619" y="426"/>
                  </a:cubicBezTo>
                  <a:cubicBezTo>
                    <a:pt x="616" y="419"/>
                    <a:pt x="616" y="419"/>
                    <a:pt x="616" y="419"/>
                  </a:cubicBezTo>
                  <a:cubicBezTo>
                    <a:pt x="612" y="421"/>
                    <a:pt x="607" y="422"/>
                    <a:pt x="602" y="424"/>
                  </a:cubicBezTo>
                  <a:lnTo>
                    <a:pt x="604" y="431"/>
                  </a:lnTo>
                  <a:close/>
                  <a:moveTo>
                    <a:pt x="582" y="437"/>
                  </a:moveTo>
                  <a:cubicBezTo>
                    <a:pt x="587" y="436"/>
                    <a:pt x="592" y="435"/>
                    <a:pt x="597" y="433"/>
                  </a:cubicBezTo>
                  <a:cubicBezTo>
                    <a:pt x="595" y="426"/>
                    <a:pt x="595" y="426"/>
                    <a:pt x="595" y="426"/>
                  </a:cubicBezTo>
                  <a:cubicBezTo>
                    <a:pt x="590" y="427"/>
                    <a:pt x="585" y="428"/>
                    <a:pt x="580" y="429"/>
                  </a:cubicBezTo>
                  <a:cubicBezTo>
                    <a:pt x="582" y="437"/>
                    <a:pt x="582" y="437"/>
                    <a:pt x="582" y="437"/>
                  </a:cubicBezTo>
                  <a:close/>
                  <a:moveTo>
                    <a:pt x="559" y="439"/>
                  </a:moveTo>
                  <a:cubicBezTo>
                    <a:pt x="564" y="439"/>
                    <a:pt x="569" y="438"/>
                    <a:pt x="574" y="438"/>
                  </a:cubicBezTo>
                  <a:cubicBezTo>
                    <a:pt x="573" y="430"/>
                    <a:pt x="573" y="430"/>
                    <a:pt x="573" y="430"/>
                  </a:cubicBezTo>
                  <a:cubicBezTo>
                    <a:pt x="568" y="431"/>
                    <a:pt x="563" y="431"/>
                    <a:pt x="558" y="432"/>
                  </a:cubicBezTo>
                  <a:cubicBezTo>
                    <a:pt x="559" y="439"/>
                    <a:pt x="559" y="439"/>
                    <a:pt x="559" y="439"/>
                  </a:cubicBezTo>
                  <a:close/>
                  <a:moveTo>
                    <a:pt x="535" y="440"/>
                  </a:moveTo>
                  <a:cubicBezTo>
                    <a:pt x="544" y="440"/>
                    <a:pt x="544" y="440"/>
                    <a:pt x="544" y="440"/>
                  </a:cubicBezTo>
                  <a:cubicBezTo>
                    <a:pt x="546" y="440"/>
                    <a:pt x="549" y="440"/>
                    <a:pt x="551" y="440"/>
                  </a:cubicBezTo>
                  <a:cubicBezTo>
                    <a:pt x="551" y="432"/>
                    <a:pt x="551" y="432"/>
                    <a:pt x="551" y="432"/>
                  </a:cubicBezTo>
                  <a:cubicBezTo>
                    <a:pt x="548" y="432"/>
                    <a:pt x="546" y="432"/>
                    <a:pt x="544" y="432"/>
                  </a:cubicBezTo>
                  <a:cubicBezTo>
                    <a:pt x="535" y="432"/>
                    <a:pt x="535" y="432"/>
                    <a:pt x="535" y="432"/>
                  </a:cubicBezTo>
                  <a:cubicBezTo>
                    <a:pt x="535" y="440"/>
                    <a:pt x="535" y="440"/>
                    <a:pt x="535" y="440"/>
                  </a:cubicBez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lnTo>
                    <a:pt x="193" y="439"/>
                  </a:ln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lnTo>
                    <a:pt x="147" y="429"/>
                  </a:ln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lnTo>
                    <a:pt x="105" y="410"/>
                  </a:ln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lnTo>
                    <a:pt x="26" y="327"/>
                  </a:ln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lnTo>
                    <a:pt x="0" y="238"/>
                  </a:ln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7075488" y="3022601"/>
              <a:ext cx="106363"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Rectangle 108"/>
            <p:cNvSpPr>
              <a:spLocks noChangeArrowheads="1"/>
            </p:cNvSpPr>
            <p:nvPr/>
          </p:nvSpPr>
          <p:spPr bwMode="auto">
            <a:xfrm>
              <a:off x="7234238"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Rectangle 109"/>
            <p:cNvSpPr>
              <a:spLocks noChangeArrowheads="1"/>
            </p:cNvSpPr>
            <p:nvPr/>
          </p:nvSpPr>
          <p:spPr bwMode="auto">
            <a:xfrm>
              <a:off x="7396163"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Rectangle 110"/>
            <p:cNvSpPr>
              <a:spLocks noChangeArrowheads="1"/>
            </p:cNvSpPr>
            <p:nvPr/>
          </p:nvSpPr>
          <p:spPr bwMode="auto">
            <a:xfrm>
              <a:off x="7556500" y="3022601"/>
              <a:ext cx="109538"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1" name="Rectangle 111"/>
            <p:cNvSpPr>
              <a:spLocks noChangeArrowheads="1"/>
            </p:cNvSpPr>
            <p:nvPr/>
          </p:nvSpPr>
          <p:spPr bwMode="auto">
            <a:xfrm>
              <a:off x="7075488" y="3184526"/>
              <a:ext cx="106363"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2" name="Rectangle 112"/>
            <p:cNvSpPr>
              <a:spLocks noChangeArrowheads="1"/>
            </p:cNvSpPr>
            <p:nvPr/>
          </p:nvSpPr>
          <p:spPr bwMode="auto">
            <a:xfrm>
              <a:off x="7234238"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3" name="Rectangle 113"/>
            <p:cNvSpPr>
              <a:spLocks noChangeArrowheads="1"/>
            </p:cNvSpPr>
            <p:nvPr/>
          </p:nvSpPr>
          <p:spPr bwMode="auto">
            <a:xfrm>
              <a:off x="7396163"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4" name="Rectangle 114"/>
            <p:cNvSpPr>
              <a:spLocks noChangeArrowheads="1"/>
            </p:cNvSpPr>
            <p:nvPr/>
          </p:nvSpPr>
          <p:spPr bwMode="auto">
            <a:xfrm>
              <a:off x="7556500" y="3184526"/>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5" name="Rectangle 115"/>
            <p:cNvSpPr>
              <a:spLocks noChangeArrowheads="1"/>
            </p:cNvSpPr>
            <p:nvPr/>
          </p:nvSpPr>
          <p:spPr bwMode="auto">
            <a:xfrm>
              <a:off x="5859463" y="3130551"/>
              <a:ext cx="104775"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6" name="Rectangle 116"/>
            <p:cNvSpPr>
              <a:spLocks noChangeArrowheads="1"/>
            </p:cNvSpPr>
            <p:nvPr/>
          </p:nvSpPr>
          <p:spPr bwMode="auto">
            <a:xfrm>
              <a:off x="6099175" y="2976563"/>
              <a:ext cx="106363"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7" name="Rectangle 117"/>
            <p:cNvSpPr>
              <a:spLocks noChangeArrowheads="1"/>
            </p:cNvSpPr>
            <p:nvPr/>
          </p:nvSpPr>
          <p:spPr bwMode="auto">
            <a:xfrm>
              <a:off x="6205538" y="3176588"/>
              <a:ext cx="104775"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8" name="Rectangle 118"/>
            <p:cNvSpPr>
              <a:spLocks noChangeArrowheads="1"/>
            </p:cNvSpPr>
            <p:nvPr/>
          </p:nvSpPr>
          <p:spPr bwMode="auto">
            <a:xfrm>
              <a:off x="6340475" y="302577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9" name="Rectangle 119"/>
            <p:cNvSpPr>
              <a:spLocks noChangeArrowheads="1"/>
            </p:cNvSpPr>
            <p:nvPr/>
          </p:nvSpPr>
          <p:spPr bwMode="auto">
            <a:xfrm>
              <a:off x="5749925" y="3357563"/>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0" name="Rectangle 120"/>
            <p:cNvSpPr>
              <a:spLocks noChangeArrowheads="1"/>
            </p:cNvSpPr>
            <p:nvPr/>
          </p:nvSpPr>
          <p:spPr bwMode="auto">
            <a:xfrm>
              <a:off x="6016625" y="3289301"/>
              <a:ext cx="109538"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1" name="Rectangle 121"/>
            <p:cNvSpPr>
              <a:spLocks noChangeArrowheads="1"/>
            </p:cNvSpPr>
            <p:nvPr/>
          </p:nvSpPr>
          <p:spPr bwMode="auto">
            <a:xfrm>
              <a:off x="6178550" y="3492501"/>
              <a:ext cx="109538"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2" name="Rectangle 122"/>
            <p:cNvSpPr>
              <a:spLocks noChangeArrowheads="1"/>
            </p:cNvSpPr>
            <p:nvPr/>
          </p:nvSpPr>
          <p:spPr bwMode="auto">
            <a:xfrm>
              <a:off x="6340475" y="3357563"/>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23"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24"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stream processing </a:t>
            </a:r>
          </a:p>
        </p:txBody>
      </p:sp>
    </p:spTree>
    <p:extLst>
      <p:ext uri="{BB962C8B-B14F-4D97-AF65-F5344CB8AC3E}">
        <p14:creationId xmlns:p14="http://schemas.microsoft.com/office/powerpoint/2010/main" val="1020867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833688" y="2189046"/>
            <a:ext cx="6524625" cy="341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7207" name="Group 7206"/>
          <p:cNvGrpSpPr/>
          <p:nvPr/>
        </p:nvGrpSpPr>
        <p:grpSpPr>
          <a:xfrm>
            <a:off x="8277226" y="2203334"/>
            <a:ext cx="1050925" cy="1557338"/>
            <a:chOff x="8277226" y="2203334"/>
            <a:chExt cx="1050925" cy="1557338"/>
          </a:xfrm>
        </p:grpSpPr>
        <p:sp>
          <p:nvSpPr>
            <p:cNvPr id="12" name="Freeform 11"/>
            <p:cNvSpPr>
              <a:spLocks noEditPoints="1"/>
            </p:cNvSpPr>
            <p:nvPr/>
          </p:nvSpPr>
          <p:spPr bwMode="auto">
            <a:xfrm>
              <a:off x="8786813" y="3460634"/>
              <a:ext cx="30163" cy="300038"/>
            </a:xfrm>
            <a:custGeom>
              <a:avLst/>
              <a:gdLst>
                <a:gd name="T0" fmla="*/ 19 w 19"/>
                <a:gd name="T1" fmla="*/ 21 h 189"/>
                <a:gd name="T2" fmla="*/ 19 w 19"/>
                <a:gd name="T3" fmla="*/ 0 h 189"/>
                <a:gd name="T4" fmla="*/ 0 w 19"/>
                <a:gd name="T5" fmla="*/ 0 h 189"/>
                <a:gd name="T6" fmla="*/ 0 w 19"/>
                <a:gd name="T7" fmla="*/ 21 h 189"/>
                <a:gd name="T8" fmla="*/ 19 w 19"/>
                <a:gd name="T9" fmla="*/ 21 h 189"/>
                <a:gd name="T10" fmla="*/ 19 w 19"/>
                <a:gd name="T11" fmla="*/ 21 h 189"/>
                <a:gd name="T12" fmla="*/ 19 w 19"/>
                <a:gd name="T13" fmla="*/ 21 h 189"/>
                <a:gd name="T14" fmla="*/ 0 w 19"/>
                <a:gd name="T15" fmla="*/ 21 h 189"/>
                <a:gd name="T16" fmla="*/ 0 w 19"/>
                <a:gd name="T17" fmla="*/ 21 h 189"/>
                <a:gd name="T18" fmla="*/ 19 w 19"/>
                <a:gd name="T19" fmla="*/ 21 h 189"/>
                <a:gd name="T20" fmla="*/ 19 w 19"/>
                <a:gd name="T21" fmla="*/ 76 h 189"/>
                <a:gd name="T22" fmla="*/ 19 w 19"/>
                <a:gd name="T23" fmla="*/ 40 h 189"/>
                <a:gd name="T24" fmla="*/ 0 w 19"/>
                <a:gd name="T25" fmla="*/ 40 h 189"/>
                <a:gd name="T26" fmla="*/ 0 w 19"/>
                <a:gd name="T27" fmla="*/ 76 h 189"/>
                <a:gd name="T28" fmla="*/ 19 w 19"/>
                <a:gd name="T29" fmla="*/ 76 h 189"/>
                <a:gd name="T30" fmla="*/ 19 w 19"/>
                <a:gd name="T31" fmla="*/ 76 h 189"/>
                <a:gd name="T32" fmla="*/ 19 w 19"/>
                <a:gd name="T33" fmla="*/ 76 h 189"/>
                <a:gd name="T34" fmla="*/ 0 w 19"/>
                <a:gd name="T35" fmla="*/ 76 h 189"/>
                <a:gd name="T36" fmla="*/ 0 w 19"/>
                <a:gd name="T37" fmla="*/ 76 h 189"/>
                <a:gd name="T38" fmla="*/ 19 w 19"/>
                <a:gd name="T39" fmla="*/ 76 h 189"/>
                <a:gd name="T40" fmla="*/ 19 w 19"/>
                <a:gd name="T41" fmla="*/ 133 h 189"/>
                <a:gd name="T42" fmla="*/ 19 w 19"/>
                <a:gd name="T43" fmla="*/ 95 h 189"/>
                <a:gd name="T44" fmla="*/ 0 w 19"/>
                <a:gd name="T45" fmla="*/ 95 h 189"/>
                <a:gd name="T46" fmla="*/ 0 w 19"/>
                <a:gd name="T47" fmla="*/ 133 h 189"/>
                <a:gd name="T48" fmla="*/ 19 w 19"/>
                <a:gd name="T49" fmla="*/ 133 h 189"/>
                <a:gd name="T50" fmla="*/ 19 w 19"/>
                <a:gd name="T51" fmla="*/ 133 h 189"/>
                <a:gd name="T52" fmla="*/ 19 w 19"/>
                <a:gd name="T53" fmla="*/ 133 h 189"/>
                <a:gd name="T54" fmla="*/ 0 w 19"/>
                <a:gd name="T55" fmla="*/ 133 h 189"/>
                <a:gd name="T56" fmla="*/ 0 w 19"/>
                <a:gd name="T57" fmla="*/ 133 h 189"/>
                <a:gd name="T58" fmla="*/ 19 w 19"/>
                <a:gd name="T59" fmla="*/ 133 h 189"/>
                <a:gd name="T60" fmla="*/ 19 w 19"/>
                <a:gd name="T61" fmla="*/ 189 h 189"/>
                <a:gd name="T62" fmla="*/ 19 w 19"/>
                <a:gd name="T63" fmla="*/ 152 h 189"/>
                <a:gd name="T64" fmla="*/ 0 w 19"/>
                <a:gd name="T65" fmla="*/ 152 h 189"/>
                <a:gd name="T66" fmla="*/ 0 w 19"/>
                <a:gd name="T67" fmla="*/ 189 h 189"/>
                <a:gd name="T68" fmla="*/ 19 w 19"/>
                <a:gd name="T6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19" y="21"/>
                  </a:moveTo>
                  <a:lnTo>
                    <a:pt x="19" y="0"/>
                  </a:lnTo>
                  <a:lnTo>
                    <a:pt x="0" y="0"/>
                  </a:lnTo>
                  <a:lnTo>
                    <a:pt x="0" y="21"/>
                  </a:lnTo>
                  <a:lnTo>
                    <a:pt x="19" y="21"/>
                  </a:lnTo>
                  <a:close/>
                  <a:moveTo>
                    <a:pt x="19" y="21"/>
                  </a:moveTo>
                  <a:lnTo>
                    <a:pt x="19" y="21"/>
                  </a:lnTo>
                  <a:lnTo>
                    <a:pt x="0" y="21"/>
                  </a:lnTo>
                  <a:lnTo>
                    <a:pt x="0" y="21"/>
                  </a:lnTo>
                  <a:lnTo>
                    <a:pt x="19" y="21"/>
                  </a:lnTo>
                  <a:close/>
                  <a:moveTo>
                    <a:pt x="19" y="76"/>
                  </a:moveTo>
                  <a:lnTo>
                    <a:pt x="19" y="40"/>
                  </a:lnTo>
                  <a:lnTo>
                    <a:pt x="0" y="40"/>
                  </a:lnTo>
                  <a:lnTo>
                    <a:pt x="0" y="76"/>
                  </a:lnTo>
                  <a:lnTo>
                    <a:pt x="19" y="76"/>
                  </a:lnTo>
                  <a:close/>
                  <a:moveTo>
                    <a:pt x="19" y="76"/>
                  </a:moveTo>
                  <a:lnTo>
                    <a:pt x="19" y="76"/>
                  </a:lnTo>
                  <a:lnTo>
                    <a:pt x="0" y="76"/>
                  </a:lnTo>
                  <a:lnTo>
                    <a:pt x="0" y="76"/>
                  </a:lnTo>
                  <a:lnTo>
                    <a:pt x="19" y="76"/>
                  </a:lnTo>
                  <a:close/>
                  <a:moveTo>
                    <a:pt x="19" y="133"/>
                  </a:moveTo>
                  <a:lnTo>
                    <a:pt x="19" y="95"/>
                  </a:lnTo>
                  <a:lnTo>
                    <a:pt x="0" y="95"/>
                  </a:lnTo>
                  <a:lnTo>
                    <a:pt x="0" y="133"/>
                  </a:lnTo>
                  <a:lnTo>
                    <a:pt x="19" y="133"/>
                  </a:lnTo>
                  <a:close/>
                  <a:moveTo>
                    <a:pt x="19" y="133"/>
                  </a:moveTo>
                  <a:lnTo>
                    <a:pt x="19" y="133"/>
                  </a:lnTo>
                  <a:lnTo>
                    <a:pt x="0" y="133"/>
                  </a:lnTo>
                  <a:lnTo>
                    <a:pt x="0" y="133"/>
                  </a:lnTo>
                  <a:lnTo>
                    <a:pt x="19" y="133"/>
                  </a:lnTo>
                  <a:close/>
                  <a:moveTo>
                    <a:pt x="19" y="189"/>
                  </a:moveTo>
                  <a:lnTo>
                    <a:pt x="19" y="152"/>
                  </a:lnTo>
                  <a:lnTo>
                    <a:pt x="0" y="152"/>
                  </a:lnTo>
                  <a:lnTo>
                    <a:pt x="0" y="189"/>
                  </a:lnTo>
                  <a:lnTo>
                    <a:pt x="19" y="18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2"/>
            <p:cNvSpPr>
              <a:spLocks/>
            </p:cNvSpPr>
            <p:nvPr/>
          </p:nvSpPr>
          <p:spPr bwMode="auto">
            <a:xfrm>
              <a:off x="8728076" y="3355859"/>
              <a:ext cx="149225" cy="127000"/>
            </a:xfrm>
            <a:custGeom>
              <a:avLst/>
              <a:gdLst>
                <a:gd name="T0" fmla="*/ 94 w 94"/>
                <a:gd name="T1" fmla="*/ 80 h 80"/>
                <a:gd name="T2" fmla="*/ 47 w 94"/>
                <a:gd name="T3" fmla="*/ 0 h 80"/>
                <a:gd name="T4" fmla="*/ 0 w 94"/>
                <a:gd name="T5" fmla="*/ 80 h 80"/>
                <a:gd name="T6" fmla="*/ 94 w 94"/>
                <a:gd name="T7" fmla="*/ 80 h 80"/>
              </a:gdLst>
              <a:ahLst/>
              <a:cxnLst>
                <a:cxn ang="0">
                  <a:pos x="T0" y="T1"/>
                </a:cxn>
                <a:cxn ang="0">
                  <a:pos x="T2" y="T3"/>
                </a:cxn>
                <a:cxn ang="0">
                  <a:pos x="T4" y="T5"/>
                </a:cxn>
                <a:cxn ang="0">
                  <a:pos x="T6" y="T7"/>
                </a:cxn>
              </a:cxnLst>
              <a:rect l="0" t="0" r="r" b="b"/>
              <a:pathLst>
                <a:path w="94" h="80">
                  <a:moveTo>
                    <a:pt x="94" y="80"/>
                  </a:moveTo>
                  <a:lnTo>
                    <a:pt x="47" y="0"/>
                  </a:lnTo>
                  <a:lnTo>
                    <a:pt x="0" y="80"/>
                  </a:lnTo>
                  <a:lnTo>
                    <a:pt x="94" y="8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Freeform 28"/>
            <p:cNvSpPr>
              <a:spLocks/>
            </p:cNvSpPr>
            <p:nvPr/>
          </p:nvSpPr>
          <p:spPr bwMode="auto">
            <a:xfrm>
              <a:off x="8277226" y="2203334"/>
              <a:ext cx="1050925"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7203" name="Group 7202"/>
          <p:cNvGrpSpPr/>
          <p:nvPr/>
        </p:nvGrpSpPr>
        <p:grpSpPr>
          <a:xfrm>
            <a:off x="2867026" y="2203334"/>
            <a:ext cx="1052513" cy="1054100"/>
            <a:chOff x="2867026" y="2203334"/>
            <a:chExt cx="1052513" cy="1054100"/>
          </a:xfrm>
        </p:grpSpPr>
        <p:sp>
          <p:nvSpPr>
            <p:cNvPr id="28" name="Freeform 27"/>
            <p:cNvSpPr>
              <a:spLocks/>
            </p:cNvSpPr>
            <p:nvPr/>
          </p:nvSpPr>
          <p:spPr bwMode="auto">
            <a:xfrm>
              <a:off x="2867026" y="2203334"/>
              <a:ext cx="1052513"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3265488" y="2233496"/>
              <a:ext cx="560388"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34" name="Rectangle 33"/>
          <p:cNvSpPr>
            <a:spLocks noChangeArrowheads="1"/>
          </p:cNvSpPr>
          <p:nvPr/>
        </p:nvSpPr>
        <p:spPr bwMode="auto">
          <a:xfrm>
            <a:off x="8585201" y="2066809"/>
            <a:ext cx="766763"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7205" name="Group 7204"/>
          <p:cNvGrpSpPr/>
          <p:nvPr/>
        </p:nvGrpSpPr>
        <p:grpSpPr>
          <a:xfrm>
            <a:off x="4029076" y="3419359"/>
            <a:ext cx="3597275" cy="2014537"/>
            <a:chOff x="4029076" y="3419359"/>
            <a:chExt cx="3597275" cy="2014537"/>
          </a:xfrm>
        </p:grpSpPr>
        <p:sp>
          <p:nvSpPr>
            <p:cNvPr id="8" name="Freeform 7"/>
            <p:cNvSpPr>
              <a:spLocks noEditPoints="1"/>
            </p:cNvSpPr>
            <p:nvPr/>
          </p:nvSpPr>
          <p:spPr bwMode="auto">
            <a:xfrm>
              <a:off x="4029076" y="4227396"/>
              <a:ext cx="300038" cy="30163"/>
            </a:xfrm>
            <a:custGeom>
              <a:avLst/>
              <a:gdLst>
                <a:gd name="T0" fmla="*/ 168 w 189"/>
                <a:gd name="T1" fmla="*/ 19 h 19"/>
                <a:gd name="T2" fmla="*/ 189 w 189"/>
                <a:gd name="T3" fmla="*/ 19 h 19"/>
                <a:gd name="T4" fmla="*/ 189 w 189"/>
                <a:gd name="T5" fmla="*/ 0 h 19"/>
                <a:gd name="T6" fmla="*/ 168 w 189"/>
                <a:gd name="T7" fmla="*/ 0 h 19"/>
                <a:gd name="T8" fmla="*/ 168 w 189"/>
                <a:gd name="T9" fmla="*/ 19 h 19"/>
                <a:gd name="T10" fmla="*/ 168 w 189"/>
                <a:gd name="T11" fmla="*/ 19 h 19"/>
                <a:gd name="T12" fmla="*/ 168 w 189"/>
                <a:gd name="T13" fmla="*/ 19 h 19"/>
                <a:gd name="T14" fmla="*/ 168 w 189"/>
                <a:gd name="T15" fmla="*/ 0 h 19"/>
                <a:gd name="T16" fmla="*/ 168 w 189"/>
                <a:gd name="T17" fmla="*/ 0 h 19"/>
                <a:gd name="T18" fmla="*/ 168 w 189"/>
                <a:gd name="T19" fmla="*/ 19 h 19"/>
                <a:gd name="T20" fmla="*/ 111 w 189"/>
                <a:gd name="T21" fmla="*/ 19 h 19"/>
                <a:gd name="T22" fmla="*/ 149 w 189"/>
                <a:gd name="T23" fmla="*/ 19 h 19"/>
                <a:gd name="T24" fmla="*/ 149 w 189"/>
                <a:gd name="T25" fmla="*/ 0 h 19"/>
                <a:gd name="T26" fmla="*/ 111 w 189"/>
                <a:gd name="T27" fmla="*/ 0 h 19"/>
                <a:gd name="T28" fmla="*/ 111 w 189"/>
                <a:gd name="T29" fmla="*/ 19 h 19"/>
                <a:gd name="T30" fmla="*/ 111 w 189"/>
                <a:gd name="T31" fmla="*/ 19 h 19"/>
                <a:gd name="T32" fmla="*/ 111 w 189"/>
                <a:gd name="T33" fmla="*/ 19 h 19"/>
                <a:gd name="T34" fmla="*/ 111 w 189"/>
                <a:gd name="T35" fmla="*/ 0 h 19"/>
                <a:gd name="T36" fmla="*/ 111 w 189"/>
                <a:gd name="T37" fmla="*/ 0 h 19"/>
                <a:gd name="T38" fmla="*/ 111 w 189"/>
                <a:gd name="T39" fmla="*/ 19 h 19"/>
                <a:gd name="T40" fmla="*/ 56 w 189"/>
                <a:gd name="T41" fmla="*/ 19 h 19"/>
                <a:gd name="T42" fmla="*/ 94 w 189"/>
                <a:gd name="T43" fmla="*/ 19 h 19"/>
                <a:gd name="T44" fmla="*/ 94 w 189"/>
                <a:gd name="T45" fmla="*/ 0 h 19"/>
                <a:gd name="T46" fmla="*/ 56 w 189"/>
                <a:gd name="T47" fmla="*/ 0 h 19"/>
                <a:gd name="T48" fmla="*/ 56 w 189"/>
                <a:gd name="T49" fmla="*/ 19 h 19"/>
                <a:gd name="T50" fmla="*/ 56 w 189"/>
                <a:gd name="T51" fmla="*/ 19 h 19"/>
                <a:gd name="T52" fmla="*/ 56 w 189"/>
                <a:gd name="T53" fmla="*/ 19 h 19"/>
                <a:gd name="T54" fmla="*/ 56 w 189"/>
                <a:gd name="T55" fmla="*/ 0 h 19"/>
                <a:gd name="T56" fmla="*/ 56 w 189"/>
                <a:gd name="T57" fmla="*/ 0 h 19"/>
                <a:gd name="T58" fmla="*/ 56 w 189"/>
                <a:gd name="T59" fmla="*/ 19 h 19"/>
                <a:gd name="T60" fmla="*/ 0 w 189"/>
                <a:gd name="T61" fmla="*/ 19 h 19"/>
                <a:gd name="T62" fmla="*/ 37 w 189"/>
                <a:gd name="T63" fmla="*/ 19 h 19"/>
                <a:gd name="T64" fmla="*/ 37 w 189"/>
                <a:gd name="T65" fmla="*/ 0 h 19"/>
                <a:gd name="T66" fmla="*/ 0 w 189"/>
                <a:gd name="T67" fmla="*/ 0 h 19"/>
                <a:gd name="T68" fmla="*/ 0 w 189"/>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9" h="19">
                  <a:moveTo>
                    <a:pt x="168" y="19"/>
                  </a:moveTo>
                  <a:lnTo>
                    <a:pt x="189" y="19"/>
                  </a:lnTo>
                  <a:lnTo>
                    <a:pt x="189"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4" y="19"/>
                  </a:lnTo>
                  <a:lnTo>
                    <a:pt x="94"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8"/>
            <p:cNvSpPr>
              <a:spLocks/>
            </p:cNvSpPr>
            <p:nvPr/>
          </p:nvSpPr>
          <p:spPr bwMode="auto">
            <a:xfrm>
              <a:off x="4306888" y="4167071"/>
              <a:ext cx="127000" cy="150813"/>
            </a:xfrm>
            <a:custGeom>
              <a:avLst/>
              <a:gdLst>
                <a:gd name="T0" fmla="*/ 0 w 80"/>
                <a:gd name="T1" fmla="*/ 95 h 95"/>
                <a:gd name="T2" fmla="*/ 80 w 80"/>
                <a:gd name="T3" fmla="*/ 48 h 95"/>
                <a:gd name="T4" fmla="*/ 0 w 80"/>
                <a:gd name="T5" fmla="*/ 0 h 95"/>
                <a:gd name="T6" fmla="*/ 0 w 80"/>
                <a:gd name="T7" fmla="*/ 95 h 95"/>
              </a:gdLst>
              <a:ahLst/>
              <a:cxnLst>
                <a:cxn ang="0">
                  <a:pos x="T0" y="T1"/>
                </a:cxn>
                <a:cxn ang="0">
                  <a:pos x="T2" y="T3"/>
                </a:cxn>
                <a:cxn ang="0">
                  <a:pos x="T4" y="T5"/>
                </a:cxn>
                <a:cxn ang="0">
                  <a:pos x="T6" y="T7"/>
                </a:cxn>
              </a:cxnLst>
              <a:rect l="0" t="0" r="r" b="b"/>
              <a:pathLst>
                <a:path w="80" h="95">
                  <a:moveTo>
                    <a:pt x="0" y="95"/>
                  </a:moveTo>
                  <a:lnTo>
                    <a:pt x="80"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3"/>
            <p:cNvSpPr>
              <a:spLocks noEditPoints="1"/>
            </p:cNvSpPr>
            <p:nvPr/>
          </p:nvSpPr>
          <p:spPr bwMode="auto">
            <a:xfrm>
              <a:off x="6083301"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6357938"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5054601" y="3546359"/>
              <a:ext cx="223838" cy="400050"/>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4584701" y="3546359"/>
              <a:ext cx="220663" cy="400050"/>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Rectangle 21"/>
            <p:cNvSpPr>
              <a:spLocks noChangeArrowheads="1"/>
            </p:cNvSpPr>
            <p:nvPr/>
          </p:nvSpPr>
          <p:spPr bwMode="auto">
            <a:xfrm>
              <a:off x="4733926" y="5129096"/>
              <a:ext cx="327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 name="Rectangle 22"/>
            <p:cNvSpPr>
              <a:spLocks noChangeArrowheads="1"/>
            </p:cNvSpPr>
            <p:nvPr/>
          </p:nvSpPr>
          <p:spPr bwMode="auto">
            <a:xfrm>
              <a:off x="494823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 name="Rectangle 23"/>
            <p:cNvSpPr>
              <a:spLocks noChangeArrowheads="1"/>
            </p:cNvSpPr>
            <p:nvPr/>
          </p:nvSpPr>
          <p:spPr bwMode="auto">
            <a:xfrm>
              <a:off x="5016501" y="5129096"/>
              <a:ext cx="1762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na Analytics answ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 name="Rectangle 24"/>
            <p:cNvSpPr>
              <a:spLocks noChangeArrowheads="1"/>
            </p:cNvSpPr>
            <p:nvPr/>
          </p:nvSpPr>
          <p:spPr bwMode="auto">
            <a:xfrm>
              <a:off x="656748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 name="Rectangle 25"/>
            <p:cNvSpPr>
              <a:spLocks noChangeArrowheads="1"/>
            </p:cNvSpPr>
            <p:nvPr/>
          </p:nvSpPr>
          <p:spPr bwMode="auto">
            <a:xfrm>
              <a:off x="6630988" y="5129096"/>
              <a:ext cx="995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 quest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Freeform 26"/>
            <p:cNvSpPr>
              <a:spLocks noEditPoints="1"/>
            </p:cNvSpPr>
            <p:nvPr/>
          </p:nvSpPr>
          <p:spPr bwMode="auto">
            <a:xfrm>
              <a:off x="4606926" y="3419359"/>
              <a:ext cx="2982913" cy="1651000"/>
            </a:xfrm>
            <a:custGeom>
              <a:avLst/>
              <a:gdLst>
                <a:gd name="T0" fmla="*/ 162 w 794"/>
                <a:gd name="T1" fmla="*/ 6 h 439"/>
                <a:gd name="T2" fmla="*/ 201 w 794"/>
                <a:gd name="T3" fmla="*/ 8 h 439"/>
                <a:gd name="T4" fmla="*/ 223 w 794"/>
                <a:gd name="T5" fmla="*/ 7 h 439"/>
                <a:gd name="T6" fmla="*/ 269 w 794"/>
                <a:gd name="T7" fmla="*/ 0 h 439"/>
                <a:gd name="T8" fmla="*/ 277 w 794"/>
                <a:gd name="T9" fmla="*/ 7 h 439"/>
                <a:gd name="T10" fmla="*/ 315 w 794"/>
                <a:gd name="T11" fmla="*/ 0 h 439"/>
                <a:gd name="T12" fmla="*/ 345 w 794"/>
                <a:gd name="T13" fmla="*/ 0 h 439"/>
                <a:gd name="T14" fmla="*/ 383 w 794"/>
                <a:gd name="T15" fmla="*/ 7 h 439"/>
                <a:gd name="T16" fmla="*/ 429 w 794"/>
                <a:gd name="T17" fmla="*/ 0 h 439"/>
                <a:gd name="T18" fmla="*/ 436 w 794"/>
                <a:gd name="T19" fmla="*/ 7 h 439"/>
                <a:gd name="T20" fmla="*/ 474 w 794"/>
                <a:gd name="T21" fmla="*/ 0 h 439"/>
                <a:gd name="T22" fmla="*/ 505 w 794"/>
                <a:gd name="T23" fmla="*/ 0 h 439"/>
                <a:gd name="T24" fmla="*/ 543 w 794"/>
                <a:gd name="T25" fmla="*/ 7 h 439"/>
                <a:gd name="T26" fmla="*/ 589 w 794"/>
                <a:gd name="T27" fmla="*/ 0 h 439"/>
                <a:gd name="T28" fmla="*/ 612 w 794"/>
                <a:gd name="T29" fmla="*/ 2 h 439"/>
                <a:gd name="T30" fmla="*/ 618 w 794"/>
                <a:gd name="T31" fmla="*/ 11 h 439"/>
                <a:gd name="T32" fmla="*/ 657 w 794"/>
                <a:gd name="T33" fmla="*/ 14 h 439"/>
                <a:gd name="T34" fmla="*/ 685 w 794"/>
                <a:gd name="T35" fmla="*/ 27 h 439"/>
                <a:gd name="T36" fmla="*/ 711 w 794"/>
                <a:gd name="T37" fmla="*/ 55 h 439"/>
                <a:gd name="T38" fmla="*/ 749 w 794"/>
                <a:gd name="T39" fmla="*/ 82 h 439"/>
                <a:gd name="T40" fmla="*/ 747 w 794"/>
                <a:gd name="T41" fmla="*/ 93 h 439"/>
                <a:gd name="T42" fmla="*/ 773 w 794"/>
                <a:gd name="T43" fmla="*/ 122 h 439"/>
                <a:gd name="T44" fmla="*/ 784 w 794"/>
                <a:gd name="T45" fmla="*/ 151 h 439"/>
                <a:gd name="T46" fmla="*/ 785 w 794"/>
                <a:gd name="T47" fmla="*/ 189 h 439"/>
                <a:gd name="T48" fmla="*/ 794 w 794"/>
                <a:gd name="T49" fmla="*/ 235 h 439"/>
                <a:gd name="T50" fmla="*/ 791 w 794"/>
                <a:gd name="T51" fmla="*/ 258 h 439"/>
                <a:gd name="T52" fmla="*/ 783 w 794"/>
                <a:gd name="T53" fmla="*/ 264 h 439"/>
                <a:gd name="T54" fmla="*/ 779 w 794"/>
                <a:gd name="T55" fmla="*/ 303 h 439"/>
                <a:gd name="T56" fmla="*/ 766 w 794"/>
                <a:gd name="T57" fmla="*/ 330 h 439"/>
                <a:gd name="T58" fmla="*/ 738 w 794"/>
                <a:gd name="T59" fmla="*/ 357 h 439"/>
                <a:gd name="T60" fmla="*/ 711 w 794"/>
                <a:gd name="T61" fmla="*/ 394 h 439"/>
                <a:gd name="T62" fmla="*/ 700 w 794"/>
                <a:gd name="T63" fmla="*/ 393 h 439"/>
                <a:gd name="T64" fmla="*/ 671 w 794"/>
                <a:gd name="T65" fmla="*/ 419 h 439"/>
                <a:gd name="T66" fmla="*/ 642 w 794"/>
                <a:gd name="T67" fmla="*/ 430 h 439"/>
                <a:gd name="T68" fmla="*/ 604 w 794"/>
                <a:gd name="T69" fmla="*/ 430 h 439"/>
                <a:gd name="T70" fmla="*/ 558 w 794"/>
                <a:gd name="T71" fmla="*/ 439 h 439"/>
                <a:gd name="T72" fmla="*/ 551 w 794"/>
                <a:gd name="T73" fmla="*/ 432 h 439"/>
                <a:gd name="T74" fmla="*/ 513 w 794"/>
                <a:gd name="T75" fmla="*/ 439 h 439"/>
                <a:gd name="T76" fmla="*/ 482 w 794"/>
                <a:gd name="T77" fmla="*/ 439 h 439"/>
                <a:gd name="T78" fmla="*/ 444 w 794"/>
                <a:gd name="T79" fmla="*/ 432 h 439"/>
                <a:gd name="T80" fmla="*/ 399 w 794"/>
                <a:gd name="T81" fmla="*/ 439 h 439"/>
                <a:gd name="T82" fmla="*/ 391 w 794"/>
                <a:gd name="T83" fmla="*/ 432 h 439"/>
                <a:gd name="T84" fmla="*/ 353 w 794"/>
                <a:gd name="T85" fmla="*/ 439 h 439"/>
                <a:gd name="T86" fmla="*/ 323 w 794"/>
                <a:gd name="T87" fmla="*/ 439 h 439"/>
                <a:gd name="T88" fmla="*/ 284 w 794"/>
                <a:gd name="T89" fmla="*/ 432 h 439"/>
                <a:gd name="T90" fmla="*/ 239 w 794"/>
                <a:gd name="T91" fmla="*/ 439 h 439"/>
                <a:gd name="T92" fmla="*/ 231 w 794"/>
                <a:gd name="T93" fmla="*/ 432 h 439"/>
                <a:gd name="T94" fmla="*/ 193 w 794"/>
                <a:gd name="T95" fmla="*/ 438 h 439"/>
                <a:gd name="T96" fmla="*/ 162 w 794"/>
                <a:gd name="T97" fmla="*/ 433 h 439"/>
                <a:gd name="T98" fmla="*/ 129 w 794"/>
                <a:gd name="T99" fmla="*/ 413 h 439"/>
                <a:gd name="T100" fmla="*/ 86 w 794"/>
                <a:gd name="T101" fmla="*/ 396 h 439"/>
                <a:gd name="T102" fmla="*/ 85 w 794"/>
                <a:gd name="T103" fmla="*/ 386 h 439"/>
                <a:gd name="T104" fmla="*/ 52 w 794"/>
                <a:gd name="T105" fmla="*/ 365 h 439"/>
                <a:gd name="T106" fmla="*/ 34 w 794"/>
                <a:gd name="T107" fmla="*/ 340 h 439"/>
                <a:gd name="T108" fmla="*/ 23 w 794"/>
                <a:gd name="T109" fmla="*/ 303 h 439"/>
                <a:gd name="T110" fmla="*/ 3 w 794"/>
                <a:gd name="T111" fmla="*/ 261 h 439"/>
                <a:gd name="T112" fmla="*/ 10 w 794"/>
                <a:gd name="T113" fmla="*/ 252 h 439"/>
                <a:gd name="T114" fmla="*/ 8 w 794"/>
                <a:gd name="T115" fmla="*/ 225 h 439"/>
                <a:gd name="T116" fmla="*/ 1 w 794"/>
                <a:gd name="T117" fmla="*/ 192 h 439"/>
                <a:gd name="T118" fmla="*/ 7 w 794"/>
                <a:gd name="T119" fmla="*/ 16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4" h="439">
                  <a:moveTo>
                    <a:pt x="155" y="8"/>
                  </a:moveTo>
                  <a:cubicBezTo>
                    <a:pt x="153" y="9"/>
                    <a:pt x="151" y="9"/>
                    <a:pt x="149" y="10"/>
                  </a:cubicBezTo>
                  <a:cubicBezTo>
                    <a:pt x="151" y="17"/>
                    <a:pt x="151" y="17"/>
                    <a:pt x="151" y="17"/>
                  </a:cubicBezTo>
                  <a:cubicBezTo>
                    <a:pt x="153" y="17"/>
                    <a:pt x="155" y="16"/>
                    <a:pt x="157" y="15"/>
                  </a:cubicBezTo>
                  <a:cubicBezTo>
                    <a:pt x="155" y="8"/>
                    <a:pt x="155" y="8"/>
                    <a:pt x="155" y="8"/>
                  </a:cubicBezTo>
                  <a:close/>
                  <a:moveTo>
                    <a:pt x="177" y="3"/>
                  </a:moveTo>
                  <a:cubicBezTo>
                    <a:pt x="172" y="4"/>
                    <a:pt x="167" y="5"/>
                    <a:pt x="162" y="6"/>
                  </a:cubicBezTo>
                  <a:cubicBezTo>
                    <a:pt x="164" y="14"/>
                    <a:pt x="164" y="14"/>
                    <a:pt x="164" y="14"/>
                  </a:cubicBezTo>
                  <a:cubicBezTo>
                    <a:pt x="169" y="12"/>
                    <a:pt x="174" y="11"/>
                    <a:pt x="179" y="10"/>
                  </a:cubicBezTo>
                  <a:cubicBezTo>
                    <a:pt x="177" y="3"/>
                    <a:pt x="177" y="3"/>
                    <a:pt x="177" y="3"/>
                  </a:cubicBezTo>
                  <a:close/>
                  <a:moveTo>
                    <a:pt x="200" y="0"/>
                  </a:moveTo>
                  <a:cubicBezTo>
                    <a:pt x="195" y="0"/>
                    <a:pt x="190" y="1"/>
                    <a:pt x="185" y="2"/>
                  </a:cubicBezTo>
                  <a:cubicBezTo>
                    <a:pt x="186" y="9"/>
                    <a:pt x="186" y="9"/>
                    <a:pt x="186" y="9"/>
                  </a:cubicBezTo>
                  <a:cubicBezTo>
                    <a:pt x="191" y="9"/>
                    <a:pt x="196" y="8"/>
                    <a:pt x="201" y="8"/>
                  </a:cubicBezTo>
                  <a:cubicBezTo>
                    <a:pt x="200" y="0"/>
                    <a:pt x="200" y="0"/>
                    <a:pt x="200" y="0"/>
                  </a:cubicBezTo>
                  <a:close/>
                  <a:moveTo>
                    <a:pt x="223" y="0"/>
                  </a:moveTo>
                  <a:cubicBezTo>
                    <a:pt x="214" y="0"/>
                    <a:pt x="214" y="0"/>
                    <a:pt x="214" y="0"/>
                  </a:cubicBezTo>
                  <a:cubicBezTo>
                    <a:pt x="212" y="0"/>
                    <a:pt x="210" y="0"/>
                    <a:pt x="208" y="0"/>
                  </a:cubicBezTo>
                  <a:cubicBezTo>
                    <a:pt x="208" y="7"/>
                    <a:pt x="208" y="7"/>
                    <a:pt x="208" y="7"/>
                  </a:cubicBezTo>
                  <a:cubicBezTo>
                    <a:pt x="210" y="7"/>
                    <a:pt x="212" y="7"/>
                    <a:pt x="214" y="7"/>
                  </a:cubicBezTo>
                  <a:cubicBezTo>
                    <a:pt x="223" y="7"/>
                    <a:pt x="223" y="7"/>
                    <a:pt x="223" y="7"/>
                  </a:cubicBezTo>
                  <a:cubicBezTo>
                    <a:pt x="223" y="0"/>
                    <a:pt x="223" y="0"/>
                    <a:pt x="223" y="0"/>
                  </a:cubicBezTo>
                  <a:close/>
                  <a:moveTo>
                    <a:pt x="246" y="0"/>
                  </a:moveTo>
                  <a:cubicBezTo>
                    <a:pt x="231" y="0"/>
                    <a:pt x="231" y="0"/>
                    <a:pt x="231" y="0"/>
                  </a:cubicBezTo>
                  <a:cubicBezTo>
                    <a:pt x="231" y="7"/>
                    <a:pt x="231" y="7"/>
                    <a:pt x="231" y="7"/>
                  </a:cubicBezTo>
                  <a:cubicBezTo>
                    <a:pt x="246" y="7"/>
                    <a:pt x="246" y="7"/>
                    <a:pt x="246" y="7"/>
                  </a:cubicBezTo>
                  <a:lnTo>
                    <a:pt x="246" y="0"/>
                  </a:lnTo>
                  <a:close/>
                  <a:moveTo>
                    <a:pt x="269" y="0"/>
                  </a:moveTo>
                  <a:cubicBezTo>
                    <a:pt x="254" y="0"/>
                    <a:pt x="254" y="0"/>
                    <a:pt x="254" y="0"/>
                  </a:cubicBezTo>
                  <a:cubicBezTo>
                    <a:pt x="254" y="7"/>
                    <a:pt x="254" y="7"/>
                    <a:pt x="254" y="7"/>
                  </a:cubicBezTo>
                  <a:cubicBezTo>
                    <a:pt x="269" y="7"/>
                    <a:pt x="269" y="7"/>
                    <a:pt x="269" y="7"/>
                  </a:cubicBezTo>
                  <a:lnTo>
                    <a:pt x="269" y="0"/>
                  </a:lnTo>
                  <a:close/>
                  <a:moveTo>
                    <a:pt x="292" y="0"/>
                  </a:moveTo>
                  <a:cubicBezTo>
                    <a:pt x="277" y="0"/>
                    <a:pt x="277" y="0"/>
                    <a:pt x="277" y="0"/>
                  </a:cubicBezTo>
                  <a:cubicBezTo>
                    <a:pt x="277" y="7"/>
                    <a:pt x="277" y="7"/>
                    <a:pt x="277" y="7"/>
                  </a:cubicBezTo>
                  <a:cubicBezTo>
                    <a:pt x="292" y="7"/>
                    <a:pt x="292" y="7"/>
                    <a:pt x="292" y="7"/>
                  </a:cubicBezTo>
                  <a:lnTo>
                    <a:pt x="292" y="0"/>
                  </a:lnTo>
                  <a:close/>
                  <a:moveTo>
                    <a:pt x="315" y="0"/>
                  </a:moveTo>
                  <a:cubicBezTo>
                    <a:pt x="299" y="0"/>
                    <a:pt x="299" y="0"/>
                    <a:pt x="299" y="0"/>
                  </a:cubicBezTo>
                  <a:cubicBezTo>
                    <a:pt x="299" y="7"/>
                    <a:pt x="299" y="7"/>
                    <a:pt x="299" y="7"/>
                  </a:cubicBezTo>
                  <a:cubicBezTo>
                    <a:pt x="315" y="7"/>
                    <a:pt x="315" y="7"/>
                    <a:pt x="315" y="7"/>
                  </a:cubicBezTo>
                  <a:lnTo>
                    <a:pt x="315" y="0"/>
                  </a:lnTo>
                  <a:close/>
                  <a:moveTo>
                    <a:pt x="337" y="0"/>
                  </a:moveTo>
                  <a:cubicBezTo>
                    <a:pt x="322" y="0"/>
                    <a:pt x="322" y="0"/>
                    <a:pt x="322" y="0"/>
                  </a:cubicBezTo>
                  <a:cubicBezTo>
                    <a:pt x="322" y="7"/>
                    <a:pt x="322" y="7"/>
                    <a:pt x="322" y="7"/>
                  </a:cubicBezTo>
                  <a:cubicBezTo>
                    <a:pt x="337" y="7"/>
                    <a:pt x="337" y="7"/>
                    <a:pt x="337" y="7"/>
                  </a:cubicBezTo>
                  <a:lnTo>
                    <a:pt x="337" y="0"/>
                  </a:lnTo>
                  <a:close/>
                  <a:moveTo>
                    <a:pt x="360" y="0"/>
                  </a:moveTo>
                  <a:cubicBezTo>
                    <a:pt x="345" y="0"/>
                    <a:pt x="345" y="0"/>
                    <a:pt x="345" y="0"/>
                  </a:cubicBezTo>
                  <a:cubicBezTo>
                    <a:pt x="345" y="7"/>
                    <a:pt x="345" y="7"/>
                    <a:pt x="345" y="7"/>
                  </a:cubicBezTo>
                  <a:cubicBezTo>
                    <a:pt x="360" y="7"/>
                    <a:pt x="360" y="7"/>
                    <a:pt x="360" y="7"/>
                  </a:cubicBezTo>
                  <a:lnTo>
                    <a:pt x="360" y="0"/>
                  </a:lnTo>
                  <a:close/>
                  <a:moveTo>
                    <a:pt x="383" y="0"/>
                  </a:moveTo>
                  <a:cubicBezTo>
                    <a:pt x="368" y="0"/>
                    <a:pt x="368" y="0"/>
                    <a:pt x="368" y="0"/>
                  </a:cubicBezTo>
                  <a:cubicBezTo>
                    <a:pt x="368" y="7"/>
                    <a:pt x="368" y="7"/>
                    <a:pt x="368" y="7"/>
                  </a:cubicBezTo>
                  <a:cubicBezTo>
                    <a:pt x="383" y="7"/>
                    <a:pt x="383" y="7"/>
                    <a:pt x="383" y="7"/>
                  </a:cubicBezTo>
                  <a:lnTo>
                    <a:pt x="383" y="0"/>
                  </a:lnTo>
                  <a:close/>
                  <a:moveTo>
                    <a:pt x="406" y="0"/>
                  </a:moveTo>
                  <a:cubicBezTo>
                    <a:pt x="391" y="0"/>
                    <a:pt x="391" y="0"/>
                    <a:pt x="391" y="0"/>
                  </a:cubicBezTo>
                  <a:cubicBezTo>
                    <a:pt x="391" y="7"/>
                    <a:pt x="391" y="7"/>
                    <a:pt x="391" y="7"/>
                  </a:cubicBezTo>
                  <a:cubicBezTo>
                    <a:pt x="406" y="7"/>
                    <a:pt x="406" y="7"/>
                    <a:pt x="406" y="7"/>
                  </a:cubicBezTo>
                  <a:lnTo>
                    <a:pt x="406" y="0"/>
                  </a:lnTo>
                  <a:close/>
                  <a:moveTo>
                    <a:pt x="429" y="0"/>
                  </a:moveTo>
                  <a:cubicBezTo>
                    <a:pt x="414" y="0"/>
                    <a:pt x="414" y="0"/>
                    <a:pt x="414" y="0"/>
                  </a:cubicBezTo>
                  <a:cubicBezTo>
                    <a:pt x="414" y="7"/>
                    <a:pt x="414" y="7"/>
                    <a:pt x="414" y="7"/>
                  </a:cubicBezTo>
                  <a:cubicBezTo>
                    <a:pt x="429" y="7"/>
                    <a:pt x="429" y="7"/>
                    <a:pt x="429" y="7"/>
                  </a:cubicBezTo>
                  <a:lnTo>
                    <a:pt x="429" y="0"/>
                  </a:lnTo>
                  <a:close/>
                  <a:moveTo>
                    <a:pt x="452" y="0"/>
                  </a:moveTo>
                  <a:cubicBezTo>
                    <a:pt x="436" y="0"/>
                    <a:pt x="436" y="0"/>
                    <a:pt x="436" y="0"/>
                  </a:cubicBezTo>
                  <a:cubicBezTo>
                    <a:pt x="436" y="7"/>
                    <a:pt x="436" y="7"/>
                    <a:pt x="436" y="7"/>
                  </a:cubicBezTo>
                  <a:cubicBezTo>
                    <a:pt x="452" y="7"/>
                    <a:pt x="452" y="7"/>
                    <a:pt x="452" y="7"/>
                  </a:cubicBezTo>
                  <a:lnTo>
                    <a:pt x="452" y="0"/>
                  </a:lnTo>
                  <a:close/>
                  <a:moveTo>
                    <a:pt x="474" y="0"/>
                  </a:moveTo>
                  <a:cubicBezTo>
                    <a:pt x="459" y="0"/>
                    <a:pt x="459" y="0"/>
                    <a:pt x="459" y="0"/>
                  </a:cubicBezTo>
                  <a:cubicBezTo>
                    <a:pt x="459" y="7"/>
                    <a:pt x="459" y="7"/>
                    <a:pt x="459" y="7"/>
                  </a:cubicBezTo>
                  <a:cubicBezTo>
                    <a:pt x="474" y="7"/>
                    <a:pt x="474" y="7"/>
                    <a:pt x="474" y="7"/>
                  </a:cubicBezTo>
                  <a:lnTo>
                    <a:pt x="474" y="0"/>
                  </a:lnTo>
                  <a:close/>
                  <a:moveTo>
                    <a:pt x="497" y="0"/>
                  </a:moveTo>
                  <a:cubicBezTo>
                    <a:pt x="482" y="0"/>
                    <a:pt x="482" y="0"/>
                    <a:pt x="482" y="0"/>
                  </a:cubicBezTo>
                  <a:cubicBezTo>
                    <a:pt x="482" y="7"/>
                    <a:pt x="482" y="7"/>
                    <a:pt x="482" y="7"/>
                  </a:cubicBezTo>
                  <a:cubicBezTo>
                    <a:pt x="497" y="7"/>
                    <a:pt x="497" y="7"/>
                    <a:pt x="497" y="7"/>
                  </a:cubicBezTo>
                  <a:lnTo>
                    <a:pt x="497" y="0"/>
                  </a:lnTo>
                  <a:close/>
                  <a:moveTo>
                    <a:pt x="520" y="0"/>
                  </a:moveTo>
                  <a:cubicBezTo>
                    <a:pt x="505" y="0"/>
                    <a:pt x="505" y="0"/>
                    <a:pt x="505" y="0"/>
                  </a:cubicBezTo>
                  <a:cubicBezTo>
                    <a:pt x="505" y="7"/>
                    <a:pt x="505" y="7"/>
                    <a:pt x="505" y="7"/>
                  </a:cubicBezTo>
                  <a:cubicBezTo>
                    <a:pt x="520" y="7"/>
                    <a:pt x="520" y="7"/>
                    <a:pt x="520" y="7"/>
                  </a:cubicBezTo>
                  <a:lnTo>
                    <a:pt x="520" y="0"/>
                  </a:lnTo>
                  <a:close/>
                  <a:moveTo>
                    <a:pt x="543" y="0"/>
                  </a:moveTo>
                  <a:cubicBezTo>
                    <a:pt x="528" y="0"/>
                    <a:pt x="528" y="0"/>
                    <a:pt x="528" y="0"/>
                  </a:cubicBezTo>
                  <a:cubicBezTo>
                    <a:pt x="528" y="7"/>
                    <a:pt x="528" y="7"/>
                    <a:pt x="528" y="7"/>
                  </a:cubicBezTo>
                  <a:cubicBezTo>
                    <a:pt x="543" y="7"/>
                    <a:pt x="543" y="7"/>
                    <a:pt x="543" y="7"/>
                  </a:cubicBezTo>
                  <a:lnTo>
                    <a:pt x="543" y="0"/>
                  </a:lnTo>
                  <a:close/>
                  <a:moveTo>
                    <a:pt x="566" y="0"/>
                  </a:moveTo>
                  <a:cubicBezTo>
                    <a:pt x="551" y="0"/>
                    <a:pt x="551" y="0"/>
                    <a:pt x="551" y="0"/>
                  </a:cubicBezTo>
                  <a:cubicBezTo>
                    <a:pt x="551" y="7"/>
                    <a:pt x="551" y="7"/>
                    <a:pt x="551" y="7"/>
                  </a:cubicBezTo>
                  <a:cubicBezTo>
                    <a:pt x="566" y="7"/>
                    <a:pt x="566" y="7"/>
                    <a:pt x="566" y="7"/>
                  </a:cubicBezTo>
                  <a:lnTo>
                    <a:pt x="566" y="0"/>
                  </a:lnTo>
                  <a:close/>
                  <a:moveTo>
                    <a:pt x="589" y="0"/>
                  </a:moveTo>
                  <a:cubicBezTo>
                    <a:pt x="586" y="0"/>
                    <a:pt x="583" y="0"/>
                    <a:pt x="580" y="0"/>
                  </a:cubicBezTo>
                  <a:cubicBezTo>
                    <a:pt x="573" y="0"/>
                    <a:pt x="573" y="0"/>
                    <a:pt x="573" y="0"/>
                  </a:cubicBezTo>
                  <a:cubicBezTo>
                    <a:pt x="573" y="7"/>
                    <a:pt x="573" y="7"/>
                    <a:pt x="573" y="7"/>
                  </a:cubicBezTo>
                  <a:cubicBezTo>
                    <a:pt x="580" y="7"/>
                    <a:pt x="580" y="7"/>
                    <a:pt x="580" y="7"/>
                  </a:cubicBezTo>
                  <a:cubicBezTo>
                    <a:pt x="583" y="7"/>
                    <a:pt x="586" y="7"/>
                    <a:pt x="588" y="7"/>
                  </a:cubicBezTo>
                  <a:cubicBezTo>
                    <a:pt x="589" y="0"/>
                    <a:pt x="589" y="0"/>
                    <a:pt x="589" y="0"/>
                  </a:cubicBezTo>
                  <a:close/>
                  <a:moveTo>
                    <a:pt x="612" y="2"/>
                  </a:moveTo>
                  <a:cubicBezTo>
                    <a:pt x="607" y="1"/>
                    <a:pt x="602" y="1"/>
                    <a:pt x="596" y="0"/>
                  </a:cubicBezTo>
                  <a:cubicBezTo>
                    <a:pt x="596" y="8"/>
                    <a:pt x="596" y="8"/>
                    <a:pt x="596" y="8"/>
                  </a:cubicBezTo>
                  <a:cubicBezTo>
                    <a:pt x="601" y="8"/>
                    <a:pt x="606" y="9"/>
                    <a:pt x="611" y="10"/>
                  </a:cubicBezTo>
                  <a:cubicBezTo>
                    <a:pt x="612" y="2"/>
                    <a:pt x="612" y="2"/>
                    <a:pt x="612" y="2"/>
                  </a:cubicBezTo>
                  <a:close/>
                  <a:moveTo>
                    <a:pt x="635" y="7"/>
                  </a:moveTo>
                  <a:cubicBezTo>
                    <a:pt x="630" y="5"/>
                    <a:pt x="625" y="4"/>
                    <a:pt x="619" y="3"/>
                  </a:cubicBezTo>
                  <a:cubicBezTo>
                    <a:pt x="618" y="11"/>
                    <a:pt x="618" y="11"/>
                    <a:pt x="618" y="11"/>
                  </a:cubicBezTo>
                  <a:cubicBezTo>
                    <a:pt x="623" y="12"/>
                    <a:pt x="628" y="13"/>
                    <a:pt x="633" y="14"/>
                  </a:cubicBezTo>
                  <a:cubicBezTo>
                    <a:pt x="635" y="7"/>
                    <a:pt x="635" y="7"/>
                    <a:pt x="635" y="7"/>
                  </a:cubicBezTo>
                  <a:close/>
                  <a:moveTo>
                    <a:pt x="657" y="14"/>
                  </a:moveTo>
                  <a:cubicBezTo>
                    <a:pt x="652" y="12"/>
                    <a:pt x="647" y="10"/>
                    <a:pt x="642" y="9"/>
                  </a:cubicBezTo>
                  <a:cubicBezTo>
                    <a:pt x="640" y="16"/>
                    <a:pt x="640" y="16"/>
                    <a:pt x="640" y="16"/>
                  </a:cubicBezTo>
                  <a:cubicBezTo>
                    <a:pt x="645" y="18"/>
                    <a:pt x="649" y="19"/>
                    <a:pt x="654" y="21"/>
                  </a:cubicBezTo>
                  <a:cubicBezTo>
                    <a:pt x="657" y="14"/>
                    <a:pt x="657" y="14"/>
                    <a:pt x="657" y="14"/>
                  </a:cubicBezTo>
                  <a:close/>
                  <a:moveTo>
                    <a:pt x="678" y="23"/>
                  </a:moveTo>
                  <a:cubicBezTo>
                    <a:pt x="673" y="21"/>
                    <a:pt x="669" y="19"/>
                    <a:pt x="664" y="17"/>
                  </a:cubicBezTo>
                  <a:cubicBezTo>
                    <a:pt x="661" y="24"/>
                    <a:pt x="661" y="24"/>
                    <a:pt x="661" y="24"/>
                  </a:cubicBezTo>
                  <a:cubicBezTo>
                    <a:pt x="665" y="26"/>
                    <a:pt x="670" y="28"/>
                    <a:pt x="674" y="30"/>
                  </a:cubicBezTo>
                  <a:cubicBezTo>
                    <a:pt x="678" y="23"/>
                    <a:pt x="678" y="23"/>
                    <a:pt x="678" y="23"/>
                  </a:cubicBezTo>
                  <a:close/>
                  <a:moveTo>
                    <a:pt x="698" y="35"/>
                  </a:moveTo>
                  <a:cubicBezTo>
                    <a:pt x="694" y="32"/>
                    <a:pt x="689" y="30"/>
                    <a:pt x="685" y="27"/>
                  </a:cubicBezTo>
                  <a:cubicBezTo>
                    <a:pt x="681" y="34"/>
                    <a:pt x="681" y="34"/>
                    <a:pt x="681" y="34"/>
                  </a:cubicBezTo>
                  <a:cubicBezTo>
                    <a:pt x="685" y="36"/>
                    <a:pt x="689" y="39"/>
                    <a:pt x="694" y="42"/>
                  </a:cubicBezTo>
                  <a:lnTo>
                    <a:pt x="698" y="35"/>
                  </a:lnTo>
                  <a:close/>
                  <a:moveTo>
                    <a:pt x="716" y="49"/>
                  </a:moveTo>
                  <a:cubicBezTo>
                    <a:pt x="712" y="46"/>
                    <a:pt x="708" y="42"/>
                    <a:pt x="704" y="39"/>
                  </a:cubicBezTo>
                  <a:cubicBezTo>
                    <a:pt x="700" y="46"/>
                    <a:pt x="700" y="46"/>
                    <a:pt x="700" y="46"/>
                  </a:cubicBezTo>
                  <a:cubicBezTo>
                    <a:pt x="704" y="49"/>
                    <a:pt x="708" y="52"/>
                    <a:pt x="711" y="55"/>
                  </a:cubicBezTo>
                  <a:cubicBezTo>
                    <a:pt x="716" y="49"/>
                    <a:pt x="716" y="49"/>
                    <a:pt x="716" y="49"/>
                  </a:cubicBezTo>
                  <a:close/>
                  <a:moveTo>
                    <a:pt x="733" y="65"/>
                  </a:moveTo>
                  <a:cubicBezTo>
                    <a:pt x="730" y="61"/>
                    <a:pt x="726" y="57"/>
                    <a:pt x="722" y="54"/>
                  </a:cubicBezTo>
                  <a:cubicBezTo>
                    <a:pt x="717" y="60"/>
                    <a:pt x="717" y="60"/>
                    <a:pt x="717" y="60"/>
                  </a:cubicBezTo>
                  <a:cubicBezTo>
                    <a:pt x="721" y="63"/>
                    <a:pt x="724" y="67"/>
                    <a:pt x="728" y="70"/>
                  </a:cubicBezTo>
                  <a:lnTo>
                    <a:pt x="733" y="65"/>
                  </a:lnTo>
                  <a:close/>
                  <a:moveTo>
                    <a:pt x="749" y="82"/>
                  </a:moveTo>
                  <a:cubicBezTo>
                    <a:pt x="746" y="78"/>
                    <a:pt x="742" y="74"/>
                    <a:pt x="739" y="70"/>
                  </a:cubicBezTo>
                  <a:cubicBezTo>
                    <a:pt x="733" y="76"/>
                    <a:pt x="733" y="76"/>
                    <a:pt x="733" y="76"/>
                  </a:cubicBezTo>
                  <a:cubicBezTo>
                    <a:pt x="736" y="79"/>
                    <a:pt x="740" y="83"/>
                    <a:pt x="743" y="87"/>
                  </a:cubicBezTo>
                  <a:cubicBezTo>
                    <a:pt x="749" y="82"/>
                    <a:pt x="749" y="82"/>
                    <a:pt x="749" y="82"/>
                  </a:cubicBezTo>
                  <a:close/>
                  <a:moveTo>
                    <a:pt x="762" y="101"/>
                  </a:moveTo>
                  <a:cubicBezTo>
                    <a:pt x="759" y="97"/>
                    <a:pt x="756" y="93"/>
                    <a:pt x="753" y="88"/>
                  </a:cubicBezTo>
                  <a:cubicBezTo>
                    <a:pt x="747" y="93"/>
                    <a:pt x="747" y="93"/>
                    <a:pt x="747" y="93"/>
                  </a:cubicBezTo>
                  <a:cubicBezTo>
                    <a:pt x="750" y="97"/>
                    <a:pt x="753" y="101"/>
                    <a:pt x="755" y="105"/>
                  </a:cubicBezTo>
                  <a:cubicBezTo>
                    <a:pt x="762" y="101"/>
                    <a:pt x="762" y="101"/>
                    <a:pt x="762" y="101"/>
                  </a:cubicBezTo>
                  <a:close/>
                  <a:moveTo>
                    <a:pt x="773" y="122"/>
                  </a:moveTo>
                  <a:cubicBezTo>
                    <a:pt x="771" y="117"/>
                    <a:pt x="769" y="112"/>
                    <a:pt x="766" y="108"/>
                  </a:cubicBezTo>
                  <a:cubicBezTo>
                    <a:pt x="759" y="112"/>
                    <a:pt x="759" y="112"/>
                    <a:pt x="759" y="112"/>
                  </a:cubicBezTo>
                  <a:cubicBezTo>
                    <a:pt x="762" y="116"/>
                    <a:pt x="764" y="121"/>
                    <a:pt x="766" y="125"/>
                  </a:cubicBezTo>
                  <a:cubicBezTo>
                    <a:pt x="773" y="122"/>
                    <a:pt x="773" y="122"/>
                    <a:pt x="773" y="122"/>
                  </a:cubicBezTo>
                  <a:close/>
                  <a:moveTo>
                    <a:pt x="782" y="143"/>
                  </a:moveTo>
                  <a:cubicBezTo>
                    <a:pt x="780" y="138"/>
                    <a:pt x="778" y="133"/>
                    <a:pt x="776" y="129"/>
                  </a:cubicBezTo>
                  <a:cubicBezTo>
                    <a:pt x="769" y="132"/>
                    <a:pt x="769" y="132"/>
                    <a:pt x="769" y="132"/>
                  </a:cubicBezTo>
                  <a:cubicBezTo>
                    <a:pt x="771" y="136"/>
                    <a:pt x="773" y="141"/>
                    <a:pt x="775" y="146"/>
                  </a:cubicBezTo>
                  <a:cubicBezTo>
                    <a:pt x="782" y="143"/>
                    <a:pt x="782" y="143"/>
                    <a:pt x="782" y="143"/>
                  </a:cubicBezTo>
                  <a:close/>
                  <a:moveTo>
                    <a:pt x="789" y="166"/>
                  </a:moveTo>
                  <a:cubicBezTo>
                    <a:pt x="787" y="160"/>
                    <a:pt x="786" y="155"/>
                    <a:pt x="784" y="151"/>
                  </a:cubicBezTo>
                  <a:cubicBezTo>
                    <a:pt x="777" y="153"/>
                    <a:pt x="777" y="153"/>
                    <a:pt x="777" y="153"/>
                  </a:cubicBezTo>
                  <a:cubicBezTo>
                    <a:pt x="779" y="158"/>
                    <a:pt x="780" y="162"/>
                    <a:pt x="781" y="167"/>
                  </a:cubicBezTo>
                  <a:cubicBezTo>
                    <a:pt x="789" y="166"/>
                    <a:pt x="789" y="166"/>
                    <a:pt x="789" y="166"/>
                  </a:cubicBezTo>
                  <a:close/>
                  <a:moveTo>
                    <a:pt x="792" y="188"/>
                  </a:moveTo>
                  <a:cubicBezTo>
                    <a:pt x="792" y="183"/>
                    <a:pt x="791" y="178"/>
                    <a:pt x="790" y="173"/>
                  </a:cubicBezTo>
                  <a:cubicBezTo>
                    <a:pt x="783" y="175"/>
                    <a:pt x="783" y="175"/>
                    <a:pt x="783" y="175"/>
                  </a:cubicBezTo>
                  <a:cubicBezTo>
                    <a:pt x="783" y="179"/>
                    <a:pt x="784" y="184"/>
                    <a:pt x="785" y="189"/>
                  </a:cubicBezTo>
                  <a:cubicBezTo>
                    <a:pt x="792" y="188"/>
                    <a:pt x="792" y="188"/>
                    <a:pt x="792" y="188"/>
                  </a:cubicBezTo>
                  <a:close/>
                  <a:moveTo>
                    <a:pt x="794" y="212"/>
                  </a:moveTo>
                  <a:cubicBezTo>
                    <a:pt x="794" y="206"/>
                    <a:pt x="794" y="201"/>
                    <a:pt x="793" y="196"/>
                  </a:cubicBezTo>
                  <a:cubicBezTo>
                    <a:pt x="786" y="197"/>
                    <a:pt x="786" y="197"/>
                    <a:pt x="786" y="197"/>
                  </a:cubicBezTo>
                  <a:cubicBezTo>
                    <a:pt x="786" y="202"/>
                    <a:pt x="786" y="207"/>
                    <a:pt x="786" y="212"/>
                  </a:cubicBezTo>
                  <a:cubicBezTo>
                    <a:pt x="794" y="212"/>
                    <a:pt x="794" y="212"/>
                    <a:pt x="794" y="212"/>
                  </a:cubicBezTo>
                  <a:close/>
                  <a:moveTo>
                    <a:pt x="794" y="235"/>
                  </a:moveTo>
                  <a:cubicBezTo>
                    <a:pt x="794" y="232"/>
                    <a:pt x="794" y="228"/>
                    <a:pt x="794" y="225"/>
                  </a:cubicBezTo>
                  <a:cubicBezTo>
                    <a:pt x="794" y="219"/>
                    <a:pt x="794" y="219"/>
                    <a:pt x="794" y="219"/>
                  </a:cubicBezTo>
                  <a:cubicBezTo>
                    <a:pt x="786" y="219"/>
                    <a:pt x="786" y="219"/>
                    <a:pt x="786" y="219"/>
                  </a:cubicBezTo>
                  <a:cubicBezTo>
                    <a:pt x="786" y="225"/>
                    <a:pt x="786" y="225"/>
                    <a:pt x="786" y="225"/>
                  </a:cubicBezTo>
                  <a:cubicBezTo>
                    <a:pt x="786" y="228"/>
                    <a:pt x="786" y="231"/>
                    <a:pt x="786" y="234"/>
                  </a:cubicBezTo>
                  <a:lnTo>
                    <a:pt x="794" y="235"/>
                  </a:lnTo>
                  <a:close/>
                  <a:moveTo>
                    <a:pt x="791" y="258"/>
                  </a:moveTo>
                  <a:cubicBezTo>
                    <a:pt x="792" y="253"/>
                    <a:pt x="793" y="248"/>
                    <a:pt x="793" y="242"/>
                  </a:cubicBezTo>
                  <a:cubicBezTo>
                    <a:pt x="786" y="242"/>
                    <a:pt x="786" y="242"/>
                    <a:pt x="786" y="242"/>
                  </a:cubicBezTo>
                  <a:cubicBezTo>
                    <a:pt x="785" y="247"/>
                    <a:pt x="785" y="252"/>
                    <a:pt x="784" y="257"/>
                  </a:cubicBezTo>
                  <a:lnTo>
                    <a:pt x="791" y="258"/>
                  </a:lnTo>
                  <a:close/>
                  <a:moveTo>
                    <a:pt x="787" y="280"/>
                  </a:moveTo>
                  <a:cubicBezTo>
                    <a:pt x="788" y="276"/>
                    <a:pt x="789" y="270"/>
                    <a:pt x="790" y="265"/>
                  </a:cubicBezTo>
                  <a:cubicBezTo>
                    <a:pt x="783" y="264"/>
                    <a:pt x="783" y="264"/>
                    <a:pt x="783" y="264"/>
                  </a:cubicBezTo>
                  <a:cubicBezTo>
                    <a:pt x="782" y="269"/>
                    <a:pt x="780" y="274"/>
                    <a:pt x="779" y="278"/>
                  </a:cubicBezTo>
                  <a:cubicBezTo>
                    <a:pt x="787" y="280"/>
                    <a:pt x="787" y="280"/>
                    <a:pt x="787" y="280"/>
                  </a:cubicBezTo>
                  <a:close/>
                  <a:moveTo>
                    <a:pt x="779" y="303"/>
                  </a:moveTo>
                  <a:cubicBezTo>
                    <a:pt x="781" y="298"/>
                    <a:pt x="783" y="293"/>
                    <a:pt x="785" y="288"/>
                  </a:cubicBezTo>
                  <a:cubicBezTo>
                    <a:pt x="777" y="286"/>
                    <a:pt x="777" y="286"/>
                    <a:pt x="777" y="286"/>
                  </a:cubicBezTo>
                  <a:cubicBezTo>
                    <a:pt x="776" y="290"/>
                    <a:pt x="774" y="295"/>
                    <a:pt x="772" y="300"/>
                  </a:cubicBezTo>
                  <a:lnTo>
                    <a:pt x="779" y="303"/>
                  </a:lnTo>
                  <a:close/>
                  <a:moveTo>
                    <a:pt x="770" y="324"/>
                  </a:moveTo>
                  <a:cubicBezTo>
                    <a:pt x="772" y="319"/>
                    <a:pt x="774" y="314"/>
                    <a:pt x="777" y="310"/>
                  </a:cubicBezTo>
                  <a:cubicBezTo>
                    <a:pt x="769" y="307"/>
                    <a:pt x="769" y="307"/>
                    <a:pt x="769" y="307"/>
                  </a:cubicBezTo>
                  <a:cubicBezTo>
                    <a:pt x="767" y="311"/>
                    <a:pt x="765" y="316"/>
                    <a:pt x="763" y="320"/>
                  </a:cubicBezTo>
                  <a:cubicBezTo>
                    <a:pt x="770" y="324"/>
                    <a:pt x="770" y="324"/>
                    <a:pt x="770" y="324"/>
                  </a:cubicBezTo>
                  <a:close/>
                  <a:moveTo>
                    <a:pt x="758" y="344"/>
                  </a:moveTo>
                  <a:cubicBezTo>
                    <a:pt x="761" y="339"/>
                    <a:pt x="764" y="335"/>
                    <a:pt x="766" y="330"/>
                  </a:cubicBezTo>
                  <a:cubicBezTo>
                    <a:pt x="759" y="327"/>
                    <a:pt x="759" y="327"/>
                    <a:pt x="759" y="327"/>
                  </a:cubicBezTo>
                  <a:cubicBezTo>
                    <a:pt x="757" y="331"/>
                    <a:pt x="754" y="335"/>
                    <a:pt x="752" y="339"/>
                  </a:cubicBezTo>
                  <a:cubicBezTo>
                    <a:pt x="758" y="344"/>
                    <a:pt x="758" y="344"/>
                    <a:pt x="758" y="344"/>
                  </a:cubicBezTo>
                  <a:close/>
                  <a:moveTo>
                    <a:pt x="744" y="362"/>
                  </a:moveTo>
                  <a:cubicBezTo>
                    <a:pt x="747" y="358"/>
                    <a:pt x="751" y="354"/>
                    <a:pt x="754" y="350"/>
                  </a:cubicBezTo>
                  <a:cubicBezTo>
                    <a:pt x="747" y="345"/>
                    <a:pt x="747" y="345"/>
                    <a:pt x="747" y="345"/>
                  </a:cubicBezTo>
                  <a:cubicBezTo>
                    <a:pt x="744" y="349"/>
                    <a:pt x="741" y="353"/>
                    <a:pt x="738" y="357"/>
                  </a:cubicBezTo>
                  <a:cubicBezTo>
                    <a:pt x="744" y="362"/>
                    <a:pt x="744" y="362"/>
                    <a:pt x="744" y="362"/>
                  </a:cubicBezTo>
                  <a:close/>
                  <a:moveTo>
                    <a:pt x="728" y="379"/>
                  </a:moveTo>
                  <a:cubicBezTo>
                    <a:pt x="732" y="376"/>
                    <a:pt x="736" y="372"/>
                    <a:pt x="739" y="368"/>
                  </a:cubicBezTo>
                  <a:cubicBezTo>
                    <a:pt x="733" y="363"/>
                    <a:pt x="733" y="363"/>
                    <a:pt x="733" y="363"/>
                  </a:cubicBezTo>
                  <a:cubicBezTo>
                    <a:pt x="730" y="367"/>
                    <a:pt x="727" y="370"/>
                    <a:pt x="723" y="374"/>
                  </a:cubicBezTo>
                  <a:lnTo>
                    <a:pt x="728" y="379"/>
                  </a:lnTo>
                  <a:close/>
                  <a:moveTo>
                    <a:pt x="711" y="394"/>
                  </a:moveTo>
                  <a:cubicBezTo>
                    <a:pt x="715" y="391"/>
                    <a:pt x="719" y="388"/>
                    <a:pt x="723" y="384"/>
                  </a:cubicBezTo>
                  <a:cubicBezTo>
                    <a:pt x="717" y="379"/>
                    <a:pt x="717" y="379"/>
                    <a:pt x="717" y="379"/>
                  </a:cubicBezTo>
                  <a:cubicBezTo>
                    <a:pt x="714" y="382"/>
                    <a:pt x="710" y="385"/>
                    <a:pt x="706" y="388"/>
                  </a:cubicBezTo>
                  <a:cubicBezTo>
                    <a:pt x="711" y="394"/>
                    <a:pt x="711" y="394"/>
                    <a:pt x="711" y="394"/>
                  </a:cubicBezTo>
                  <a:close/>
                  <a:moveTo>
                    <a:pt x="692" y="408"/>
                  </a:moveTo>
                  <a:cubicBezTo>
                    <a:pt x="696" y="405"/>
                    <a:pt x="700" y="402"/>
                    <a:pt x="705" y="399"/>
                  </a:cubicBezTo>
                  <a:cubicBezTo>
                    <a:pt x="700" y="393"/>
                    <a:pt x="700" y="393"/>
                    <a:pt x="700" y="393"/>
                  </a:cubicBezTo>
                  <a:cubicBezTo>
                    <a:pt x="696" y="396"/>
                    <a:pt x="692" y="398"/>
                    <a:pt x="688" y="401"/>
                  </a:cubicBezTo>
                  <a:cubicBezTo>
                    <a:pt x="692" y="408"/>
                    <a:pt x="692" y="408"/>
                    <a:pt x="692" y="408"/>
                  </a:cubicBezTo>
                  <a:close/>
                  <a:moveTo>
                    <a:pt x="671" y="419"/>
                  </a:moveTo>
                  <a:cubicBezTo>
                    <a:pt x="676" y="417"/>
                    <a:pt x="680" y="414"/>
                    <a:pt x="685" y="412"/>
                  </a:cubicBezTo>
                  <a:cubicBezTo>
                    <a:pt x="681" y="405"/>
                    <a:pt x="681" y="405"/>
                    <a:pt x="681" y="405"/>
                  </a:cubicBezTo>
                  <a:cubicBezTo>
                    <a:pt x="677" y="407"/>
                    <a:pt x="672" y="410"/>
                    <a:pt x="668" y="412"/>
                  </a:cubicBezTo>
                  <a:lnTo>
                    <a:pt x="671" y="419"/>
                  </a:lnTo>
                  <a:close/>
                  <a:moveTo>
                    <a:pt x="650" y="428"/>
                  </a:moveTo>
                  <a:cubicBezTo>
                    <a:pt x="655" y="426"/>
                    <a:pt x="659" y="424"/>
                    <a:pt x="664" y="422"/>
                  </a:cubicBezTo>
                  <a:cubicBezTo>
                    <a:pt x="661" y="415"/>
                    <a:pt x="661" y="415"/>
                    <a:pt x="661" y="415"/>
                  </a:cubicBezTo>
                  <a:cubicBezTo>
                    <a:pt x="656" y="417"/>
                    <a:pt x="652" y="419"/>
                    <a:pt x="647" y="420"/>
                  </a:cubicBezTo>
                  <a:cubicBezTo>
                    <a:pt x="650" y="428"/>
                    <a:pt x="650" y="428"/>
                    <a:pt x="650" y="428"/>
                  </a:cubicBezTo>
                  <a:close/>
                  <a:moveTo>
                    <a:pt x="627" y="434"/>
                  </a:moveTo>
                  <a:cubicBezTo>
                    <a:pt x="632" y="433"/>
                    <a:pt x="637" y="431"/>
                    <a:pt x="642" y="430"/>
                  </a:cubicBezTo>
                  <a:cubicBezTo>
                    <a:pt x="640" y="423"/>
                    <a:pt x="640" y="423"/>
                    <a:pt x="640" y="423"/>
                  </a:cubicBezTo>
                  <a:cubicBezTo>
                    <a:pt x="635" y="424"/>
                    <a:pt x="630" y="425"/>
                    <a:pt x="626" y="426"/>
                  </a:cubicBezTo>
                  <a:lnTo>
                    <a:pt x="627" y="434"/>
                  </a:lnTo>
                  <a:close/>
                  <a:moveTo>
                    <a:pt x="604" y="438"/>
                  </a:moveTo>
                  <a:cubicBezTo>
                    <a:pt x="610" y="437"/>
                    <a:pt x="615" y="437"/>
                    <a:pt x="620" y="436"/>
                  </a:cubicBezTo>
                  <a:cubicBezTo>
                    <a:pt x="618" y="428"/>
                    <a:pt x="618" y="428"/>
                    <a:pt x="618" y="428"/>
                  </a:cubicBezTo>
                  <a:cubicBezTo>
                    <a:pt x="613" y="429"/>
                    <a:pt x="609" y="430"/>
                    <a:pt x="604" y="430"/>
                  </a:cubicBezTo>
                  <a:cubicBezTo>
                    <a:pt x="604" y="438"/>
                    <a:pt x="604" y="438"/>
                    <a:pt x="604" y="438"/>
                  </a:cubicBezTo>
                  <a:close/>
                  <a:moveTo>
                    <a:pt x="581" y="439"/>
                  </a:moveTo>
                  <a:cubicBezTo>
                    <a:pt x="586" y="439"/>
                    <a:pt x="592" y="439"/>
                    <a:pt x="597" y="439"/>
                  </a:cubicBezTo>
                  <a:cubicBezTo>
                    <a:pt x="596" y="431"/>
                    <a:pt x="596" y="431"/>
                    <a:pt x="596" y="431"/>
                  </a:cubicBezTo>
                  <a:cubicBezTo>
                    <a:pt x="591" y="431"/>
                    <a:pt x="586" y="431"/>
                    <a:pt x="581" y="432"/>
                  </a:cubicBezTo>
                  <a:lnTo>
                    <a:pt x="581" y="439"/>
                  </a:lnTo>
                  <a:close/>
                  <a:moveTo>
                    <a:pt x="558" y="439"/>
                  </a:moveTo>
                  <a:cubicBezTo>
                    <a:pt x="574" y="439"/>
                    <a:pt x="574" y="439"/>
                    <a:pt x="574" y="439"/>
                  </a:cubicBezTo>
                  <a:cubicBezTo>
                    <a:pt x="574" y="432"/>
                    <a:pt x="574" y="432"/>
                    <a:pt x="574" y="432"/>
                  </a:cubicBezTo>
                  <a:cubicBezTo>
                    <a:pt x="558" y="432"/>
                    <a:pt x="558" y="432"/>
                    <a:pt x="558" y="432"/>
                  </a:cubicBezTo>
                  <a:lnTo>
                    <a:pt x="558" y="439"/>
                  </a:lnTo>
                  <a:close/>
                  <a:moveTo>
                    <a:pt x="536" y="439"/>
                  </a:moveTo>
                  <a:cubicBezTo>
                    <a:pt x="551" y="439"/>
                    <a:pt x="551" y="439"/>
                    <a:pt x="551" y="439"/>
                  </a:cubicBezTo>
                  <a:cubicBezTo>
                    <a:pt x="551" y="432"/>
                    <a:pt x="551" y="432"/>
                    <a:pt x="551" y="432"/>
                  </a:cubicBezTo>
                  <a:cubicBezTo>
                    <a:pt x="536" y="432"/>
                    <a:pt x="536" y="432"/>
                    <a:pt x="536" y="432"/>
                  </a:cubicBezTo>
                  <a:lnTo>
                    <a:pt x="536" y="439"/>
                  </a:lnTo>
                  <a:close/>
                  <a:moveTo>
                    <a:pt x="513" y="439"/>
                  </a:moveTo>
                  <a:cubicBezTo>
                    <a:pt x="528" y="439"/>
                    <a:pt x="528" y="439"/>
                    <a:pt x="528" y="439"/>
                  </a:cubicBezTo>
                  <a:cubicBezTo>
                    <a:pt x="528" y="432"/>
                    <a:pt x="528" y="432"/>
                    <a:pt x="528" y="432"/>
                  </a:cubicBezTo>
                  <a:cubicBezTo>
                    <a:pt x="513" y="432"/>
                    <a:pt x="513" y="432"/>
                    <a:pt x="513" y="432"/>
                  </a:cubicBezTo>
                  <a:lnTo>
                    <a:pt x="513" y="439"/>
                  </a:lnTo>
                  <a:close/>
                  <a:moveTo>
                    <a:pt x="490" y="439"/>
                  </a:moveTo>
                  <a:cubicBezTo>
                    <a:pt x="505" y="439"/>
                    <a:pt x="505" y="439"/>
                    <a:pt x="505" y="439"/>
                  </a:cubicBezTo>
                  <a:cubicBezTo>
                    <a:pt x="505" y="432"/>
                    <a:pt x="505" y="432"/>
                    <a:pt x="505" y="432"/>
                  </a:cubicBezTo>
                  <a:cubicBezTo>
                    <a:pt x="490" y="432"/>
                    <a:pt x="490" y="432"/>
                    <a:pt x="490" y="432"/>
                  </a:cubicBezTo>
                  <a:lnTo>
                    <a:pt x="490" y="439"/>
                  </a:lnTo>
                  <a:close/>
                  <a:moveTo>
                    <a:pt x="467" y="439"/>
                  </a:moveTo>
                  <a:cubicBezTo>
                    <a:pt x="482" y="439"/>
                    <a:pt x="482" y="439"/>
                    <a:pt x="482" y="439"/>
                  </a:cubicBezTo>
                  <a:cubicBezTo>
                    <a:pt x="482" y="432"/>
                    <a:pt x="482" y="432"/>
                    <a:pt x="482" y="432"/>
                  </a:cubicBezTo>
                  <a:cubicBezTo>
                    <a:pt x="467" y="432"/>
                    <a:pt x="467" y="432"/>
                    <a:pt x="467" y="432"/>
                  </a:cubicBezTo>
                  <a:lnTo>
                    <a:pt x="467" y="439"/>
                  </a:lnTo>
                  <a:close/>
                  <a:moveTo>
                    <a:pt x="444" y="439"/>
                  </a:moveTo>
                  <a:cubicBezTo>
                    <a:pt x="459" y="439"/>
                    <a:pt x="459" y="439"/>
                    <a:pt x="459" y="439"/>
                  </a:cubicBezTo>
                  <a:cubicBezTo>
                    <a:pt x="459" y="432"/>
                    <a:pt x="459" y="432"/>
                    <a:pt x="459" y="432"/>
                  </a:cubicBezTo>
                  <a:cubicBezTo>
                    <a:pt x="444" y="432"/>
                    <a:pt x="444" y="432"/>
                    <a:pt x="444" y="432"/>
                  </a:cubicBezTo>
                  <a:lnTo>
                    <a:pt x="444" y="439"/>
                  </a:lnTo>
                  <a:close/>
                  <a:moveTo>
                    <a:pt x="421" y="439"/>
                  </a:moveTo>
                  <a:cubicBezTo>
                    <a:pt x="437" y="439"/>
                    <a:pt x="437" y="439"/>
                    <a:pt x="437" y="439"/>
                  </a:cubicBezTo>
                  <a:cubicBezTo>
                    <a:pt x="437" y="432"/>
                    <a:pt x="437" y="432"/>
                    <a:pt x="437" y="432"/>
                  </a:cubicBezTo>
                  <a:cubicBezTo>
                    <a:pt x="421" y="432"/>
                    <a:pt x="421" y="432"/>
                    <a:pt x="421" y="432"/>
                  </a:cubicBezTo>
                  <a:lnTo>
                    <a:pt x="421" y="439"/>
                  </a:lnTo>
                  <a:close/>
                  <a:moveTo>
                    <a:pt x="399" y="439"/>
                  </a:moveTo>
                  <a:cubicBezTo>
                    <a:pt x="414" y="439"/>
                    <a:pt x="414" y="439"/>
                    <a:pt x="414" y="439"/>
                  </a:cubicBezTo>
                  <a:cubicBezTo>
                    <a:pt x="414" y="432"/>
                    <a:pt x="414" y="432"/>
                    <a:pt x="414" y="432"/>
                  </a:cubicBezTo>
                  <a:cubicBezTo>
                    <a:pt x="399" y="432"/>
                    <a:pt x="399" y="432"/>
                    <a:pt x="399" y="432"/>
                  </a:cubicBezTo>
                  <a:lnTo>
                    <a:pt x="399" y="439"/>
                  </a:lnTo>
                  <a:close/>
                  <a:moveTo>
                    <a:pt x="376" y="439"/>
                  </a:moveTo>
                  <a:cubicBezTo>
                    <a:pt x="391" y="439"/>
                    <a:pt x="391" y="439"/>
                    <a:pt x="391" y="439"/>
                  </a:cubicBezTo>
                  <a:cubicBezTo>
                    <a:pt x="391" y="432"/>
                    <a:pt x="391" y="432"/>
                    <a:pt x="391" y="432"/>
                  </a:cubicBezTo>
                  <a:cubicBezTo>
                    <a:pt x="376" y="432"/>
                    <a:pt x="376" y="432"/>
                    <a:pt x="376" y="432"/>
                  </a:cubicBezTo>
                  <a:lnTo>
                    <a:pt x="376" y="439"/>
                  </a:lnTo>
                  <a:close/>
                  <a:moveTo>
                    <a:pt x="353" y="439"/>
                  </a:moveTo>
                  <a:cubicBezTo>
                    <a:pt x="368" y="439"/>
                    <a:pt x="368" y="439"/>
                    <a:pt x="368" y="439"/>
                  </a:cubicBezTo>
                  <a:cubicBezTo>
                    <a:pt x="368" y="432"/>
                    <a:pt x="368" y="432"/>
                    <a:pt x="368" y="432"/>
                  </a:cubicBezTo>
                  <a:cubicBezTo>
                    <a:pt x="353" y="432"/>
                    <a:pt x="353" y="432"/>
                    <a:pt x="353" y="432"/>
                  </a:cubicBezTo>
                  <a:lnTo>
                    <a:pt x="353" y="439"/>
                  </a:lnTo>
                  <a:close/>
                  <a:moveTo>
                    <a:pt x="330" y="439"/>
                  </a:moveTo>
                  <a:cubicBezTo>
                    <a:pt x="345" y="439"/>
                    <a:pt x="345" y="439"/>
                    <a:pt x="345" y="439"/>
                  </a:cubicBezTo>
                  <a:cubicBezTo>
                    <a:pt x="345" y="432"/>
                    <a:pt x="345" y="432"/>
                    <a:pt x="345" y="432"/>
                  </a:cubicBezTo>
                  <a:cubicBezTo>
                    <a:pt x="330" y="432"/>
                    <a:pt x="330" y="432"/>
                    <a:pt x="330" y="432"/>
                  </a:cubicBezTo>
                  <a:lnTo>
                    <a:pt x="330" y="439"/>
                  </a:lnTo>
                  <a:close/>
                  <a:moveTo>
                    <a:pt x="307" y="439"/>
                  </a:moveTo>
                  <a:cubicBezTo>
                    <a:pt x="323" y="439"/>
                    <a:pt x="323" y="439"/>
                    <a:pt x="323" y="439"/>
                  </a:cubicBezTo>
                  <a:cubicBezTo>
                    <a:pt x="323" y="432"/>
                    <a:pt x="323" y="432"/>
                    <a:pt x="323" y="432"/>
                  </a:cubicBezTo>
                  <a:cubicBezTo>
                    <a:pt x="307" y="432"/>
                    <a:pt x="307" y="432"/>
                    <a:pt x="307" y="432"/>
                  </a:cubicBezTo>
                  <a:lnTo>
                    <a:pt x="307" y="439"/>
                  </a:lnTo>
                  <a:close/>
                  <a:moveTo>
                    <a:pt x="284" y="439"/>
                  </a:moveTo>
                  <a:cubicBezTo>
                    <a:pt x="300" y="439"/>
                    <a:pt x="300" y="439"/>
                    <a:pt x="300" y="439"/>
                  </a:cubicBezTo>
                  <a:cubicBezTo>
                    <a:pt x="300" y="432"/>
                    <a:pt x="300" y="432"/>
                    <a:pt x="300" y="432"/>
                  </a:cubicBezTo>
                  <a:cubicBezTo>
                    <a:pt x="284" y="432"/>
                    <a:pt x="284" y="432"/>
                    <a:pt x="284" y="432"/>
                  </a:cubicBezTo>
                  <a:lnTo>
                    <a:pt x="284" y="439"/>
                  </a:lnTo>
                  <a:close/>
                  <a:moveTo>
                    <a:pt x="262" y="439"/>
                  </a:moveTo>
                  <a:cubicBezTo>
                    <a:pt x="277" y="439"/>
                    <a:pt x="277" y="439"/>
                    <a:pt x="277" y="439"/>
                  </a:cubicBezTo>
                  <a:cubicBezTo>
                    <a:pt x="277" y="432"/>
                    <a:pt x="277" y="432"/>
                    <a:pt x="277" y="432"/>
                  </a:cubicBezTo>
                  <a:cubicBezTo>
                    <a:pt x="262" y="432"/>
                    <a:pt x="262" y="432"/>
                    <a:pt x="262" y="432"/>
                  </a:cubicBezTo>
                  <a:lnTo>
                    <a:pt x="262" y="439"/>
                  </a:lnTo>
                  <a:close/>
                  <a:moveTo>
                    <a:pt x="239" y="439"/>
                  </a:moveTo>
                  <a:cubicBezTo>
                    <a:pt x="254" y="439"/>
                    <a:pt x="254" y="439"/>
                    <a:pt x="254" y="439"/>
                  </a:cubicBezTo>
                  <a:cubicBezTo>
                    <a:pt x="254" y="432"/>
                    <a:pt x="254" y="432"/>
                    <a:pt x="254" y="432"/>
                  </a:cubicBezTo>
                  <a:cubicBezTo>
                    <a:pt x="239" y="432"/>
                    <a:pt x="239" y="432"/>
                    <a:pt x="239" y="432"/>
                  </a:cubicBezTo>
                  <a:lnTo>
                    <a:pt x="239" y="439"/>
                  </a:lnTo>
                  <a:close/>
                  <a:moveTo>
                    <a:pt x="216" y="439"/>
                  </a:moveTo>
                  <a:cubicBezTo>
                    <a:pt x="231" y="439"/>
                    <a:pt x="231" y="439"/>
                    <a:pt x="231" y="439"/>
                  </a:cubicBezTo>
                  <a:cubicBezTo>
                    <a:pt x="231" y="432"/>
                    <a:pt x="231" y="432"/>
                    <a:pt x="231" y="432"/>
                  </a:cubicBezTo>
                  <a:cubicBezTo>
                    <a:pt x="216" y="432"/>
                    <a:pt x="216" y="432"/>
                    <a:pt x="216" y="432"/>
                  </a:cubicBezTo>
                  <a:lnTo>
                    <a:pt x="216" y="439"/>
                  </a:lnTo>
                  <a:close/>
                  <a:moveTo>
                    <a:pt x="193" y="438"/>
                  </a:moveTo>
                  <a:cubicBezTo>
                    <a:pt x="198" y="439"/>
                    <a:pt x="203" y="439"/>
                    <a:pt x="208" y="439"/>
                  </a:cubicBezTo>
                  <a:cubicBezTo>
                    <a:pt x="208" y="431"/>
                    <a:pt x="208" y="431"/>
                    <a:pt x="208" y="431"/>
                  </a:cubicBezTo>
                  <a:cubicBezTo>
                    <a:pt x="203" y="431"/>
                    <a:pt x="199" y="431"/>
                    <a:pt x="194" y="430"/>
                  </a:cubicBezTo>
                  <a:lnTo>
                    <a:pt x="193" y="438"/>
                  </a:lnTo>
                  <a:close/>
                  <a:moveTo>
                    <a:pt x="170" y="435"/>
                  </a:moveTo>
                  <a:cubicBezTo>
                    <a:pt x="175" y="436"/>
                    <a:pt x="180" y="437"/>
                    <a:pt x="185" y="437"/>
                  </a:cubicBezTo>
                  <a:cubicBezTo>
                    <a:pt x="186" y="430"/>
                    <a:pt x="186" y="430"/>
                    <a:pt x="186" y="430"/>
                  </a:cubicBezTo>
                  <a:cubicBezTo>
                    <a:pt x="181" y="429"/>
                    <a:pt x="176" y="428"/>
                    <a:pt x="171" y="427"/>
                  </a:cubicBezTo>
                  <a:lnTo>
                    <a:pt x="170" y="435"/>
                  </a:lnTo>
                  <a:close/>
                  <a:moveTo>
                    <a:pt x="147" y="429"/>
                  </a:moveTo>
                  <a:cubicBezTo>
                    <a:pt x="152" y="430"/>
                    <a:pt x="157" y="432"/>
                    <a:pt x="162" y="433"/>
                  </a:cubicBezTo>
                  <a:cubicBezTo>
                    <a:pt x="164" y="425"/>
                    <a:pt x="164" y="425"/>
                    <a:pt x="164" y="425"/>
                  </a:cubicBezTo>
                  <a:cubicBezTo>
                    <a:pt x="159" y="424"/>
                    <a:pt x="155" y="423"/>
                    <a:pt x="150" y="421"/>
                  </a:cubicBezTo>
                  <a:cubicBezTo>
                    <a:pt x="147" y="429"/>
                    <a:pt x="147" y="429"/>
                    <a:pt x="147" y="429"/>
                  </a:cubicBezTo>
                  <a:close/>
                  <a:moveTo>
                    <a:pt x="126" y="420"/>
                  </a:moveTo>
                  <a:cubicBezTo>
                    <a:pt x="131" y="422"/>
                    <a:pt x="135" y="424"/>
                    <a:pt x="140" y="426"/>
                  </a:cubicBezTo>
                  <a:cubicBezTo>
                    <a:pt x="143" y="419"/>
                    <a:pt x="143" y="419"/>
                    <a:pt x="143" y="419"/>
                  </a:cubicBezTo>
                  <a:cubicBezTo>
                    <a:pt x="138" y="417"/>
                    <a:pt x="134" y="415"/>
                    <a:pt x="129" y="413"/>
                  </a:cubicBezTo>
                  <a:cubicBezTo>
                    <a:pt x="126" y="420"/>
                    <a:pt x="126" y="420"/>
                    <a:pt x="126" y="420"/>
                  </a:cubicBezTo>
                  <a:close/>
                  <a:moveTo>
                    <a:pt x="105" y="409"/>
                  </a:moveTo>
                  <a:cubicBezTo>
                    <a:pt x="110" y="412"/>
                    <a:pt x="114" y="414"/>
                    <a:pt x="119" y="417"/>
                  </a:cubicBezTo>
                  <a:cubicBezTo>
                    <a:pt x="122" y="410"/>
                    <a:pt x="122" y="410"/>
                    <a:pt x="122" y="410"/>
                  </a:cubicBezTo>
                  <a:cubicBezTo>
                    <a:pt x="118" y="408"/>
                    <a:pt x="114" y="405"/>
                    <a:pt x="109" y="403"/>
                  </a:cubicBezTo>
                  <a:cubicBezTo>
                    <a:pt x="105" y="409"/>
                    <a:pt x="105" y="409"/>
                    <a:pt x="105" y="409"/>
                  </a:cubicBezTo>
                  <a:close/>
                  <a:moveTo>
                    <a:pt x="86" y="396"/>
                  </a:moveTo>
                  <a:cubicBezTo>
                    <a:pt x="90" y="400"/>
                    <a:pt x="94" y="402"/>
                    <a:pt x="99" y="405"/>
                  </a:cubicBezTo>
                  <a:cubicBezTo>
                    <a:pt x="103" y="399"/>
                    <a:pt x="103" y="399"/>
                    <a:pt x="103" y="399"/>
                  </a:cubicBezTo>
                  <a:cubicBezTo>
                    <a:pt x="99" y="396"/>
                    <a:pt x="95" y="393"/>
                    <a:pt x="91" y="390"/>
                  </a:cubicBezTo>
                  <a:cubicBezTo>
                    <a:pt x="86" y="396"/>
                    <a:pt x="86" y="396"/>
                    <a:pt x="86" y="396"/>
                  </a:cubicBezTo>
                  <a:close/>
                  <a:moveTo>
                    <a:pt x="68" y="381"/>
                  </a:moveTo>
                  <a:cubicBezTo>
                    <a:pt x="72" y="385"/>
                    <a:pt x="76" y="388"/>
                    <a:pt x="80" y="392"/>
                  </a:cubicBezTo>
                  <a:cubicBezTo>
                    <a:pt x="85" y="386"/>
                    <a:pt x="85" y="386"/>
                    <a:pt x="85" y="386"/>
                  </a:cubicBezTo>
                  <a:cubicBezTo>
                    <a:pt x="81" y="382"/>
                    <a:pt x="77" y="379"/>
                    <a:pt x="74" y="376"/>
                  </a:cubicBezTo>
                  <a:lnTo>
                    <a:pt x="68" y="381"/>
                  </a:lnTo>
                  <a:close/>
                  <a:moveTo>
                    <a:pt x="52" y="365"/>
                  </a:moveTo>
                  <a:cubicBezTo>
                    <a:pt x="55" y="369"/>
                    <a:pt x="59" y="372"/>
                    <a:pt x="63" y="376"/>
                  </a:cubicBezTo>
                  <a:cubicBezTo>
                    <a:pt x="68" y="371"/>
                    <a:pt x="68" y="371"/>
                    <a:pt x="68" y="371"/>
                  </a:cubicBezTo>
                  <a:cubicBezTo>
                    <a:pt x="65" y="367"/>
                    <a:pt x="61" y="363"/>
                    <a:pt x="58" y="360"/>
                  </a:cubicBezTo>
                  <a:cubicBezTo>
                    <a:pt x="52" y="365"/>
                    <a:pt x="52" y="365"/>
                    <a:pt x="52" y="365"/>
                  </a:cubicBezTo>
                  <a:close/>
                  <a:moveTo>
                    <a:pt x="38" y="346"/>
                  </a:moveTo>
                  <a:cubicBezTo>
                    <a:pt x="41" y="351"/>
                    <a:pt x="44" y="355"/>
                    <a:pt x="47" y="359"/>
                  </a:cubicBezTo>
                  <a:cubicBezTo>
                    <a:pt x="53" y="354"/>
                    <a:pt x="53" y="354"/>
                    <a:pt x="53" y="354"/>
                  </a:cubicBezTo>
                  <a:cubicBezTo>
                    <a:pt x="50" y="350"/>
                    <a:pt x="47" y="346"/>
                    <a:pt x="44" y="342"/>
                  </a:cubicBezTo>
                  <a:cubicBezTo>
                    <a:pt x="38" y="346"/>
                    <a:pt x="38" y="346"/>
                    <a:pt x="38" y="346"/>
                  </a:cubicBezTo>
                  <a:close/>
                  <a:moveTo>
                    <a:pt x="26" y="327"/>
                  </a:moveTo>
                  <a:cubicBezTo>
                    <a:pt x="28" y="331"/>
                    <a:pt x="31" y="336"/>
                    <a:pt x="34" y="340"/>
                  </a:cubicBezTo>
                  <a:cubicBezTo>
                    <a:pt x="40" y="336"/>
                    <a:pt x="40" y="336"/>
                    <a:pt x="40" y="336"/>
                  </a:cubicBezTo>
                  <a:cubicBezTo>
                    <a:pt x="37" y="332"/>
                    <a:pt x="35" y="327"/>
                    <a:pt x="33" y="323"/>
                  </a:cubicBezTo>
                  <a:lnTo>
                    <a:pt x="26" y="327"/>
                  </a:lnTo>
                  <a:close/>
                  <a:moveTo>
                    <a:pt x="16" y="305"/>
                  </a:moveTo>
                  <a:cubicBezTo>
                    <a:pt x="18" y="310"/>
                    <a:pt x="20" y="315"/>
                    <a:pt x="22" y="320"/>
                  </a:cubicBezTo>
                  <a:cubicBezTo>
                    <a:pt x="29" y="316"/>
                    <a:pt x="29" y="316"/>
                    <a:pt x="29" y="316"/>
                  </a:cubicBezTo>
                  <a:cubicBezTo>
                    <a:pt x="27" y="312"/>
                    <a:pt x="25" y="307"/>
                    <a:pt x="23" y="303"/>
                  </a:cubicBezTo>
                  <a:cubicBezTo>
                    <a:pt x="16" y="305"/>
                    <a:pt x="16" y="305"/>
                    <a:pt x="16" y="305"/>
                  </a:cubicBezTo>
                  <a:close/>
                  <a:moveTo>
                    <a:pt x="8" y="283"/>
                  </a:moveTo>
                  <a:cubicBezTo>
                    <a:pt x="10" y="288"/>
                    <a:pt x="11" y="293"/>
                    <a:pt x="13" y="298"/>
                  </a:cubicBezTo>
                  <a:cubicBezTo>
                    <a:pt x="20" y="296"/>
                    <a:pt x="20" y="296"/>
                    <a:pt x="20" y="296"/>
                  </a:cubicBezTo>
                  <a:cubicBezTo>
                    <a:pt x="19" y="291"/>
                    <a:pt x="17" y="286"/>
                    <a:pt x="16" y="281"/>
                  </a:cubicBezTo>
                  <a:cubicBezTo>
                    <a:pt x="8" y="283"/>
                    <a:pt x="8" y="283"/>
                    <a:pt x="8" y="283"/>
                  </a:cubicBezTo>
                  <a:close/>
                  <a:moveTo>
                    <a:pt x="3" y="261"/>
                  </a:moveTo>
                  <a:cubicBezTo>
                    <a:pt x="4" y="266"/>
                    <a:pt x="5" y="271"/>
                    <a:pt x="6" y="276"/>
                  </a:cubicBezTo>
                  <a:cubicBezTo>
                    <a:pt x="14" y="274"/>
                    <a:pt x="14" y="274"/>
                    <a:pt x="14" y="274"/>
                  </a:cubicBezTo>
                  <a:cubicBezTo>
                    <a:pt x="13" y="269"/>
                    <a:pt x="12" y="264"/>
                    <a:pt x="11" y="260"/>
                  </a:cubicBezTo>
                  <a:cubicBezTo>
                    <a:pt x="3" y="261"/>
                    <a:pt x="3" y="261"/>
                    <a:pt x="3" y="261"/>
                  </a:cubicBezTo>
                  <a:close/>
                  <a:moveTo>
                    <a:pt x="1" y="238"/>
                  </a:moveTo>
                  <a:cubicBezTo>
                    <a:pt x="1" y="243"/>
                    <a:pt x="1" y="248"/>
                    <a:pt x="2" y="253"/>
                  </a:cubicBezTo>
                  <a:cubicBezTo>
                    <a:pt x="10" y="252"/>
                    <a:pt x="10" y="252"/>
                    <a:pt x="10" y="252"/>
                  </a:cubicBezTo>
                  <a:cubicBezTo>
                    <a:pt x="9" y="247"/>
                    <a:pt x="9" y="242"/>
                    <a:pt x="8" y="237"/>
                  </a:cubicBezTo>
                  <a:lnTo>
                    <a:pt x="1" y="238"/>
                  </a:lnTo>
                  <a:close/>
                  <a:moveTo>
                    <a:pt x="0" y="215"/>
                  </a:moveTo>
                  <a:cubicBezTo>
                    <a:pt x="0" y="225"/>
                    <a:pt x="0" y="225"/>
                    <a:pt x="0" y="225"/>
                  </a:cubicBezTo>
                  <a:cubicBezTo>
                    <a:pt x="0" y="227"/>
                    <a:pt x="0" y="228"/>
                    <a:pt x="0" y="230"/>
                  </a:cubicBezTo>
                  <a:cubicBezTo>
                    <a:pt x="8" y="230"/>
                    <a:pt x="8" y="230"/>
                    <a:pt x="8" y="230"/>
                  </a:cubicBezTo>
                  <a:cubicBezTo>
                    <a:pt x="8" y="228"/>
                    <a:pt x="8" y="227"/>
                    <a:pt x="8" y="225"/>
                  </a:cubicBezTo>
                  <a:cubicBezTo>
                    <a:pt x="8" y="215"/>
                    <a:pt x="8" y="215"/>
                    <a:pt x="8" y="215"/>
                  </a:cubicBezTo>
                  <a:cubicBezTo>
                    <a:pt x="0" y="215"/>
                    <a:pt x="0" y="215"/>
                    <a:pt x="0" y="215"/>
                  </a:cubicBezTo>
                  <a:close/>
                  <a:moveTo>
                    <a:pt x="1" y="192"/>
                  </a:moveTo>
                  <a:cubicBezTo>
                    <a:pt x="1" y="197"/>
                    <a:pt x="0" y="202"/>
                    <a:pt x="0" y="207"/>
                  </a:cubicBezTo>
                  <a:cubicBezTo>
                    <a:pt x="8" y="207"/>
                    <a:pt x="8" y="207"/>
                    <a:pt x="8" y="207"/>
                  </a:cubicBezTo>
                  <a:cubicBezTo>
                    <a:pt x="8" y="202"/>
                    <a:pt x="9" y="197"/>
                    <a:pt x="9" y="192"/>
                  </a:cubicBezTo>
                  <a:cubicBezTo>
                    <a:pt x="1" y="192"/>
                    <a:pt x="1" y="192"/>
                    <a:pt x="1" y="192"/>
                  </a:cubicBezTo>
                  <a:close/>
                  <a:moveTo>
                    <a:pt x="5" y="169"/>
                  </a:moveTo>
                  <a:cubicBezTo>
                    <a:pt x="4" y="174"/>
                    <a:pt x="3" y="179"/>
                    <a:pt x="2" y="184"/>
                  </a:cubicBezTo>
                  <a:cubicBezTo>
                    <a:pt x="10" y="185"/>
                    <a:pt x="10" y="185"/>
                    <a:pt x="10" y="185"/>
                  </a:cubicBezTo>
                  <a:cubicBezTo>
                    <a:pt x="11" y="180"/>
                    <a:pt x="12" y="175"/>
                    <a:pt x="13" y="170"/>
                  </a:cubicBezTo>
                  <a:cubicBezTo>
                    <a:pt x="5" y="169"/>
                    <a:pt x="5" y="169"/>
                    <a:pt x="5" y="169"/>
                  </a:cubicBezTo>
                  <a:close/>
                  <a:moveTo>
                    <a:pt x="11" y="146"/>
                  </a:moveTo>
                  <a:cubicBezTo>
                    <a:pt x="10" y="151"/>
                    <a:pt x="8" y="156"/>
                    <a:pt x="7" y="161"/>
                  </a:cubicBezTo>
                  <a:cubicBezTo>
                    <a:pt x="14" y="163"/>
                    <a:pt x="14" y="163"/>
                    <a:pt x="14" y="163"/>
                  </a:cubicBezTo>
                  <a:cubicBezTo>
                    <a:pt x="16" y="158"/>
                    <a:pt x="17" y="153"/>
                    <a:pt x="18" y="149"/>
                  </a:cubicBezTo>
                  <a:cubicBezTo>
                    <a:pt x="11" y="146"/>
                    <a:pt x="11" y="146"/>
                    <a:pt x="11" y="146"/>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0"/>
            <p:cNvSpPr>
              <a:spLocks/>
            </p:cNvSpPr>
            <p:nvPr/>
          </p:nvSpPr>
          <p:spPr bwMode="auto">
            <a:xfrm>
              <a:off x="5165726" y="4114684"/>
              <a:ext cx="180975" cy="274638"/>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Freeform 31"/>
            <p:cNvSpPr>
              <a:spLocks noEditPoints="1"/>
            </p:cNvSpPr>
            <p:nvPr/>
          </p:nvSpPr>
          <p:spPr bwMode="auto">
            <a:xfrm>
              <a:off x="5429251" y="4035309"/>
              <a:ext cx="211138" cy="392113"/>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Freeform 32"/>
            <p:cNvSpPr>
              <a:spLocks/>
            </p:cNvSpPr>
            <p:nvPr/>
          </p:nvSpPr>
          <p:spPr bwMode="auto">
            <a:xfrm>
              <a:off x="5718176" y="4111509"/>
              <a:ext cx="180975" cy="274638"/>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pic>
          <p:nvPicPr>
            <p:cNvPr id="7202" name="Picture 3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4638" y="3957521"/>
              <a:ext cx="574675"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08" name="Group 7207"/>
          <p:cNvGrpSpPr/>
          <p:nvPr/>
        </p:nvGrpSpPr>
        <p:grpSpPr>
          <a:xfrm>
            <a:off x="2836863" y="3359034"/>
            <a:ext cx="1244600" cy="2293937"/>
            <a:chOff x="2836863" y="3359034"/>
            <a:chExt cx="1244600" cy="2293937"/>
          </a:xfrm>
        </p:grpSpPr>
        <p:sp>
          <p:nvSpPr>
            <p:cNvPr id="50" name="Rectangle 50"/>
            <p:cNvSpPr>
              <a:spLocks noChangeArrowheads="1"/>
            </p:cNvSpPr>
            <p:nvPr/>
          </p:nvSpPr>
          <p:spPr bwMode="auto">
            <a:xfrm>
              <a:off x="2890838" y="5133859"/>
              <a:ext cx="11906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essage s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Freeform 5"/>
            <p:cNvSpPr>
              <a:spLocks noEditPoints="1"/>
            </p:cNvSpPr>
            <p:nvPr/>
          </p:nvSpPr>
          <p:spPr bwMode="auto">
            <a:xfrm>
              <a:off x="3378201" y="3359034"/>
              <a:ext cx="30163" cy="296863"/>
            </a:xfrm>
            <a:custGeom>
              <a:avLst/>
              <a:gdLst>
                <a:gd name="T0" fmla="*/ 0 w 19"/>
                <a:gd name="T1" fmla="*/ 166 h 187"/>
                <a:gd name="T2" fmla="*/ 0 w 19"/>
                <a:gd name="T3" fmla="*/ 187 h 187"/>
                <a:gd name="T4" fmla="*/ 19 w 19"/>
                <a:gd name="T5" fmla="*/ 187 h 187"/>
                <a:gd name="T6" fmla="*/ 19 w 19"/>
                <a:gd name="T7" fmla="*/ 166 h 187"/>
                <a:gd name="T8" fmla="*/ 0 w 19"/>
                <a:gd name="T9" fmla="*/ 166 h 187"/>
                <a:gd name="T10" fmla="*/ 0 w 19"/>
                <a:gd name="T11" fmla="*/ 166 h 187"/>
                <a:gd name="T12" fmla="*/ 0 w 19"/>
                <a:gd name="T13" fmla="*/ 166 h 187"/>
                <a:gd name="T14" fmla="*/ 19 w 19"/>
                <a:gd name="T15" fmla="*/ 166 h 187"/>
                <a:gd name="T16" fmla="*/ 19 w 19"/>
                <a:gd name="T17" fmla="*/ 166 h 187"/>
                <a:gd name="T18" fmla="*/ 0 w 19"/>
                <a:gd name="T19" fmla="*/ 166 h 187"/>
                <a:gd name="T20" fmla="*/ 0 w 19"/>
                <a:gd name="T21" fmla="*/ 111 h 187"/>
                <a:gd name="T22" fmla="*/ 0 w 19"/>
                <a:gd name="T23" fmla="*/ 147 h 187"/>
                <a:gd name="T24" fmla="*/ 19 w 19"/>
                <a:gd name="T25" fmla="*/ 147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6"/>
                  </a:moveTo>
                  <a:lnTo>
                    <a:pt x="0" y="187"/>
                  </a:lnTo>
                  <a:lnTo>
                    <a:pt x="19" y="187"/>
                  </a:lnTo>
                  <a:lnTo>
                    <a:pt x="19" y="166"/>
                  </a:lnTo>
                  <a:lnTo>
                    <a:pt x="0" y="166"/>
                  </a:lnTo>
                  <a:close/>
                  <a:moveTo>
                    <a:pt x="0" y="166"/>
                  </a:moveTo>
                  <a:lnTo>
                    <a:pt x="0" y="166"/>
                  </a:lnTo>
                  <a:lnTo>
                    <a:pt x="19" y="166"/>
                  </a:lnTo>
                  <a:lnTo>
                    <a:pt x="19" y="166"/>
                  </a:lnTo>
                  <a:lnTo>
                    <a:pt x="0" y="166"/>
                  </a:lnTo>
                  <a:close/>
                  <a:moveTo>
                    <a:pt x="0" y="111"/>
                  </a:moveTo>
                  <a:lnTo>
                    <a:pt x="0" y="147"/>
                  </a:lnTo>
                  <a:lnTo>
                    <a:pt x="19" y="147"/>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Freeform 6"/>
            <p:cNvSpPr>
              <a:spLocks/>
            </p:cNvSpPr>
            <p:nvPr/>
          </p:nvSpPr>
          <p:spPr bwMode="auto">
            <a:xfrm>
              <a:off x="3317876" y="3633671"/>
              <a:ext cx="150813" cy="131763"/>
            </a:xfrm>
            <a:custGeom>
              <a:avLst/>
              <a:gdLst>
                <a:gd name="T0" fmla="*/ 0 w 95"/>
                <a:gd name="T1" fmla="*/ 0 h 83"/>
                <a:gd name="T2" fmla="*/ 48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8"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5"/>
            <p:cNvSpPr>
              <a:spLocks noChangeArrowheads="1"/>
            </p:cNvSpPr>
            <p:nvPr/>
          </p:nvSpPr>
          <p:spPr bwMode="auto">
            <a:xfrm>
              <a:off x="28908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6"/>
            <p:cNvSpPr>
              <a:spLocks noChangeArrowheads="1"/>
            </p:cNvSpPr>
            <p:nvPr/>
          </p:nvSpPr>
          <p:spPr bwMode="auto">
            <a:xfrm>
              <a:off x="38560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7"/>
            <p:cNvSpPr>
              <a:spLocks noChangeArrowheads="1"/>
            </p:cNvSpPr>
            <p:nvPr/>
          </p:nvSpPr>
          <p:spPr bwMode="auto">
            <a:xfrm>
              <a:off x="2992438"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Oval 38"/>
            <p:cNvSpPr>
              <a:spLocks noChangeArrowheads="1"/>
            </p:cNvSpPr>
            <p:nvPr/>
          </p:nvSpPr>
          <p:spPr bwMode="auto">
            <a:xfrm>
              <a:off x="30622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Oval 39"/>
            <p:cNvSpPr>
              <a:spLocks noChangeArrowheads="1"/>
            </p:cNvSpPr>
            <p:nvPr/>
          </p:nvSpPr>
          <p:spPr bwMode="auto">
            <a:xfrm>
              <a:off x="3130551"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34305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Oval 41"/>
            <p:cNvSpPr>
              <a:spLocks noChangeArrowheads="1"/>
            </p:cNvSpPr>
            <p:nvPr/>
          </p:nvSpPr>
          <p:spPr bwMode="auto">
            <a:xfrm>
              <a:off x="3495676" y="4092459"/>
              <a:ext cx="160338"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3062288" y="4457584"/>
              <a:ext cx="661988" cy="90488"/>
            </a:xfrm>
            <a:custGeom>
              <a:avLst/>
              <a:gdLst>
                <a:gd name="T0" fmla="*/ 164 w 176"/>
                <a:gd name="T1" fmla="*/ 24 h 24"/>
                <a:gd name="T2" fmla="*/ 12 w 176"/>
                <a:gd name="T3" fmla="*/ 24 h 24"/>
                <a:gd name="T4" fmla="*/ 0 w 176"/>
                <a:gd name="T5" fmla="*/ 12 h 24"/>
                <a:gd name="T6" fmla="*/ 12 w 176"/>
                <a:gd name="T7" fmla="*/ 0 h 24"/>
                <a:gd name="T8" fmla="*/ 164 w 176"/>
                <a:gd name="T9" fmla="*/ 0 h 24"/>
                <a:gd name="T10" fmla="*/ 176 w 176"/>
                <a:gd name="T11" fmla="*/ 12 h 24"/>
                <a:gd name="T12" fmla="*/ 164 w 17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76" h="24">
                  <a:moveTo>
                    <a:pt x="164" y="24"/>
                  </a:moveTo>
                  <a:cubicBezTo>
                    <a:pt x="12" y="24"/>
                    <a:pt x="12" y="24"/>
                    <a:pt x="12" y="24"/>
                  </a:cubicBezTo>
                  <a:cubicBezTo>
                    <a:pt x="6" y="24"/>
                    <a:pt x="0" y="19"/>
                    <a:pt x="0" y="12"/>
                  </a:cubicBezTo>
                  <a:cubicBezTo>
                    <a:pt x="0" y="5"/>
                    <a:pt x="6" y="0"/>
                    <a:pt x="12" y="0"/>
                  </a:cubicBezTo>
                  <a:cubicBezTo>
                    <a:pt x="164" y="0"/>
                    <a:pt x="164" y="0"/>
                    <a:pt x="164" y="0"/>
                  </a:cubicBezTo>
                  <a:cubicBezTo>
                    <a:pt x="170" y="0"/>
                    <a:pt x="176" y="5"/>
                    <a:pt x="176" y="12"/>
                  </a:cubicBezTo>
                  <a:cubicBezTo>
                    <a:pt x="176" y="19"/>
                    <a:pt x="170" y="24"/>
                    <a:pt x="164" y="2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844801"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Oval 44"/>
            <p:cNvSpPr>
              <a:spLocks noChangeArrowheads="1"/>
            </p:cNvSpPr>
            <p:nvPr/>
          </p:nvSpPr>
          <p:spPr bwMode="auto">
            <a:xfrm>
              <a:off x="2836863" y="3693996"/>
              <a:ext cx="147638"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3795713"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Oval 46"/>
            <p:cNvSpPr>
              <a:spLocks noChangeArrowheads="1"/>
            </p:cNvSpPr>
            <p:nvPr/>
          </p:nvSpPr>
          <p:spPr bwMode="auto">
            <a:xfrm>
              <a:off x="3803651"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Rectangle 51"/>
            <p:cNvSpPr>
              <a:spLocks noChangeArrowheads="1"/>
            </p:cNvSpPr>
            <p:nvPr/>
          </p:nvSpPr>
          <p:spPr bwMode="auto">
            <a:xfrm>
              <a:off x="2995613" y="5348171"/>
              <a:ext cx="965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a:t>
              </a:r>
              <a:r>
                <a:rPr kumimoji="0" lang="en-US" altLang="en-US" sz="1400" b="0" i="0" u="none" strike="noStrike" kern="0" cap="none" spc="0" normalizeH="0" baseline="0" noProof="0" err="1">
                  <a:ln>
                    <a:noFill/>
                  </a:ln>
                  <a:solidFill>
                    <a:srgbClr val="505050"/>
                  </a:solidFill>
                  <a:effectLst/>
                  <a:uLnTx/>
                  <a:uFillTx/>
                  <a:latin typeface="Segoe UI Light" panose="020B0502040204020203" pitchFamily="34" charset="0"/>
                  <a:ea typeface="+mn-ea"/>
                  <a:cs typeface="+mn-cs"/>
                </a:rPr>
                <a:t>Chatbo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7206" name="Group 7205"/>
          <p:cNvGrpSpPr/>
          <p:nvPr/>
        </p:nvGrpSpPr>
        <p:grpSpPr>
          <a:xfrm>
            <a:off x="7735888" y="3693996"/>
            <a:ext cx="1789113" cy="1958975"/>
            <a:chOff x="7735888" y="3693996"/>
            <a:chExt cx="1789113" cy="1958975"/>
          </a:xfrm>
        </p:grpSpPr>
        <p:sp>
          <p:nvSpPr>
            <p:cNvPr id="10" name="Freeform 9"/>
            <p:cNvSpPr>
              <a:spLocks noEditPoints="1"/>
            </p:cNvSpPr>
            <p:nvPr/>
          </p:nvSpPr>
          <p:spPr bwMode="auto">
            <a:xfrm>
              <a:off x="7735888"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0"/>
            <p:cNvSpPr>
              <a:spLocks/>
            </p:cNvSpPr>
            <p:nvPr/>
          </p:nvSpPr>
          <p:spPr bwMode="auto">
            <a:xfrm>
              <a:off x="8010526"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8266113" y="5133859"/>
              <a:ext cx="12588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hatbot send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 name="Rectangle 48"/>
            <p:cNvSpPr>
              <a:spLocks noChangeArrowheads="1"/>
            </p:cNvSpPr>
            <p:nvPr/>
          </p:nvSpPr>
          <p:spPr bwMode="auto">
            <a:xfrm>
              <a:off x="8467726" y="5348171"/>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 name="Rectangle 49"/>
            <p:cNvSpPr>
              <a:spLocks noChangeArrowheads="1"/>
            </p:cNvSpPr>
            <p:nvPr/>
          </p:nvSpPr>
          <p:spPr bwMode="auto">
            <a:xfrm>
              <a:off x="8524876" y="5348171"/>
              <a:ext cx="7635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spons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 name="Rectangle 52"/>
            <p:cNvSpPr>
              <a:spLocks noChangeArrowheads="1"/>
            </p:cNvSpPr>
            <p:nvPr/>
          </p:nvSpPr>
          <p:spPr bwMode="auto">
            <a:xfrm>
              <a:off x="82994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3"/>
            <p:cNvSpPr>
              <a:spLocks noChangeArrowheads="1"/>
            </p:cNvSpPr>
            <p:nvPr/>
          </p:nvSpPr>
          <p:spPr bwMode="auto">
            <a:xfrm>
              <a:off x="92646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4"/>
            <p:cNvSpPr>
              <a:spLocks noChangeArrowheads="1"/>
            </p:cNvSpPr>
            <p:nvPr/>
          </p:nvSpPr>
          <p:spPr bwMode="auto">
            <a:xfrm>
              <a:off x="8401051"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Oval 55"/>
            <p:cNvSpPr>
              <a:spLocks noChangeArrowheads="1"/>
            </p:cNvSpPr>
            <p:nvPr/>
          </p:nvSpPr>
          <p:spPr bwMode="auto">
            <a:xfrm>
              <a:off x="84724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Oval 56"/>
            <p:cNvSpPr>
              <a:spLocks noChangeArrowheads="1"/>
            </p:cNvSpPr>
            <p:nvPr/>
          </p:nvSpPr>
          <p:spPr bwMode="auto">
            <a:xfrm>
              <a:off x="8539163"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Oval 57"/>
            <p:cNvSpPr>
              <a:spLocks noChangeArrowheads="1"/>
            </p:cNvSpPr>
            <p:nvPr/>
          </p:nvSpPr>
          <p:spPr bwMode="auto">
            <a:xfrm>
              <a:off x="88407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Oval 58"/>
            <p:cNvSpPr>
              <a:spLocks noChangeArrowheads="1"/>
            </p:cNvSpPr>
            <p:nvPr/>
          </p:nvSpPr>
          <p:spPr bwMode="auto">
            <a:xfrm>
              <a:off x="8904288"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Freeform 59"/>
            <p:cNvSpPr>
              <a:spLocks/>
            </p:cNvSpPr>
            <p:nvPr/>
          </p:nvSpPr>
          <p:spPr bwMode="auto">
            <a:xfrm>
              <a:off x="8472488" y="4394084"/>
              <a:ext cx="660400" cy="217488"/>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8253413"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Oval 61"/>
            <p:cNvSpPr>
              <a:spLocks noChangeArrowheads="1"/>
            </p:cNvSpPr>
            <p:nvPr/>
          </p:nvSpPr>
          <p:spPr bwMode="auto">
            <a:xfrm>
              <a:off x="82470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9204326"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Oval 63"/>
            <p:cNvSpPr>
              <a:spLocks noChangeArrowheads="1"/>
            </p:cNvSpPr>
            <p:nvPr/>
          </p:nvSpPr>
          <p:spPr bwMode="auto">
            <a:xfrm>
              <a:off x="92122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64"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65"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bot messaging</a:t>
            </a:r>
          </a:p>
        </p:txBody>
      </p:sp>
    </p:spTree>
    <p:extLst>
      <p:ext uri="{BB962C8B-B14F-4D97-AF65-F5344CB8AC3E}">
        <p14:creationId xmlns:p14="http://schemas.microsoft.com/office/powerpoint/2010/main" val="861751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720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20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20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20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2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tegration</a:t>
            </a:r>
          </a:p>
        </p:txBody>
      </p:sp>
      <p:sp>
        <p:nvSpPr>
          <p:cNvPr id="3" name="Text Placeholder 2"/>
          <p:cNvSpPr>
            <a:spLocks noGrp="1"/>
          </p:cNvSpPr>
          <p:nvPr>
            <p:ph type="body" sz="quarter" idx="10"/>
          </p:nvPr>
        </p:nvSpPr>
        <p:spPr>
          <a:xfrm>
            <a:off x="269239" y="1189177"/>
            <a:ext cx="11653523" cy="727700"/>
          </a:xfrm>
        </p:spPr>
        <p:txBody>
          <a:bodyPr/>
          <a:lstStyle/>
          <a:p>
            <a:r>
              <a:rPr lang="en-US"/>
              <a:t>Example: Invoice Processing</a:t>
            </a:r>
          </a:p>
        </p:txBody>
      </p:sp>
      <p:sp>
        <p:nvSpPr>
          <p:cNvPr id="4" name="Rounded Rectangle 3"/>
          <p:cNvSpPr/>
          <p:nvPr/>
        </p:nvSpPr>
        <p:spPr bwMode="auto">
          <a:xfrm>
            <a:off x="2892641" y="4627130"/>
            <a:ext cx="2666594" cy="1923431"/>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ounded Rectangle 8"/>
          <p:cNvSpPr/>
          <p:nvPr/>
        </p:nvSpPr>
        <p:spPr bwMode="auto">
          <a:xfrm>
            <a:off x="6741179" y="2039458"/>
            <a:ext cx="2132589" cy="2547894"/>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ounded Rectangle 9"/>
          <p:cNvSpPr/>
          <p:nvPr/>
        </p:nvSpPr>
        <p:spPr bwMode="auto">
          <a:xfrm>
            <a:off x="2878365" y="2039458"/>
            <a:ext cx="8166072" cy="2547894"/>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ounded Rectangle 10"/>
          <p:cNvSpPr/>
          <p:nvPr/>
        </p:nvSpPr>
        <p:spPr bwMode="auto">
          <a:xfrm>
            <a:off x="841742" y="2059490"/>
            <a:ext cx="2001265" cy="4468760"/>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p:cNvGrpSpPr/>
          <p:nvPr/>
        </p:nvGrpSpPr>
        <p:grpSpPr>
          <a:xfrm>
            <a:off x="702527" y="2378882"/>
            <a:ext cx="10419047" cy="3982883"/>
            <a:chOff x="108945" y="1436471"/>
            <a:chExt cx="11996707" cy="4847430"/>
          </a:xfrm>
        </p:grpSpPr>
        <p:sp>
          <p:nvSpPr>
            <p:cNvPr id="13" name="TextBox 12"/>
            <p:cNvSpPr txBox="1"/>
            <p:nvPr/>
          </p:nvSpPr>
          <p:spPr>
            <a:xfrm>
              <a:off x="9783934" y="1858014"/>
              <a:ext cx="2321718" cy="627863"/>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Store record</a:t>
              </a:r>
            </a:p>
          </p:txBody>
        </p:sp>
        <p:grpSp>
          <p:nvGrpSpPr>
            <p:cNvPr id="14" name="Group 13"/>
            <p:cNvGrpSpPr/>
            <p:nvPr/>
          </p:nvGrpSpPr>
          <p:grpSpPr>
            <a:xfrm>
              <a:off x="108945" y="1436471"/>
              <a:ext cx="11537748" cy="4847430"/>
              <a:chOff x="108945" y="1436471"/>
              <a:chExt cx="11537748" cy="4847430"/>
            </a:xfrm>
          </p:grpSpPr>
          <p:cxnSp>
            <p:nvCxnSpPr>
              <p:cNvPr id="15" name="Straight Arrow Connector 14"/>
              <p:cNvCxnSpPr>
                <a:stCxn id="18" idx="6"/>
                <a:endCxn id="21" idx="2"/>
              </p:cNvCxnSpPr>
              <p:nvPr/>
            </p:nvCxnSpPr>
            <p:spPr>
              <a:xfrm>
                <a:off x="4316017" y="3127492"/>
                <a:ext cx="1141808"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21" idx="6"/>
                <a:endCxn id="25" idx="2"/>
              </p:cNvCxnSpPr>
              <p:nvPr/>
            </p:nvCxnSpPr>
            <p:spPr>
              <a:xfrm>
                <a:off x="6734175" y="3127492"/>
                <a:ext cx="1218008"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25" idx="6"/>
                <a:endCxn id="27" idx="2"/>
              </p:cNvCxnSpPr>
              <p:nvPr/>
            </p:nvCxnSpPr>
            <p:spPr>
              <a:xfrm>
                <a:off x="9228533" y="3127492"/>
                <a:ext cx="1141810"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Oval 17"/>
              <p:cNvSpPr/>
              <p:nvPr/>
            </p:nvSpPr>
            <p:spPr bwMode="auto">
              <a:xfrm>
                <a:off x="3039667"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TextBox 18"/>
              <p:cNvSpPr txBox="1"/>
              <p:nvPr/>
            </p:nvSpPr>
            <p:spPr>
              <a:xfrm>
                <a:off x="2377845" y="1436471"/>
                <a:ext cx="2683073" cy="1168703"/>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Post new invoice</a:t>
                </a:r>
              </a:p>
            </p:txBody>
          </p:sp>
          <p:sp>
            <p:nvSpPr>
              <p:cNvPr id="20" name="Right Arrow 19"/>
              <p:cNvSpPr/>
              <p:nvPr/>
            </p:nvSpPr>
            <p:spPr bwMode="auto">
              <a:xfrm>
                <a:off x="4620221" y="2917942"/>
                <a:ext cx="533400" cy="41910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Oval 20"/>
              <p:cNvSpPr/>
              <p:nvPr/>
            </p:nvSpPr>
            <p:spPr bwMode="auto">
              <a:xfrm>
                <a:off x="5457825"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Oval 21"/>
              <p:cNvSpPr/>
              <p:nvPr/>
            </p:nvSpPr>
            <p:spPr bwMode="auto">
              <a:xfrm>
                <a:off x="3464695" y="5026601"/>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TextBox 22"/>
              <p:cNvSpPr txBox="1"/>
              <p:nvPr/>
            </p:nvSpPr>
            <p:spPr>
              <a:xfrm>
                <a:off x="2751883" y="4333646"/>
                <a:ext cx="2705942" cy="764152"/>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Fetch Invoice</a:t>
                </a:r>
              </a:p>
            </p:txBody>
          </p:sp>
          <p:sp>
            <p:nvSpPr>
              <p:cNvPr id="24" name="TextBox 23"/>
              <p:cNvSpPr txBox="1"/>
              <p:nvPr/>
            </p:nvSpPr>
            <p:spPr>
              <a:xfrm>
                <a:off x="4935141" y="1718900"/>
                <a:ext cx="2321718" cy="6278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Grab raw file</a:t>
                </a:r>
              </a:p>
            </p:txBody>
          </p:sp>
          <p:sp>
            <p:nvSpPr>
              <p:cNvPr id="25" name="Oval 24"/>
              <p:cNvSpPr/>
              <p:nvPr/>
            </p:nvSpPr>
            <p:spPr bwMode="auto">
              <a:xfrm>
                <a:off x="7952183"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TextBox 25"/>
              <p:cNvSpPr txBox="1"/>
              <p:nvPr/>
            </p:nvSpPr>
            <p:spPr>
              <a:xfrm>
                <a:off x="7081311" y="1517382"/>
                <a:ext cx="2321718" cy="9602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Convert to JSON</a:t>
                </a:r>
              </a:p>
            </p:txBody>
          </p:sp>
          <p:sp>
            <p:nvSpPr>
              <p:cNvPr id="27" name="Oval 26"/>
              <p:cNvSpPr/>
              <p:nvPr/>
            </p:nvSpPr>
            <p:spPr bwMode="auto">
              <a:xfrm>
                <a:off x="10370343"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Oval 27"/>
              <p:cNvSpPr/>
              <p:nvPr/>
            </p:nvSpPr>
            <p:spPr bwMode="auto">
              <a:xfrm>
                <a:off x="614365" y="3739138"/>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Box 28"/>
              <p:cNvSpPr txBox="1"/>
              <p:nvPr/>
            </p:nvSpPr>
            <p:spPr>
              <a:xfrm>
                <a:off x="108945" y="2932469"/>
                <a:ext cx="2321718" cy="764152"/>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API layer</a:t>
                </a:r>
              </a:p>
            </p:txBody>
          </p:sp>
          <p:sp>
            <p:nvSpPr>
              <p:cNvPr id="30" name="Equal 29"/>
              <p:cNvSpPr/>
              <p:nvPr/>
            </p:nvSpPr>
            <p:spPr bwMode="auto">
              <a:xfrm>
                <a:off x="7038379" y="2930211"/>
                <a:ext cx="609600" cy="394562"/>
              </a:xfrm>
              <a:prstGeom prst="mathEqual">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Right Arrow 30"/>
              <p:cNvSpPr/>
              <p:nvPr/>
            </p:nvSpPr>
            <p:spPr bwMode="auto">
              <a:xfrm>
                <a:off x="9532737" y="2917942"/>
                <a:ext cx="533400" cy="41910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Can 31"/>
              <p:cNvSpPr/>
              <p:nvPr/>
            </p:nvSpPr>
            <p:spPr bwMode="auto">
              <a:xfrm>
                <a:off x="8147444" y="5059756"/>
                <a:ext cx="885825" cy="1190988"/>
              </a:xfrm>
              <a:prstGeom prst="can">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3" name="Straight Arrow Connector 32"/>
              <p:cNvCxnSpPr>
                <a:stCxn id="28" idx="7"/>
                <a:endCxn id="18" idx="2"/>
              </p:cNvCxnSpPr>
              <p:nvPr/>
            </p:nvCxnSpPr>
            <p:spPr>
              <a:xfrm flipV="1">
                <a:off x="1703798" y="3127492"/>
                <a:ext cx="1335869" cy="795773"/>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8" idx="5"/>
                <a:endCxn id="22" idx="2"/>
              </p:cNvCxnSpPr>
              <p:nvPr/>
            </p:nvCxnSpPr>
            <p:spPr>
              <a:xfrm>
                <a:off x="1703797" y="4812310"/>
                <a:ext cx="1760898" cy="842941"/>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5" name="Plus 34"/>
              <p:cNvSpPr/>
              <p:nvPr/>
            </p:nvSpPr>
            <p:spPr bwMode="auto">
              <a:xfrm>
                <a:off x="2078238" y="3233824"/>
                <a:ext cx="533400" cy="523875"/>
              </a:xfrm>
              <a:prstGeom prst="mathPlus">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Plus 35"/>
              <p:cNvSpPr/>
              <p:nvPr/>
            </p:nvSpPr>
            <p:spPr bwMode="auto">
              <a:xfrm>
                <a:off x="2100264" y="4975811"/>
                <a:ext cx="533400" cy="523875"/>
              </a:xfrm>
              <a:prstGeom prst="mathPlus">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7" name="Straight Arrow Connector 36"/>
              <p:cNvCxnSpPr>
                <a:stCxn id="22" idx="6"/>
                <a:endCxn id="32" idx="2"/>
              </p:cNvCxnSpPr>
              <p:nvPr/>
            </p:nvCxnSpPr>
            <p:spPr>
              <a:xfrm flipV="1">
                <a:off x="4741045" y="5655250"/>
                <a:ext cx="3406399" cy="1"/>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27" idx="4"/>
                <a:endCxn id="32" idx="4"/>
              </p:cNvCxnSpPr>
              <p:nvPr/>
            </p:nvCxnSpPr>
            <p:spPr>
              <a:xfrm rot="5400000">
                <a:off x="9071340" y="3718071"/>
                <a:ext cx="1899108" cy="1975250"/>
              </a:xfrm>
              <a:prstGeom prst="bentConnector2">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grpSp>
      </p:grpSp>
      <p:sp>
        <p:nvSpPr>
          <p:cNvPr id="39" name="TextBox 38"/>
          <p:cNvSpPr txBox="1"/>
          <p:nvPr/>
        </p:nvSpPr>
        <p:spPr>
          <a:xfrm>
            <a:off x="695147" y="2039458"/>
            <a:ext cx="2241813" cy="788998"/>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API Management</a:t>
            </a:r>
          </a:p>
        </p:txBody>
      </p:sp>
      <p:pic>
        <p:nvPicPr>
          <p:cNvPr id="40" name="Picture 2" descr="https://az213233.vo.msecnd.net/Content/6.0.00298.4.160413-1548/ApiManagement/Images/ApiManagement.png"/>
          <p:cNvPicPr>
            <a:picLocks noChangeAspect="1" noChangeArrowheads="1"/>
          </p:cNvPicPr>
          <p:nvPr/>
        </p:nvPicPr>
        <p:blipFill rotWithShape="1">
          <a:blip r:embed="rId3">
            <a:extLst>
              <a:ext uri="{28A0092B-C50C-407E-A947-70E740481C1C}">
                <a14:useLocalDpi xmlns:a14="http://schemas.microsoft.com/office/drawing/2010/main" val="0"/>
              </a:ext>
            </a:extLst>
          </a:blip>
          <a:srcRect l="49976" t="-11700"/>
          <a:stretch/>
        </p:blipFill>
        <p:spPr bwMode="auto">
          <a:xfrm>
            <a:off x="1475175" y="4496047"/>
            <a:ext cx="441110" cy="519490"/>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04875" y="3553762"/>
            <a:ext cx="527384" cy="429087"/>
          </a:xfrm>
          <a:prstGeom prst="rect">
            <a:avLst/>
          </a:prstGeom>
        </p:spPr>
      </p:pic>
      <p:sp>
        <p:nvSpPr>
          <p:cNvPr id="43" name="TextBox 42"/>
          <p:cNvSpPr txBox="1"/>
          <p:nvPr/>
        </p:nvSpPr>
        <p:spPr>
          <a:xfrm>
            <a:off x="2876047" y="1916877"/>
            <a:ext cx="3467060" cy="6278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Logic App</a:t>
            </a:r>
          </a:p>
        </p:txBody>
      </p:sp>
      <p:pic>
        <p:nvPicPr>
          <p:cNvPr id="44" name="Picture 43"/>
          <p:cNvPicPr>
            <a:picLocks noChangeAspect="1"/>
          </p:cNvPicPr>
          <p:nvPr/>
        </p:nvPicPr>
        <p:blipFill>
          <a:blip r:embed="rId5"/>
          <a:stretch>
            <a:fillRect/>
          </a:stretch>
        </p:blipFill>
        <p:spPr>
          <a:xfrm>
            <a:off x="3553397" y="3508098"/>
            <a:ext cx="502378" cy="474751"/>
          </a:xfrm>
          <a:prstGeom prst="rect">
            <a:avLst/>
          </a:prstGeom>
        </p:spPr>
      </p:pic>
      <p:pic>
        <p:nvPicPr>
          <p:cNvPr id="45" name="Picture 44"/>
          <p:cNvPicPr>
            <a:picLocks noChangeAspect="1"/>
          </p:cNvPicPr>
          <p:nvPr/>
        </p:nvPicPr>
        <p:blipFill>
          <a:blip r:embed="rId5"/>
          <a:stretch>
            <a:fillRect/>
          </a:stretch>
        </p:blipFill>
        <p:spPr>
          <a:xfrm>
            <a:off x="5648549" y="3508098"/>
            <a:ext cx="502378" cy="474751"/>
          </a:xfrm>
          <a:prstGeom prst="rect">
            <a:avLst/>
          </a:prstGeom>
        </p:spPr>
      </p:pic>
      <p:pic>
        <p:nvPicPr>
          <p:cNvPr id="46" name="Picture 45"/>
          <p:cNvPicPr>
            <a:picLocks noChangeAspect="1"/>
          </p:cNvPicPr>
          <p:nvPr/>
        </p:nvPicPr>
        <p:blipFill>
          <a:blip r:embed="rId5"/>
          <a:stretch>
            <a:fillRect/>
          </a:stretch>
        </p:blipFill>
        <p:spPr>
          <a:xfrm>
            <a:off x="9949830" y="3508098"/>
            <a:ext cx="502378" cy="474751"/>
          </a:xfrm>
          <a:prstGeom prst="rect">
            <a:avLst/>
          </a:prstGeom>
        </p:spPr>
      </p:pic>
      <p:pic>
        <p:nvPicPr>
          <p:cNvPr id="47" name="Picture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07528" y="5657933"/>
            <a:ext cx="527384" cy="429087"/>
          </a:xfrm>
          <a:prstGeom prst="rect">
            <a:avLst/>
          </a:prstGeom>
        </p:spPr>
      </p:pic>
      <p:sp>
        <p:nvSpPr>
          <p:cNvPr id="41" name="TextBox 40"/>
          <p:cNvSpPr txBox="1"/>
          <p:nvPr/>
        </p:nvSpPr>
        <p:spPr>
          <a:xfrm>
            <a:off x="6661749" y="1953758"/>
            <a:ext cx="2241813" cy="515883"/>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Function</a:t>
            </a:r>
          </a:p>
        </p:txBody>
      </p:sp>
    </p:spTree>
    <p:extLst>
      <p:ext uri="{BB962C8B-B14F-4D97-AF65-F5344CB8AC3E}">
        <p14:creationId xmlns:p14="http://schemas.microsoft.com/office/powerpoint/2010/main" val="116430296"/>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462216" y="290513"/>
            <a:ext cx="10745850" cy="898525"/>
          </a:xfrm>
        </p:spPr>
        <p:txBody>
          <a:bodyPr/>
          <a:lstStyle/>
          <a:p>
            <a:r>
              <a:rPr lang="en-US" sz="5400" dirty="0"/>
              <a:t>Azure Functions</a:t>
            </a:r>
          </a:p>
        </p:txBody>
      </p:sp>
      <p:pic>
        <p:nvPicPr>
          <p:cNvPr id="4" name="Picture 6"/>
          <p:cNvPicPr>
            <a:picLocks noChangeAspect="1"/>
          </p:cNvPicPr>
          <p:nvPr/>
        </p:nvPicPr>
        <p:blipFill>
          <a:blip r:embed="rId3"/>
          <a:stretch>
            <a:fillRect/>
          </a:stretch>
        </p:blipFill>
        <p:spPr>
          <a:xfrm>
            <a:off x="259174" y="438843"/>
            <a:ext cx="891178" cy="786549"/>
          </a:xfrm>
          <a:prstGeom prst="rect">
            <a:avLst/>
          </a:prstGeom>
        </p:spPr>
      </p:pic>
      <p:sp>
        <p:nvSpPr>
          <p:cNvPr id="52" name="TextBox 51"/>
          <p:cNvSpPr txBox="1"/>
          <p:nvPr/>
        </p:nvSpPr>
        <p:spPr>
          <a:xfrm>
            <a:off x="270070" y="1586598"/>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Serverless</a:t>
            </a:r>
            <a:endPar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endParaRPr>
          </a:p>
        </p:txBody>
      </p:sp>
      <p:sp>
        <p:nvSpPr>
          <p:cNvPr id="53" name="TextBox 52"/>
          <p:cNvSpPr txBox="1"/>
          <p:nvPr/>
        </p:nvSpPr>
        <p:spPr>
          <a:xfrm>
            <a:off x="4168963" y="1586599"/>
            <a:ext cx="3854081" cy="4804837"/>
          </a:xfrm>
          <a:prstGeom prst="rect">
            <a:avLst/>
          </a:prstGeom>
          <a:solidFill>
            <a:schemeClr val="accent1"/>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Accelerate development</a:t>
            </a:r>
          </a:p>
        </p:txBody>
      </p:sp>
      <p:sp>
        <p:nvSpPr>
          <p:cNvPr id="54" name="TextBox 53"/>
          <p:cNvSpPr txBox="1"/>
          <p:nvPr/>
        </p:nvSpPr>
        <p:spPr>
          <a:xfrm>
            <a:off x="8067857" y="1586600"/>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Bind into services</a:t>
            </a:r>
          </a:p>
        </p:txBody>
      </p:sp>
      <p:sp useBgFill="1">
        <p:nvSpPr>
          <p:cNvPr id="58" name="Rectangle 57"/>
          <p:cNvSpPr/>
          <p:nvPr/>
        </p:nvSpPr>
        <p:spPr bwMode="auto">
          <a:xfrm>
            <a:off x="868" y="6387514"/>
            <a:ext cx="12190271" cy="47000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23" name="Group 22"/>
          <p:cNvGrpSpPr/>
          <p:nvPr/>
        </p:nvGrpSpPr>
        <p:grpSpPr>
          <a:xfrm>
            <a:off x="8221540" y="5001715"/>
            <a:ext cx="3377663" cy="948379"/>
            <a:chOff x="8386703" y="2300121"/>
            <a:chExt cx="3445880" cy="967396"/>
          </a:xfrm>
        </p:grpSpPr>
        <p:grpSp>
          <p:nvGrpSpPr>
            <p:cNvPr id="6" name="Group 5"/>
            <p:cNvGrpSpPr/>
            <p:nvPr/>
          </p:nvGrpSpPr>
          <p:grpSpPr>
            <a:xfrm>
              <a:off x="8470241" y="2300121"/>
              <a:ext cx="817563" cy="485775"/>
              <a:chOff x="4510914" y="2356637"/>
              <a:chExt cx="817563" cy="485775"/>
            </a:xfrm>
          </p:grpSpPr>
          <p:sp>
            <p:nvSpPr>
              <p:cNvPr id="63" name="Freeform 79"/>
              <p:cNvSpPr>
                <a:spLocks/>
              </p:cNvSpPr>
              <p:nvPr/>
            </p:nvSpPr>
            <p:spPr bwMode="auto">
              <a:xfrm>
                <a:off x="4701414" y="2488399"/>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4" name="Freeform 80"/>
              <p:cNvSpPr>
                <a:spLocks/>
              </p:cNvSpPr>
              <p:nvPr/>
            </p:nvSpPr>
            <p:spPr bwMode="auto">
              <a:xfrm>
                <a:off x="4510914" y="2356637"/>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pic>
          <p:nvPicPr>
            <p:cNvPr id="65" name="Picture 64"/>
            <p:cNvPicPr>
              <a:picLocks noChangeAspect="1"/>
            </p:cNvPicPr>
            <p:nvPr/>
          </p:nvPicPr>
          <p:blipFill>
            <a:blip r:embed="rId4">
              <a:biLevel thresh="25000"/>
            </a:blip>
            <a:stretch>
              <a:fillRect/>
            </a:stretch>
          </p:blipFill>
          <p:spPr>
            <a:xfrm>
              <a:off x="9833633" y="2300121"/>
              <a:ext cx="731520" cy="403623"/>
            </a:xfrm>
            <a:prstGeom prst="rect">
              <a:avLst/>
            </a:prstGeom>
          </p:spPr>
        </p:pic>
        <p:pic>
          <p:nvPicPr>
            <p:cNvPr id="7" name="Picture 6"/>
            <p:cNvPicPr>
              <a:picLocks noChangeAspect="1"/>
            </p:cNvPicPr>
            <p:nvPr/>
          </p:nvPicPr>
          <p:blipFill>
            <a:blip r:embed="rId5"/>
            <a:stretch>
              <a:fillRect/>
            </a:stretch>
          </p:blipFill>
          <p:spPr>
            <a:xfrm>
              <a:off x="11188821" y="2300121"/>
              <a:ext cx="640080" cy="640080"/>
            </a:xfrm>
            <a:prstGeom prst="rect">
              <a:avLst/>
            </a:prstGeom>
          </p:spPr>
        </p:pic>
        <p:sp>
          <p:nvSpPr>
            <p:cNvPr id="67" name="TextBox 66"/>
            <p:cNvSpPr txBox="1"/>
            <p:nvPr/>
          </p:nvSpPr>
          <p:spPr>
            <a:xfrm>
              <a:off x="9962220" y="2977528"/>
              <a:ext cx="480627"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Box</a:t>
              </a:r>
            </a:p>
          </p:txBody>
        </p:sp>
        <p:sp>
          <p:nvSpPr>
            <p:cNvPr id="77" name="TextBox 76"/>
            <p:cNvSpPr txBox="1"/>
            <p:nvPr/>
          </p:nvSpPr>
          <p:spPr>
            <a:xfrm>
              <a:off x="8386703" y="2977528"/>
              <a:ext cx="941738"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OneDrive</a:t>
              </a:r>
            </a:p>
          </p:txBody>
        </p:sp>
        <p:sp>
          <p:nvSpPr>
            <p:cNvPr id="81" name="TextBox 80"/>
            <p:cNvSpPr txBox="1"/>
            <p:nvPr/>
          </p:nvSpPr>
          <p:spPr>
            <a:xfrm>
              <a:off x="11194485" y="2975560"/>
              <a:ext cx="638098" cy="291957"/>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Twilio</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sp>
        <p:nvSpPr>
          <p:cNvPr id="66" name="Freeform 12"/>
          <p:cNvSpPr>
            <a:spLocks noChangeAspect="1" noEditPoints="1"/>
          </p:cNvSpPr>
          <p:nvPr/>
        </p:nvSpPr>
        <p:spPr bwMode="auto">
          <a:xfrm>
            <a:off x="8456288" y="3716184"/>
            <a:ext cx="537778" cy="480243"/>
          </a:xfrm>
          <a:custGeom>
            <a:avLst/>
            <a:gdLst>
              <a:gd name="T0" fmla="*/ 347 w 1167"/>
              <a:gd name="T1" fmla="*/ 0 h 1042"/>
              <a:gd name="T2" fmla="*/ 0 w 1167"/>
              <a:gd name="T3" fmla="*/ 215 h 1042"/>
              <a:gd name="T4" fmla="*/ 222 w 1167"/>
              <a:gd name="T5" fmla="*/ 399 h 1042"/>
              <a:gd name="T6" fmla="*/ 574 w 1167"/>
              <a:gd name="T7" fmla="*/ 182 h 1042"/>
              <a:gd name="T8" fmla="*/ 347 w 1167"/>
              <a:gd name="T9" fmla="*/ 0 h 1042"/>
              <a:gd name="T10" fmla="*/ 347 w 1167"/>
              <a:gd name="T11" fmla="*/ 0 h 1042"/>
              <a:gd name="T12" fmla="*/ 819 w 1167"/>
              <a:gd name="T13" fmla="*/ 0 h 1042"/>
              <a:gd name="T14" fmla="*/ 1167 w 1167"/>
              <a:gd name="T15" fmla="*/ 217 h 1042"/>
              <a:gd name="T16" fmla="*/ 944 w 1167"/>
              <a:gd name="T17" fmla="*/ 399 h 1042"/>
              <a:gd name="T18" fmla="*/ 597 w 1167"/>
              <a:gd name="T19" fmla="*/ 182 h 1042"/>
              <a:gd name="T20" fmla="*/ 819 w 1167"/>
              <a:gd name="T21" fmla="*/ 0 h 1042"/>
              <a:gd name="T22" fmla="*/ 819 w 1167"/>
              <a:gd name="T23" fmla="*/ 0 h 1042"/>
              <a:gd name="T24" fmla="*/ 349 w 1167"/>
              <a:gd name="T25" fmla="*/ 798 h 1042"/>
              <a:gd name="T26" fmla="*/ 14 w 1167"/>
              <a:gd name="T27" fmla="*/ 602 h 1042"/>
              <a:gd name="T28" fmla="*/ 217 w 1167"/>
              <a:gd name="T29" fmla="*/ 427 h 1042"/>
              <a:gd name="T30" fmla="*/ 548 w 1167"/>
              <a:gd name="T31" fmla="*/ 631 h 1042"/>
              <a:gd name="T32" fmla="*/ 349 w 1167"/>
              <a:gd name="T33" fmla="*/ 798 h 1042"/>
              <a:gd name="T34" fmla="*/ 349 w 1167"/>
              <a:gd name="T35" fmla="*/ 798 h 1042"/>
              <a:gd name="T36" fmla="*/ 815 w 1167"/>
              <a:gd name="T37" fmla="*/ 796 h 1042"/>
              <a:gd name="T38" fmla="*/ 1152 w 1167"/>
              <a:gd name="T39" fmla="*/ 598 h 1042"/>
              <a:gd name="T40" fmla="*/ 949 w 1167"/>
              <a:gd name="T41" fmla="*/ 427 h 1042"/>
              <a:gd name="T42" fmla="*/ 618 w 1167"/>
              <a:gd name="T43" fmla="*/ 626 h 1042"/>
              <a:gd name="T44" fmla="*/ 815 w 1167"/>
              <a:gd name="T45" fmla="*/ 796 h 1042"/>
              <a:gd name="T46" fmla="*/ 815 w 1167"/>
              <a:gd name="T47" fmla="*/ 796 h 1042"/>
              <a:gd name="T48" fmla="*/ 592 w 1167"/>
              <a:gd name="T49" fmla="*/ 642 h 1042"/>
              <a:gd name="T50" fmla="*/ 592 w 1167"/>
              <a:gd name="T51" fmla="*/ 1042 h 1042"/>
              <a:gd name="T52" fmla="*/ 933 w 1167"/>
              <a:gd name="T53" fmla="*/ 831 h 1042"/>
              <a:gd name="T54" fmla="*/ 933 w 1167"/>
              <a:gd name="T55" fmla="*/ 768 h 1042"/>
              <a:gd name="T56" fmla="*/ 819 w 1167"/>
              <a:gd name="T57" fmla="*/ 827 h 1042"/>
              <a:gd name="T58" fmla="*/ 592 w 1167"/>
              <a:gd name="T59" fmla="*/ 642 h 1042"/>
              <a:gd name="T60" fmla="*/ 592 w 1167"/>
              <a:gd name="T61" fmla="*/ 642 h 1042"/>
              <a:gd name="T62" fmla="*/ 569 w 1167"/>
              <a:gd name="T63" fmla="*/ 642 h 1042"/>
              <a:gd name="T64" fmla="*/ 569 w 1167"/>
              <a:gd name="T65" fmla="*/ 1042 h 1042"/>
              <a:gd name="T66" fmla="*/ 233 w 1167"/>
              <a:gd name="T67" fmla="*/ 831 h 1042"/>
              <a:gd name="T68" fmla="*/ 233 w 1167"/>
              <a:gd name="T69" fmla="*/ 768 h 1042"/>
              <a:gd name="T70" fmla="*/ 347 w 1167"/>
              <a:gd name="T71" fmla="*/ 827 h 1042"/>
              <a:gd name="T72" fmla="*/ 569 w 1167"/>
              <a:gd name="T73" fmla="*/ 642 h 1042"/>
              <a:gd name="T74" fmla="*/ 569 w 1167"/>
              <a:gd name="T75" fmla="*/ 642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7" h="1042">
                <a:moveTo>
                  <a:pt x="347" y="0"/>
                </a:moveTo>
                <a:lnTo>
                  <a:pt x="0" y="215"/>
                </a:lnTo>
                <a:lnTo>
                  <a:pt x="222" y="399"/>
                </a:lnTo>
                <a:lnTo>
                  <a:pt x="574" y="182"/>
                </a:lnTo>
                <a:lnTo>
                  <a:pt x="347" y="0"/>
                </a:lnTo>
                <a:lnTo>
                  <a:pt x="347" y="0"/>
                </a:lnTo>
                <a:close/>
                <a:moveTo>
                  <a:pt x="819" y="0"/>
                </a:moveTo>
                <a:lnTo>
                  <a:pt x="1167" y="217"/>
                </a:lnTo>
                <a:lnTo>
                  <a:pt x="944" y="399"/>
                </a:lnTo>
                <a:lnTo>
                  <a:pt x="597" y="182"/>
                </a:lnTo>
                <a:lnTo>
                  <a:pt x="819" y="0"/>
                </a:lnTo>
                <a:lnTo>
                  <a:pt x="819" y="0"/>
                </a:lnTo>
                <a:close/>
                <a:moveTo>
                  <a:pt x="349" y="798"/>
                </a:moveTo>
                <a:lnTo>
                  <a:pt x="14" y="602"/>
                </a:lnTo>
                <a:lnTo>
                  <a:pt x="217" y="427"/>
                </a:lnTo>
                <a:lnTo>
                  <a:pt x="548" y="631"/>
                </a:lnTo>
                <a:lnTo>
                  <a:pt x="349" y="798"/>
                </a:lnTo>
                <a:lnTo>
                  <a:pt x="349" y="798"/>
                </a:lnTo>
                <a:close/>
                <a:moveTo>
                  <a:pt x="815" y="796"/>
                </a:moveTo>
                <a:lnTo>
                  <a:pt x="1152" y="598"/>
                </a:lnTo>
                <a:lnTo>
                  <a:pt x="949" y="427"/>
                </a:lnTo>
                <a:lnTo>
                  <a:pt x="618" y="626"/>
                </a:lnTo>
                <a:lnTo>
                  <a:pt x="815" y="796"/>
                </a:lnTo>
                <a:lnTo>
                  <a:pt x="815" y="796"/>
                </a:lnTo>
                <a:close/>
                <a:moveTo>
                  <a:pt x="592" y="642"/>
                </a:moveTo>
                <a:lnTo>
                  <a:pt x="592" y="1042"/>
                </a:lnTo>
                <a:lnTo>
                  <a:pt x="933" y="831"/>
                </a:lnTo>
                <a:lnTo>
                  <a:pt x="933" y="768"/>
                </a:lnTo>
                <a:lnTo>
                  <a:pt x="819" y="827"/>
                </a:lnTo>
                <a:lnTo>
                  <a:pt x="592" y="642"/>
                </a:lnTo>
                <a:lnTo>
                  <a:pt x="592" y="642"/>
                </a:lnTo>
                <a:close/>
                <a:moveTo>
                  <a:pt x="569" y="642"/>
                </a:moveTo>
                <a:lnTo>
                  <a:pt x="569" y="1042"/>
                </a:lnTo>
                <a:lnTo>
                  <a:pt x="233" y="831"/>
                </a:lnTo>
                <a:lnTo>
                  <a:pt x="233" y="768"/>
                </a:lnTo>
                <a:lnTo>
                  <a:pt x="347" y="827"/>
                </a:lnTo>
                <a:lnTo>
                  <a:pt x="569" y="642"/>
                </a:lnTo>
                <a:lnTo>
                  <a:pt x="569" y="642"/>
                </a:lnTo>
                <a:close/>
              </a:path>
            </a:pathLst>
          </a:custGeom>
          <a:solidFill>
            <a:srgbClr val="FFFFFF"/>
          </a:solidFill>
          <a:ln>
            <a:noFill/>
          </a:ln>
        </p:spPr>
        <p:txBody>
          <a:bodyPr vert="horz" wrap="square" lIns="89609" tIns="44804" rIns="89609" bIns="44804"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pic>
        <p:nvPicPr>
          <p:cNvPr id="8" name="Picture 7"/>
          <p:cNvPicPr>
            <a:picLocks noChangeAspect="1"/>
          </p:cNvPicPr>
          <p:nvPr/>
        </p:nvPicPr>
        <p:blipFill>
          <a:blip r:embed="rId6"/>
          <a:stretch>
            <a:fillRect/>
          </a:stretch>
        </p:blipFill>
        <p:spPr>
          <a:xfrm>
            <a:off x="9672039" y="3675582"/>
            <a:ext cx="627408" cy="561445"/>
          </a:xfrm>
          <a:prstGeom prst="rect">
            <a:avLst/>
          </a:prstGeom>
        </p:spPr>
      </p:pic>
      <p:sp>
        <p:nvSpPr>
          <p:cNvPr id="82" name="TextBox 81"/>
          <p:cNvSpPr txBox="1"/>
          <p:nvPr/>
        </p:nvSpPr>
        <p:spPr>
          <a:xfrm>
            <a:off x="8271431" y="4307730"/>
            <a:ext cx="873409"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Dropbox</a:t>
            </a:r>
          </a:p>
        </p:txBody>
      </p:sp>
      <p:sp>
        <p:nvSpPr>
          <p:cNvPr id="83" name="TextBox 82"/>
          <p:cNvSpPr txBox="1"/>
          <p:nvPr/>
        </p:nvSpPr>
        <p:spPr>
          <a:xfrm>
            <a:off x="9544139" y="4307730"/>
            <a:ext cx="894246"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Sendgrid</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sp>
        <p:nvSpPr>
          <p:cNvPr id="84" name="TextBox 83"/>
          <p:cNvSpPr txBox="1"/>
          <p:nvPr/>
        </p:nvSpPr>
        <p:spPr>
          <a:xfrm>
            <a:off x="10865849" y="2917207"/>
            <a:ext cx="796475" cy="478059"/>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torage</a:t>
            </a:r>
          </a:p>
        </p:txBody>
      </p:sp>
      <p:sp>
        <p:nvSpPr>
          <p:cNvPr id="91" name="Rectangle 90"/>
          <p:cNvSpPr>
            <a:spLocks noChangeArrowheads="1"/>
          </p:cNvSpPr>
          <p:nvPr/>
        </p:nvSpPr>
        <p:spPr bwMode="auto">
          <a:xfrm>
            <a:off x="8176798" y="2917207"/>
            <a:ext cx="1068946"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 </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ervice Bus</a:t>
            </a:r>
          </a:p>
        </p:txBody>
      </p:sp>
      <p:sp>
        <p:nvSpPr>
          <p:cNvPr id="92" name="Rectangle 91"/>
          <p:cNvSpPr>
            <a:spLocks noChangeArrowheads="1"/>
          </p:cNvSpPr>
          <p:nvPr/>
        </p:nvSpPr>
        <p:spPr bwMode="auto">
          <a:xfrm>
            <a:off x="9497840" y="2917207"/>
            <a:ext cx="998425"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Event Hub</a:t>
            </a:r>
          </a:p>
        </p:txBody>
      </p:sp>
      <p:pic>
        <p:nvPicPr>
          <p:cNvPr id="9" name="Picture 8"/>
          <p:cNvPicPr>
            <a:picLocks noChangeAspect="1"/>
          </p:cNvPicPr>
          <p:nvPr/>
        </p:nvPicPr>
        <p:blipFill>
          <a:blip r:embed="rId7"/>
          <a:stretch>
            <a:fillRect/>
          </a:stretch>
        </p:blipFill>
        <p:spPr>
          <a:xfrm>
            <a:off x="11039245" y="3581410"/>
            <a:ext cx="483459" cy="590977"/>
          </a:xfrm>
          <a:prstGeom prst="rect">
            <a:avLst/>
          </a:prstGeom>
        </p:spPr>
      </p:pic>
      <p:sp>
        <p:nvSpPr>
          <p:cNvPr id="95" name="Rectangle 94"/>
          <p:cNvSpPr>
            <a:spLocks noChangeArrowheads="1"/>
          </p:cNvSpPr>
          <p:nvPr/>
        </p:nvSpPr>
        <p:spPr bwMode="auto">
          <a:xfrm>
            <a:off x="10691314" y="4297416"/>
            <a:ext cx="1181142" cy="284288"/>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AzureDocDb</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nvGrpSpPr>
          <p:cNvPr id="21" name="Group 20"/>
          <p:cNvGrpSpPr/>
          <p:nvPr/>
        </p:nvGrpSpPr>
        <p:grpSpPr>
          <a:xfrm>
            <a:off x="4491422" y="2496730"/>
            <a:ext cx="1295430" cy="3557733"/>
            <a:chOff x="4581251" y="2546297"/>
            <a:chExt cx="1321594" cy="3629073"/>
          </a:xfrm>
        </p:grpSpPr>
        <p:sp>
          <p:nvSpPr>
            <p:cNvPr id="106" name="TextBox 105"/>
            <p:cNvSpPr txBox="1"/>
            <p:nvPr/>
          </p:nvSpPr>
          <p:spPr>
            <a:xfrm>
              <a:off x="4635369" y="5517931"/>
              <a:ext cx="1198457" cy="657439"/>
            </a:xfrm>
            <a:prstGeom prst="rect">
              <a:avLst/>
            </a:prstGeom>
            <a:noFill/>
          </p:spPr>
          <p:txBody>
            <a:bodyPr wrap="none" lIns="91427" tIns="45713" rIns="91427" bIns="45713" rtlCol="0">
              <a:spAutoFit/>
            </a:body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Develop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your way</a:t>
              </a:r>
            </a:p>
          </p:txBody>
        </p:sp>
        <p:pic>
          <p:nvPicPr>
            <p:cNvPr id="108" name="Picture 10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81251" y="2546297"/>
              <a:ext cx="1321594" cy="314893"/>
            </a:xfrm>
            <a:prstGeom prst="rect">
              <a:avLst/>
            </a:prstGeom>
          </p:spPr>
        </p:pic>
        <p:pic>
          <p:nvPicPr>
            <p:cNvPr id="109" name="Picture 108"/>
            <p:cNvPicPr>
              <a:picLocks noChangeAspect="1"/>
            </p:cNvPicPr>
            <p:nvPr/>
          </p:nvPicPr>
          <p:blipFill>
            <a:blip r:embed="rId9"/>
            <a:stretch>
              <a:fillRect/>
            </a:stretch>
          </p:blipFill>
          <p:spPr>
            <a:xfrm>
              <a:off x="5025327" y="3381010"/>
              <a:ext cx="654016" cy="457200"/>
            </a:xfrm>
            <a:prstGeom prst="rect">
              <a:avLst/>
            </a:prstGeom>
          </p:spPr>
        </p:pic>
        <p:pic>
          <p:nvPicPr>
            <p:cNvPr id="110" name="Picture 109"/>
            <p:cNvPicPr>
              <a:picLocks noChangeAspect="1"/>
            </p:cNvPicPr>
            <p:nvPr/>
          </p:nvPicPr>
          <p:blipFill>
            <a:blip r:embed="rId10"/>
            <a:stretch>
              <a:fillRect/>
            </a:stretch>
          </p:blipFill>
          <p:spPr>
            <a:xfrm>
              <a:off x="4904862" y="4358030"/>
              <a:ext cx="674371" cy="640080"/>
            </a:xfrm>
            <a:prstGeom prst="rect">
              <a:avLst/>
            </a:prstGeom>
          </p:spPr>
        </p:pic>
      </p:grpSp>
      <p:grpSp>
        <p:nvGrpSpPr>
          <p:cNvPr id="22" name="Group 21"/>
          <p:cNvGrpSpPr/>
          <p:nvPr/>
        </p:nvGrpSpPr>
        <p:grpSpPr>
          <a:xfrm>
            <a:off x="6248610" y="3659478"/>
            <a:ext cx="1634727" cy="2394984"/>
            <a:chOff x="6373926" y="3732361"/>
            <a:chExt cx="1667743" cy="2443008"/>
          </a:xfrm>
        </p:grpSpPr>
        <p:sp>
          <p:nvSpPr>
            <p:cNvPr id="107" name="TextBox 106"/>
            <p:cNvSpPr txBox="1"/>
            <p:nvPr/>
          </p:nvSpPr>
          <p:spPr>
            <a:xfrm>
              <a:off x="6373926" y="5517930"/>
              <a:ext cx="1667743"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ocal</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elopment</a:t>
              </a:r>
            </a:p>
          </p:txBody>
        </p:sp>
        <p:sp>
          <p:nvSpPr>
            <p:cNvPr id="111" name="Freeform 19"/>
            <p:cNvSpPr>
              <a:spLocks noChangeAspect="1" noEditPoints="1"/>
            </p:cNvSpPr>
            <p:nvPr/>
          </p:nvSpPr>
          <p:spPr bwMode="auto">
            <a:xfrm>
              <a:off x="6669516" y="3732361"/>
              <a:ext cx="1110341" cy="914400"/>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rgbClr val="FFFFFF"/>
            </a:solidFill>
            <a:ln>
              <a:noFill/>
            </a:ln>
            <a:extLst/>
          </p:spPr>
          <p:txBody>
            <a:bodyPr vert="horz" wrap="square" lIns="91427" tIns="91427" rIns="91427" bIns="45713" numCol="1" anchor="t" anchorCtr="0" compatLnSpc="1">
              <a:prstTxWarp prst="textNoShape">
                <a:avLst/>
              </a:prstTxWarp>
            </a:bodyPr>
            <a:lstStyle/>
            <a:p>
              <a:pPr marL="0" marR="0" lvl="0" indent="0" algn="ctr" defTabSz="896045"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lt;/&gt;</a:t>
              </a:r>
            </a:p>
          </p:txBody>
        </p:sp>
      </p:grpSp>
      <p:grpSp>
        <p:nvGrpSpPr>
          <p:cNvPr id="26" name="Group 25"/>
          <p:cNvGrpSpPr/>
          <p:nvPr/>
        </p:nvGrpSpPr>
        <p:grpSpPr>
          <a:xfrm>
            <a:off x="450364" y="2400796"/>
            <a:ext cx="1572137" cy="3653668"/>
            <a:chOff x="458578" y="2448438"/>
            <a:chExt cx="1603889" cy="3726931"/>
          </a:xfrm>
        </p:grpSpPr>
        <p:sp>
          <p:nvSpPr>
            <p:cNvPr id="112" name="TextBox 111"/>
            <p:cNvSpPr txBox="1"/>
            <p:nvPr/>
          </p:nvSpPr>
          <p:spPr>
            <a:xfrm>
              <a:off x="458578" y="5517930"/>
              <a:ext cx="1602337"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Event-driven</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cale</a:t>
              </a:r>
            </a:p>
          </p:txBody>
        </p:sp>
        <p:pic>
          <p:nvPicPr>
            <p:cNvPr id="114" name="Picture 113"/>
            <p:cNvPicPr>
              <a:picLocks noChangeAspect="1"/>
            </p:cNvPicPr>
            <p:nvPr/>
          </p:nvPicPr>
          <p:blipFill rotWithShape="1">
            <a:blip r:embed="rId11">
              <a:duotone>
                <a:schemeClr val="accent1">
                  <a:shade val="45000"/>
                  <a:satMod val="135000"/>
                </a:schemeClr>
                <a:prstClr val="white"/>
              </a:duotone>
              <a:lum contrast="25000"/>
            </a:blip>
            <a:srcRect l="24332" r="23006"/>
            <a:stretch/>
          </p:blipFill>
          <p:spPr>
            <a:xfrm>
              <a:off x="486206" y="2448438"/>
              <a:ext cx="1576261" cy="2993124"/>
            </a:xfrm>
            <a:prstGeom prst="rect">
              <a:avLst/>
            </a:prstGeom>
          </p:spPr>
        </p:pic>
      </p:grpSp>
      <p:grpSp>
        <p:nvGrpSpPr>
          <p:cNvPr id="20" name="Group 19"/>
          <p:cNvGrpSpPr/>
          <p:nvPr/>
        </p:nvGrpSpPr>
        <p:grpSpPr>
          <a:xfrm>
            <a:off x="2546473" y="3312502"/>
            <a:ext cx="1226293" cy="2741961"/>
            <a:chOff x="2597019" y="3378426"/>
            <a:chExt cx="1251060" cy="2796944"/>
          </a:xfrm>
        </p:grpSpPr>
        <p:sp>
          <p:nvSpPr>
            <p:cNvPr id="113" name="TextBox 112"/>
            <p:cNvSpPr txBox="1"/>
            <p:nvPr/>
          </p:nvSpPr>
          <p:spPr>
            <a:xfrm>
              <a:off x="2610380" y="5517931"/>
              <a:ext cx="1237699"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Reduced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 Ops</a:t>
              </a:r>
            </a:p>
          </p:txBody>
        </p:sp>
        <p:sp>
          <p:nvSpPr>
            <p:cNvPr id="116" name="Freeform 8"/>
            <p:cNvSpPr>
              <a:spLocks noEditPoints="1"/>
            </p:cNvSpPr>
            <p:nvPr/>
          </p:nvSpPr>
          <p:spPr bwMode="auto">
            <a:xfrm>
              <a:off x="2607629"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7" name="Freeform 9"/>
            <p:cNvSpPr>
              <a:spLocks noEditPoints="1"/>
            </p:cNvSpPr>
            <p:nvPr/>
          </p:nvSpPr>
          <p:spPr bwMode="auto">
            <a:xfrm>
              <a:off x="3048163"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8" name="Freeform 10"/>
            <p:cNvSpPr>
              <a:spLocks noEditPoints="1"/>
            </p:cNvSpPr>
            <p:nvPr/>
          </p:nvSpPr>
          <p:spPr bwMode="auto">
            <a:xfrm>
              <a:off x="3488697" y="4162902"/>
              <a:ext cx="341312" cy="892175"/>
            </a:xfrm>
            <a:custGeom>
              <a:avLst/>
              <a:gdLst>
                <a:gd name="T0" fmla="*/ 67 w 91"/>
                <a:gd name="T1" fmla="*/ 0 h 238"/>
                <a:gd name="T2" fmla="*/ 25 w 91"/>
                <a:gd name="T3" fmla="*/ 0 h 238"/>
                <a:gd name="T4" fmla="*/ 0 w 91"/>
                <a:gd name="T5" fmla="*/ 24 h 238"/>
                <a:gd name="T6" fmla="*/ 0 w 91"/>
                <a:gd name="T7" fmla="*/ 214 h 238"/>
                <a:gd name="T8" fmla="*/ 25 w 91"/>
                <a:gd name="T9" fmla="*/ 238 h 238"/>
                <a:gd name="T10" fmla="*/ 67 w 91"/>
                <a:gd name="T11" fmla="*/ 238 h 238"/>
                <a:gd name="T12" fmla="*/ 91 w 91"/>
                <a:gd name="T13" fmla="*/ 214 h 238"/>
                <a:gd name="T14" fmla="*/ 91 w 91"/>
                <a:gd name="T15" fmla="*/ 24 h 238"/>
                <a:gd name="T16" fmla="*/ 67 w 91"/>
                <a:gd name="T17" fmla="*/ 0 h 238"/>
                <a:gd name="T18" fmla="*/ 46 w 91"/>
                <a:gd name="T19" fmla="*/ 182 h 238"/>
                <a:gd name="T20" fmla="*/ 34 w 91"/>
                <a:gd name="T21" fmla="*/ 170 h 238"/>
                <a:gd name="T22" fmla="*/ 46 w 91"/>
                <a:gd name="T23" fmla="*/ 158 h 238"/>
                <a:gd name="T24" fmla="*/ 57 w 91"/>
                <a:gd name="T25" fmla="*/ 170 h 238"/>
                <a:gd name="T26" fmla="*/ 46 w 91"/>
                <a:gd name="T27" fmla="*/ 182 h 238"/>
                <a:gd name="T28" fmla="*/ 67 w 91"/>
                <a:gd name="T29" fmla="*/ 65 h 238"/>
                <a:gd name="T30" fmla="*/ 24 w 91"/>
                <a:gd name="T31" fmla="*/ 65 h 238"/>
                <a:gd name="T32" fmla="*/ 24 w 91"/>
                <a:gd name="T33" fmla="*/ 57 h 238"/>
                <a:gd name="T34" fmla="*/ 67 w 91"/>
                <a:gd name="T35" fmla="*/ 57 h 238"/>
                <a:gd name="T36" fmla="*/ 67 w 91"/>
                <a:gd name="T37" fmla="*/ 65 h 238"/>
                <a:gd name="T38" fmla="*/ 67 w 91"/>
                <a:gd name="T39" fmla="*/ 65 h 238"/>
                <a:gd name="T40" fmla="*/ 67 w 91"/>
                <a:gd name="T41" fmla="*/ 41 h 238"/>
                <a:gd name="T42" fmla="*/ 24 w 91"/>
                <a:gd name="T43" fmla="*/ 41 h 238"/>
                <a:gd name="T44" fmla="*/ 24 w 91"/>
                <a:gd name="T45" fmla="*/ 32 h 238"/>
                <a:gd name="T46" fmla="*/ 67 w 91"/>
                <a:gd name="T47" fmla="*/ 32 h 238"/>
                <a:gd name="T48" fmla="*/ 67 w 91"/>
                <a:gd name="T49" fmla="*/ 41 h 238"/>
                <a:gd name="T50" fmla="*/ 67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7" y="0"/>
                  </a:moveTo>
                  <a:cubicBezTo>
                    <a:pt x="25" y="0"/>
                    <a:pt x="25" y="0"/>
                    <a:pt x="25" y="0"/>
                  </a:cubicBezTo>
                  <a:cubicBezTo>
                    <a:pt x="11" y="0"/>
                    <a:pt x="0" y="11"/>
                    <a:pt x="0" y="24"/>
                  </a:cubicBezTo>
                  <a:cubicBezTo>
                    <a:pt x="0" y="214"/>
                    <a:pt x="0" y="214"/>
                    <a:pt x="0" y="214"/>
                  </a:cubicBezTo>
                  <a:cubicBezTo>
                    <a:pt x="0" y="227"/>
                    <a:pt x="11" y="238"/>
                    <a:pt x="25" y="238"/>
                  </a:cubicBezTo>
                  <a:cubicBezTo>
                    <a:pt x="67" y="238"/>
                    <a:pt x="67" y="238"/>
                    <a:pt x="67" y="238"/>
                  </a:cubicBezTo>
                  <a:cubicBezTo>
                    <a:pt x="80" y="238"/>
                    <a:pt x="91" y="227"/>
                    <a:pt x="91" y="214"/>
                  </a:cubicBezTo>
                  <a:cubicBezTo>
                    <a:pt x="91" y="24"/>
                    <a:pt x="91" y="24"/>
                    <a:pt x="91" y="24"/>
                  </a:cubicBezTo>
                  <a:cubicBezTo>
                    <a:pt x="91" y="11"/>
                    <a:pt x="80" y="0"/>
                    <a:pt x="67" y="0"/>
                  </a:cubicBezTo>
                  <a:close/>
                  <a:moveTo>
                    <a:pt x="46" y="182"/>
                  </a:moveTo>
                  <a:cubicBezTo>
                    <a:pt x="39" y="182"/>
                    <a:pt x="34" y="176"/>
                    <a:pt x="34" y="170"/>
                  </a:cubicBezTo>
                  <a:cubicBezTo>
                    <a:pt x="34" y="163"/>
                    <a:pt x="39" y="158"/>
                    <a:pt x="46" y="158"/>
                  </a:cubicBezTo>
                  <a:cubicBezTo>
                    <a:pt x="52" y="158"/>
                    <a:pt x="57" y="163"/>
                    <a:pt x="57" y="170"/>
                  </a:cubicBezTo>
                  <a:cubicBezTo>
                    <a:pt x="57" y="176"/>
                    <a:pt x="52" y="182"/>
                    <a:pt x="46" y="182"/>
                  </a:cubicBezTo>
                  <a:close/>
                  <a:moveTo>
                    <a:pt x="67" y="65"/>
                  </a:moveTo>
                  <a:cubicBezTo>
                    <a:pt x="24" y="65"/>
                    <a:pt x="24" y="65"/>
                    <a:pt x="24" y="65"/>
                  </a:cubicBezTo>
                  <a:cubicBezTo>
                    <a:pt x="24" y="57"/>
                    <a:pt x="24" y="57"/>
                    <a:pt x="24" y="57"/>
                  </a:cubicBezTo>
                  <a:cubicBezTo>
                    <a:pt x="67" y="57"/>
                    <a:pt x="67" y="57"/>
                    <a:pt x="67" y="57"/>
                  </a:cubicBezTo>
                  <a:cubicBezTo>
                    <a:pt x="67" y="65"/>
                    <a:pt x="67" y="65"/>
                    <a:pt x="67" y="65"/>
                  </a:cubicBezTo>
                  <a:cubicBezTo>
                    <a:pt x="67" y="65"/>
                    <a:pt x="67" y="65"/>
                    <a:pt x="67" y="65"/>
                  </a:cubicBezTo>
                  <a:close/>
                  <a:moveTo>
                    <a:pt x="67" y="41"/>
                  </a:moveTo>
                  <a:cubicBezTo>
                    <a:pt x="24" y="41"/>
                    <a:pt x="24" y="41"/>
                    <a:pt x="24" y="41"/>
                  </a:cubicBezTo>
                  <a:cubicBezTo>
                    <a:pt x="24" y="32"/>
                    <a:pt x="24" y="32"/>
                    <a:pt x="24" y="32"/>
                  </a:cubicBezTo>
                  <a:cubicBezTo>
                    <a:pt x="67" y="32"/>
                    <a:pt x="67" y="32"/>
                    <a:pt x="67" y="32"/>
                  </a:cubicBezTo>
                  <a:cubicBezTo>
                    <a:pt x="67" y="41"/>
                    <a:pt x="67" y="41"/>
                    <a:pt x="67" y="41"/>
                  </a:cubicBezTo>
                  <a:cubicBezTo>
                    <a:pt x="67" y="41"/>
                    <a:pt x="67" y="41"/>
                    <a:pt x="67"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0" name="Freeform 8"/>
            <p:cNvSpPr>
              <a:spLocks noEditPoints="1"/>
            </p:cNvSpPr>
            <p:nvPr/>
          </p:nvSpPr>
          <p:spPr bwMode="auto">
            <a:xfrm rot="5400000">
              <a:off x="3052921" y="3236326"/>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8" name="Freeform 5"/>
            <p:cNvSpPr>
              <a:spLocks/>
            </p:cNvSpPr>
            <p:nvPr/>
          </p:nvSpPr>
          <p:spPr bwMode="auto">
            <a:xfrm>
              <a:off x="2782252" y="3802062"/>
              <a:ext cx="882650" cy="407447"/>
            </a:xfrm>
            <a:custGeom>
              <a:avLst/>
              <a:gdLst>
                <a:gd name="T0" fmla="*/ 0 w 556"/>
                <a:gd name="T1" fmla="*/ 557 h 557"/>
                <a:gd name="T2" fmla="*/ 0 w 556"/>
                <a:gd name="T3" fmla="*/ 279 h 557"/>
                <a:gd name="T4" fmla="*/ 278 w 556"/>
                <a:gd name="T5" fmla="*/ 279 h 557"/>
                <a:gd name="T6" fmla="*/ 278 w 556"/>
                <a:gd name="T7" fmla="*/ 557 h 557"/>
                <a:gd name="T8" fmla="*/ 278 w 556"/>
                <a:gd name="T9" fmla="*/ 0 h 557"/>
                <a:gd name="T10" fmla="*/ 278 w 556"/>
                <a:gd name="T11" fmla="*/ 279 h 557"/>
                <a:gd name="T12" fmla="*/ 556 w 556"/>
                <a:gd name="T13" fmla="*/ 279 h 557"/>
                <a:gd name="T14" fmla="*/ 556 w 556"/>
                <a:gd name="T15" fmla="*/ 557 h 5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6" h="557">
                  <a:moveTo>
                    <a:pt x="0" y="557"/>
                  </a:moveTo>
                  <a:lnTo>
                    <a:pt x="0" y="279"/>
                  </a:lnTo>
                  <a:lnTo>
                    <a:pt x="278" y="279"/>
                  </a:lnTo>
                  <a:lnTo>
                    <a:pt x="278" y="557"/>
                  </a:lnTo>
                  <a:lnTo>
                    <a:pt x="278" y="0"/>
                  </a:lnTo>
                  <a:lnTo>
                    <a:pt x="278" y="279"/>
                  </a:lnTo>
                  <a:lnTo>
                    <a:pt x="556" y="279"/>
                  </a:lnTo>
                  <a:lnTo>
                    <a:pt x="556" y="557"/>
                  </a:lnTo>
                </a:path>
              </a:pathLst>
            </a:custGeom>
            <a:noFill/>
            <a:ln w="254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 name="&quot;Not Allowed&quot; Symbol 18"/>
            <p:cNvSpPr/>
            <p:nvPr/>
          </p:nvSpPr>
          <p:spPr bwMode="auto">
            <a:xfrm>
              <a:off x="2597019" y="3378426"/>
              <a:ext cx="1233549" cy="1233549"/>
            </a:xfrm>
            <a:prstGeom prst="noSmoking">
              <a:avLst>
                <a:gd name="adj" fmla="val 8694"/>
              </a:avLst>
            </a:prstGeom>
            <a:solidFill>
              <a:srgbClr val="FFFFFF"/>
            </a:solidFill>
            <a:ln w="4127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pic>
        <p:nvPicPr>
          <p:cNvPr id="11" name="Picture 10"/>
          <p:cNvPicPr>
            <a:picLocks noChangeAspect="1"/>
          </p:cNvPicPr>
          <p:nvPr/>
        </p:nvPicPr>
        <p:blipFill>
          <a:blip r:embed="rId12"/>
          <a:stretch>
            <a:fillRect/>
          </a:stretch>
        </p:blipFill>
        <p:spPr>
          <a:xfrm>
            <a:off x="10922823" y="2277141"/>
            <a:ext cx="607016" cy="520151"/>
          </a:xfrm>
          <a:prstGeom prst="rect">
            <a:avLst/>
          </a:prstGeom>
        </p:spPr>
      </p:pic>
      <p:grpSp>
        <p:nvGrpSpPr>
          <p:cNvPr id="36" name="Group 35"/>
          <p:cNvGrpSpPr/>
          <p:nvPr/>
        </p:nvGrpSpPr>
        <p:grpSpPr>
          <a:xfrm>
            <a:off x="9721325" y="2282142"/>
            <a:ext cx="489414" cy="510151"/>
            <a:chOff x="6915150" y="4665663"/>
            <a:chExt cx="714375" cy="744537"/>
          </a:xfrm>
        </p:grpSpPr>
        <p:sp>
          <p:nvSpPr>
            <p:cNvPr id="15" name="Rectangle 5"/>
            <p:cNvSpPr>
              <a:spLocks noChangeArrowheads="1"/>
            </p:cNvSpPr>
            <p:nvPr/>
          </p:nvSpPr>
          <p:spPr bwMode="auto">
            <a:xfrm>
              <a:off x="7070725" y="49911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6" name="Rectangle 6"/>
            <p:cNvSpPr>
              <a:spLocks noChangeArrowheads="1"/>
            </p:cNvSpPr>
            <p:nvPr/>
          </p:nvSpPr>
          <p:spPr bwMode="auto">
            <a:xfrm>
              <a:off x="7070725" y="51435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7" name="Rectangle 7"/>
            <p:cNvSpPr>
              <a:spLocks noChangeArrowheads="1"/>
            </p:cNvSpPr>
            <p:nvPr/>
          </p:nvSpPr>
          <p:spPr bwMode="auto">
            <a:xfrm>
              <a:off x="7243763" y="4929188"/>
              <a:ext cx="119062"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 name="Rectangle 8"/>
            <p:cNvSpPr>
              <a:spLocks noChangeArrowheads="1"/>
            </p:cNvSpPr>
            <p:nvPr/>
          </p:nvSpPr>
          <p:spPr bwMode="auto">
            <a:xfrm>
              <a:off x="7243763" y="5081588"/>
              <a:ext cx="119062" cy="920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 name="Rectangle 9"/>
            <p:cNvSpPr>
              <a:spLocks noChangeArrowheads="1"/>
            </p:cNvSpPr>
            <p:nvPr/>
          </p:nvSpPr>
          <p:spPr bwMode="auto">
            <a:xfrm>
              <a:off x="7415213" y="4991100"/>
              <a:ext cx="120650"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 name="Rectangle 10"/>
            <p:cNvSpPr>
              <a:spLocks noChangeArrowheads="1"/>
            </p:cNvSpPr>
            <p:nvPr/>
          </p:nvSpPr>
          <p:spPr bwMode="auto">
            <a:xfrm>
              <a:off x="7070725" y="48387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 name="Freeform 11"/>
            <p:cNvSpPr>
              <a:spLocks/>
            </p:cNvSpPr>
            <p:nvPr/>
          </p:nvSpPr>
          <p:spPr bwMode="auto">
            <a:xfrm>
              <a:off x="6915150" y="4665663"/>
              <a:ext cx="714375" cy="176212"/>
            </a:xfrm>
            <a:custGeom>
              <a:avLst/>
              <a:gdLst>
                <a:gd name="T0" fmla="*/ 0 w 450"/>
                <a:gd name="T1" fmla="*/ 0 h 111"/>
                <a:gd name="T2" fmla="*/ 0 w 450"/>
                <a:gd name="T3" fmla="*/ 47 h 111"/>
                <a:gd name="T4" fmla="*/ 0 w 450"/>
                <a:gd name="T5" fmla="*/ 47 h 111"/>
                <a:gd name="T6" fmla="*/ 0 w 450"/>
                <a:gd name="T7" fmla="*/ 111 h 111"/>
                <a:gd name="T8" fmla="*/ 64 w 450"/>
                <a:gd name="T9" fmla="*/ 111 h 111"/>
                <a:gd name="T10" fmla="*/ 64 w 450"/>
                <a:gd name="T11" fmla="*/ 64 h 111"/>
                <a:gd name="T12" fmla="*/ 389 w 450"/>
                <a:gd name="T13" fmla="*/ 64 h 111"/>
                <a:gd name="T14" fmla="*/ 389 w 450"/>
                <a:gd name="T15" fmla="*/ 111 h 111"/>
                <a:gd name="T16" fmla="*/ 450 w 450"/>
                <a:gd name="T17" fmla="*/ 111 h 111"/>
                <a:gd name="T18" fmla="*/ 450 w 450"/>
                <a:gd name="T19" fmla="*/ 64 h 111"/>
                <a:gd name="T20" fmla="*/ 450 w 450"/>
                <a:gd name="T21" fmla="*/ 47 h 111"/>
                <a:gd name="T22" fmla="*/ 450 w 450"/>
                <a:gd name="T23" fmla="*/ 0 h 111"/>
                <a:gd name="T24" fmla="*/ 0 w 450"/>
                <a:gd name="T2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0" y="0"/>
                  </a:moveTo>
                  <a:lnTo>
                    <a:pt x="0" y="47"/>
                  </a:lnTo>
                  <a:lnTo>
                    <a:pt x="0" y="47"/>
                  </a:lnTo>
                  <a:lnTo>
                    <a:pt x="0" y="111"/>
                  </a:lnTo>
                  <a:lnTo>
                    <a:pt x="64" y="111"/>
                  </a:lnTo>
                  <a:lnTo>
                    <a:pt x="64" y="64"/>
                  </a:lnTo>
                  <a:lnTo>
                    <a:pt x="389" y="64"/>
                  </a:lnTo>
                  <a:lnTo>
                    <a:pt x="389" y="111"/>
                  </a:lnTo>
                  <a:lnTo>
                    <a:pt x="450" y="111"/>
                  </a:lnTo>
                  <a:lnTo>
                    <a:pt x="450" y="64"/>
                  </a:lnTo>
                  <a:lnTo>
                    <a:pt x="450" y="47"/>
                  </a:lnTo>
                  <a:lnTo>
                    <a:pt x="45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 name="Freeform 12"/>
            <p:cNvSpPr>
              <a:spLocks/>
            </p:cNvSpPr>
            <p:nvPr/>
          </p:nvSpPr>
          <p:spPr bwMode="auto">
            <a:xfrm>
              <a:off x="6915150" y="5233988"/>
              <a:ext cx="714375" cy="176212"/>
            </a:xfrm>
            <a:custGeom>
              <a:avLst/>
              <a:gdLst>
                <a:gd name="T0" fmla="*/ 450 w 450"/>
                <a:gd name="T1" fmla="*/ 111 h 111"/>
                <a:gd name="T2" fmla="*/ 450 w 450"/>
                <a:gd name="T3" fmla="*/ 64 h 111"/>
                <a:gd name="T4" fmla="*/ 450 w 450"/>
                <a:gd name="T5" fmla="*/ 64 h 111"/>
                <a:gd name="T6" fmla="*/ 450 w 450"/>
                <a:gd name="T7" fmla="*/ 0 h 111"/>
                <a:gd name="T8" fmla="*/ 389 w 450"/>
                <a:gd name="T9" fmla="*/ 0 h 111"/>
                <a:gd name="T10" fmla="*/ 389 w 450"/>
                <a:gd name="T11" fmla="*/ 48 h 111"/>
                <a:gd name="T12" fmla="*/ 64 w 450"/>
                <a:gd name="T13" fmla="*/ 48 h 111"/>
                <a:gd name="T14" fmla="*/ 64 w 450"/>
                <a:gd name="T15" fmla="*/ 0 h 111"/>
                <a:gd name="T16" fmla="*/ 0 w 450"/>
                <a:gd name="T17" fmla="*/ 0 h 111"/>
                <a:gd name="T18" fmla="*/ 0 w 450"/>
                <a:gd name="T19" fmla="*/ 48 h 111"/>
                <a:gd name="T20" fmla="*/ 0 w 450"/>
                <a:gd name="T21" fmla="*/ 64 h 111"/>
                <a:gd name="T22" fmla="*/ 0 w 450"/>
                <a:gd name="T23" fmla="*/ 111 h 111"/>
                <a:gd name="T24" fmla="*/ 450 w 450"/>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450" y="111"/>
                  </a:moveTo>
                  <a:lnTo>
                    <a:pt x="450" y="64"/>
                  </a:lnTo>
                  <a:lnTo>
                    <a:pt x="450" y="64"/>
                  </a:lnTo>
                  <a:lnTo>
                    <a:pt x="450" y="0"/>
                  </a:lnTo>
                  <a:lnTo>
                    <a:pt x="389" y="0"/>
                  </a:lnTo>
                  <a:lnTo>
                    <a:pt x="389" y="48"/>
                  </a:lnTo>
                  <a:lnTo>
                    <a:pt x="64" y="48"/>
                  </a:lnTo>
                  <a:lnTo>
                    <a:pt x="64" y="0"/>
                  </a:lnTo>
                  <a:lnTo>
                    <a:pt x="0" y="0"/>
                  </a:lnTo>
                  <a:lnTo>
                    <a:pt x="0" y="48"/>
                  </a:lnTo>
                  <a:lnTo>
                    <a:pt x="0" y="64"/>
                  </a:lnTo>
                  <a:lnTo>
                    <a:pt x="0" y="111"/>
                  </a:lnTo>
                  <a:lnTo>
                    <a:pt x="450"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37" name="Group 36"/>
          <p:cNvGrpSpPr/>
          <p:nvPr/>
        </p:nvGrpSpPr>
        <p:grpSpPr>
          <a:xfrm>
            <a:off x="8446601" y="2284040"/>
            <a:ext cx="486510" cy="508253"/>
            <a:chOff x="3100388" y="2039938"/>
            <a:chExt cx="712787" cy="744537"/>
          </a:xfrm>
        </p:grpSpPr>
        <p:sp>
          <p:nvSpPr>
            <p:cNvPr id="32" name="Freeform 13"/>
            <p:cNvSpPr>
              <a:spLocks/>
            </p:cNvSpPr>
            <p:nvPr/>
          </p:nvSpPr>
          <p:spPr bwMode="auto">
            <a:xfrm>
              <a:off x="3100388" y="2039938"/>
              <a:ext cx="712787" cy="174625"/>
            </a:xfrm>
            <a:custGeom>
              <a:avLst/>
              <a:gdLst>
                <a:gd name="T0" fmla="*/ 0 w 449"/>
                <a:gd name="T1" fmla="*/ 0 h 110"/>
                <a:gd name="T2" fmla="*/ 0 w 449"/>
                <a:gd name="T3" fmla="*/ 47 h 110"/>
                <a:gd name="T4" fmla="*/ 0 w 449"/>
                <a:gd name="T5" fmla="*/ 47 h 110"/>
                <a:gd name="T6" fmla="*/ 0 w 449"/>
                <a:gd name="T7" fmla="*/ 110 h 110"/>
                <a:gd name="T8" fmla="*/ 63 w 449"/>
                <a:gd name="T9" fmla="*/ 110 h 110"/>
                <a:gd name="T10" fmla="*/ 63 w 449"/>
                <a:gd name="T11" fmla="*/ 63 h 110"/>
                <a:gd name="T12" fmla="*/ 388 w 449"/>
                <a:gd name="T13" fmla="*/ 63 h 110"/>
                <a:gd name="T14" fmla="*/ 388 w 449"/>
                <a:gd name="T15" fmla="*/ 110 h 110"/>
                <a:gd name="T16" fmla="*/ 449 w 449"/>
                <a:gd name="T17" fmla="*/ 110 h 110"/>
                <a:gd name="T18" fmla="*/ 449 w 449"/>
                <a:gd name="T19" fmla="*/ 63 h 110"/>
                <a:gd name="T20" fmla="*/ 449 w 449"/>
                <a:gd name="T21" fmla="*/ 47 h 110"/>
                <a:gd name="T22" fmla="*/ 449 w 449"/>
                <a:gd name="T23" fmla="*/ 0 h 110"/>
                <a:gd name="T24" fmla="*/ 0 w 449"/>
                <a:gd name="T25"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0">
                  <a:moveTo>
                    <a:pt x="0" y="0"/>
                  </a:moveTo>
                  <a:lnTo>
                    <a:pt x="0" y="47"/>
                  </a:lnTo>
                  <a:lnTo>
                    <a:pt x="0" y="47"/>
                  </a:lnTo>
                  <a:lnTo>
                    <a:pt x="0" y="110"/>
                  </a:lnTo>
                  <a:lnTo>
                    <a:pt x="63" y="110"/>
                  </a:lnTo>
                  <a:lnTo>
                    <a:pt x="63" y="63"/>
                  </a:lnTo>
                  <a:lnTo>
                    <a:pt x="388" y="63"/>
                  </a:lnTo>
                  <a:lnTo>
                    <a:pt x="388" y="110"/>
                  </a:lnTo>
                  <a:lnTo>
                    <a:pt x="449" y="110"/>
                  </a:lnTo>
                  <a:lnTo>
                    <a:pt x="449" y="63"/>
                  </a:lnTo>
                  <a:lnTo>
                    <a:pt x="449" y="47"/>
                  </a:lnTo>
                  <a:lnTo>
                    <a:pt x="449"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Freeform 14"/>
            <p:cNvSpPr>
              <a:spLocks/>
            </p:cNvSpPr>
            <p:nvPr/>
          </p:nvSpPr>
          <p:spPr bwMode="auto">
            <a:xfrm>
              <a:off x="3100388" y="2608263"/>
              <a:ext cx="712787" cy="176212"/>
            </a:xfrm>
            <a:custGeom>
              <a:avLst/>
              <a:gdLst>
                <a:gd name="T0" fmla="*/ 449 w 449"/>
                <a:gd name="T1" fmla="*/ 111 h 111"/>
                <a:gd name="T2" fmla="*/ 449 w 449"/>
                <a:gd name="T3" fmla="*/ 64 h 111"/>
                <a:gd name="T4" fmla="*/ 449 w 449"/>
                <a:gd name="T5" fmla="*/ 64 h 111"/>
                <a:gd name="T6" fmla="*/ 449 w 449"/>
                <a:gd name="T7" fmla="*/ 0 h 111"/>
                <a:gd name="T8" fmla="*/ 388 w 449"/>
                <a:gd name="T9" fmla="*/ 0 h 111"/>
                <a:gd name="T10" fmla="*/ 388 w 449"/>
                <a:gd name="T11" fmla="*/ 47 h 111"/>
                <a:gd name="T12" fmla="*/ 63 w 449"/>
                <a:gd name="T13" fmla="*/ 47 h 111"/>
                <a:gd name="T14" fmla="*/ 63 w 449"/>
                <a:gd name="T15" fmla="*/ 0 h 111"/>
                <a:gd name="T16" fmla="*/ 0 w 449"/>
                <a:gd name="T17" fmla="*/ 0 h 111"/>
                <a:gd name="T18" fmla="*/ 0 w 449"/>
                <a:gd name="T19" fmla="*/ 47 h 111"/>
                <a:gd name="T20" fmla="*/ 0 w 449"/>
                <a:gd name="T21" fmla="*/ 64 h 111"/>
                <a:gd name="T22" fmla="*/ 0 w 449"/>
                <a:gd name="T23" fmla="*/ 111 h 111"/>
                <a:gd name="T24" fmla="*/ 449 w 449"/>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1">
                  <a:moveTo>
                    <a:pt x="449" y="111"/>
                  </a:moveTo>
                  <a:lnTo>
                    <a:pt x="449" y="64"/>
                  </a:lnTo>
                  <a:lnTo>
                    <a:pt x="449" y="64"/>
                  </a:lnTo>
                  <a:lnTo>
                    <a:pt x="449" y="0"/>
                  </a:lnTo>
                  <a:lnTo>
                    <a:pt x="388" y="0"/>
                  </a:lnTo>
                  <a:lnTo>
                    <a:pt x="388" y="47"/>
                  </a:lnTo>
                  <a:lnTo>
                    <a:pt x="63" y="47"/>
                  </a:lnTo>
                  <a:lnTo>
                    <a:pt x="63" y="0"/>
                  </a:lnTo>
                  <a:lnTo>
                    <a:pt x="0" y="0"/>
                  </a:lnTo>
                  <a:lnTo>
                    <a:pt x="0" y="47"/>
                  </a:lnTo>
                  <a:lnTo>
                    <a:pt x="0" y="64"/>
                  </a:lnTo>
                  <a:lnTo>
                    <a:pt x="0" y="111"/>
                  </a:lnTo>
                  <a:lnTo>
                    <a:pt x="449"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 name="Freeform 15"/>
            <p:cNvSpPr>
              <a:spLocks/>
            </p:cNvSpPr>
            <p:nvPr/>
          </p:nvSpPr>
          <p:spPr bwMode="auto">
            <a:xfrm>
              <a:off x="3268663" y="2266950"/>
              <a:ext cx="379412" cy="185737"/>
            </a:xfrm>
            <a:custGeom>
              <a:avLst/>
              <a:gdLst>
                <a:gd name="T0" fmla="*/ 0 w 117"/>
                <a:gd name="T1" fmla="*/ 6 h 57"/>
                <a:gd name="T2" fmla="*/ 44 w 117"/>
                <a:gd name="T3" fmla="*/ 49 h 57"/>
                <a:gd name="T4" fmla="*/ 73 w 117"/>
                <a:gd name="T5" fmla="*/ 49 h 57"/>
                <a:gd name="T6" fmla="*/ 117 w 117"/>
                <a:gd name="T7" fmla="*/ 6 h 57"/>
                <a:gd name="T8" fmla="*/ 117 w 117"/>
                <a:gd name="T9" fmla="*/ 0 h 57"/>
                <a:gd name="T10" fmla="*/ 0 w 117"/>
                <a:gd name="T11" fmla="*/ 0 h 57"/>
                <a:gd name="T12" fmla="*/ 0 w 117"/>
                <a:gd name="T13" fmla="*/ 6 h 57"/>
              </a:gdLst>
              <a:ahLst/>
              <a:cxnLst>
                <a:cxn ang="0">
                  <a:pos x="T0" y="T1"/>
                </a:cxn>
                <a:cxn ang="0">
                  <a:pos x="T2" y="T3"/>
                </a:cxn>
                <a:cxn ang="0">
                  <a:pos x="T4" y="T5"/>
                </a:cxn>
                <a:cxn ang="0">
                  <a:pos x="T6" y="T7"/>
                </a:cxn>
                <a:cxn ang="0">
                  <a:pos x="T8" y="T9"/>
                </a:cxn>
                <a:cxn ang="0">
                  <a:pos x="T10" y="T11"/>
                </a:cxn>
                <a:cxn ang="0">
                  <a:pos x="T12" y="T13"/>
                </a:cxn>
              </a:cxnLst>
              <a:rect l="0" t="0" r="r" b="b"/>
              <a:pathLst>
                <a:path w="117" h="57">
                  <a:moveTo>
                    <a:pt x="0" y="6"/>
                  </a:moveTo>
                  <a:cubicBezTo>
                    <a:pt x="44" y="49"/>
                    <a:pt x="44" y="49"/>
                    <a:pt x="44" y="49"/>
                  </a:cubicBezTo>
                  <a:cubicBezTo>
                    <a:pt x="52" y="57"/>
                    <a:pt x="65" y="57"/>
                    <a:pt x="73" y="49"/>
                  </a:cubicBezTo>
                  <a:cubicBezTo>
                    <a:pt x="117" y="6"/>
                    <a:pt x="117" y="6"/>
                    <a:pt x="117" y="6"/>
                  </a:cubicBezTo>
                  <a:cubicBezTo>
                    <a:pt x="117" y="0"/>
                    <a:pt x="117" y="0"/>
                    <a:pt x="117" y="0"/>
                  </a:cubicBezTo>
                  <a:cubicBezTo>
                    <a:pt x="0" y="0"/>
                    <a:pt x="0" y="0"/>
                    <a:pt x="0" y="0"/>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 name="Freeform 16"/>
            <p:cNvSpPr>
              <a:spLocks/>
            </p:cNvSpPr>
            <p:nvPr/>
          </p:nvSpPr>
          <p:spPr bwMode="auto">
            <a:xfrm>
              <a:off x="3268663" y="2309813"/>
              <a:ext cx="379412" cy="246062"/>
            </a:xfrm>
            <a:custGeom>
              <a:avLst/>
              <a:gdLst>
                <a:gd name="T0" fmla="*/ 73 w 117"/>
                <a:gd name="T1" fmla="*/ 44 h 76"/>
                <a:gd name="T2" fmla="*/ 44 w 117"/>
                <a:gd name="T3" fmla="*/ 44 h 76"/>
                <a:gd name="T4" fmla="*/ 0 w 117"/>
                <a:gd name="T5" fmla="*/ 0 h 76"/>
                <a:gd name="T6" fmla="*/ 0 w 117"/>
                <a:gd name="T7" fmla="*/ 76 h 76"/>
                <a:gd name="T8" fmla="*/ 117 w 117"/>
                <a:gd name="T9" fmla="*/ 76 h 76"/>
                <a:gd name="T10" fmla="*/ 117 w 117"/>
                <a:gd name="T11" fmla="*/ 0 h 76"/>
                <a:gd name="T12" fmla="*/ 73 w 117"/>
                <a:gd name="T13" fmla="*/ 44 h 76"/>
              </a:gdLst>
              <a:ahLst/>
              <a:cxnLst>
                <a:cxn ang="0">
                  <a:pos x="T0" y="T1"/>
                </a:cxn>
                <a:cxn ang="0">
                  <a:pos x="T2" y="T3"/>
                </a:cxn>
                <a:cxn ang="0">
                  <a:pos x="T4" y="T5"/>
                </a:cxn>
                <a:cxn ang="0">
                  <a:pos x="T6" y="T7"/>
                </a:cxn>
                <a:cxn ang="0">
                  <a:pos x="T8" y="T9"/>
                </a:cxn>
                <a:cxn ang="0">
                  <a:pos x="T10" y="T11"/>
                </a:cxn>
                <a:cxn ang="0">
                  <a:pos x="T12" y="T13"/>
                </a:cxn>
              </a:cxnLst>
              <a:rect l="0" t="0" r="r" b="b"/>
              <a:pathLst>
                <a:path w="117" h="76">
                  <a:moveTo>
                    <a:pt x="73" y="44"/>
                  </a:moveTo>
                  <a:cubicBezTo>
                    <a:pt x="65" y="52"/>
                    <a:pt x="52" y="52"/>
                    <a:pt x="44" y="44"/>
                  </a:cubicBezTo>
                  <a:cubicBezTo>
                    <a:pt x="0" y="0"/>
                    <a:pt x="0" y="0"/>
                    <a:pt x="0" y="0"/>
                  </a:cubicBezTo>
                  <a:cubicBezTo>
                    <a:pt x="0" y="76"/>
                    <a:pt x="0" y="76"/>
                    <a:pt x="0" y="76"/>
                  </a:cubicBezTo>
                  <a:cubicBezTo>
                    <a:pt x="117" y="76"/>
                    <a:pt x="117" y="76"/>
                    <a:pt x="117" y="76"/>
                  </a:cubicBezTo>
                  <a:cubicBezTo>
                    <a:pt x="117" y="0"/>
                    <a:pt x="117" y="0"/>
                    <a:pt x="117" y="0"/>
                  </a:cubicBezTo>
                  <a:lnTo>
                    <a:pt x="73"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3648605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10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30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500"/>
                                  </p:stCondLst>
                                  <p:childTnLst>
                                    <p:set>
                                      <p:cBhvr>
                                        <p:cTn id="14" dur="1" fill="hold">
                                          <p:stCondLst>
                                            <p:cond delay="0"/>
                                          </p:stCondLst>
                                        </p:cTn>
                                        <p:tgtEl>
                                          <p:spTgt spid="54"/>
                                        </p:tgtEl>
                                        <p:attrNameLst>
                                          <p:attrName>style.visibility</p:attrName>
                                        </p:attrNameLst>
                                      </p:cBhvr>
                                      <p:to>
                                        <p:strVal val="visible"/>
                                      </p:to>
                                    </p:set>
                                    <p:anim calcmode="lin" valueType="num">
                                      <p:cBhvr additive="base">
                                        <p:cTn id="15" dur="500" fill="hold"/>
                                        <p:tgtEl>
                                          <p:spTgt spid="54"/>
                                        </p:tgtEl>
                                        <p:attrNameLst>
                                          <p:attrName>ppt_x</p:attrName>
                                        </p:attrNameLst>
                                      </p:cBhvr>
                                      <p:tavLst>
                                        <p:tav tm="0">
                                          <p:val>
                                            <p:strVal val="#ppt_x"/>
                                          </p:val>
                                        </p:tav>
                                        <p:tav tm="100000">
                                          <p:val>
                                            <p:strVal val="#ppt_x"/>
                                          </p:val>
                                        </p:tav>
                                      </p:tavLst>
                                    </p:anim>
                                    <p:anim calcmode="lin" valueType="num">
                                      <p:cBhvr additive="base">
                                        <p:cTn id="16" dur="500" fill="hold"/>
                                        <p:tgtEl>
                                          <p:spTgt spid="54"/>
                                        </p:tgtEl>
                                        <p:attrNameLst>
                                          <p:attrName>ppt_y</p:attrName>
                                        </p:attrNameLst>
                                      </p:cBhvr>
                                      <p:tavLst>
                                        <p:tav tm="0">
                                          <p:val>
                                            <p:strVal val="1+#ppt_h/2"/>
                                          </p:val>
                                        </p:tav>
                                        <p:tav tm="100000">
                                          <p:val>
                                            <p:strVal val="#ppt_y"/>
                                          </p:val>
                                        </p:tav>
                                      </p:tavLst>
                                    </p:anim>
                                  </p:childTnLst>
                                </p:cTn>
                              </p:par>
                              <p:par>
                                <p:cTn id="17" presetID="10" presetClass="entr" presetSubtype="0" fill="hold" nodeType="withEffect">
                                  <p:stCondLst>
                                    <p:cond delay="60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par>
                                <p:cTn id="20" presetID="35" presetClass="path" presetSubtype="0" decel="100000" fill="hold" nodeType="withEffect">
                                  <p:stCondLst>
                                    <p:cond delay="600"/>
                                  </p:stCondLst>
                                  <p:childTnLst>
                                    <p:animMotion origin="layout" path="M 1.02374E-6 -3.55878E-6 L 1.02374E-6 0.0261 " pathEditMode="relative" rAng="0" ptsTypes="AA">
                                      <p:cBhvr>
                                        <p:cTn id="21" dur="500" spd="-100000" fill="hold"/>
                                        <p:tgtEl>
                                          <p:spTgt spid="26"/>
                                        </p:tgtEl>
                                        <p:attrNameLst>
                                          <p:attrName>ppt_x</p:attrName>
                                          <p:attrName>ppt_y</p:attrName>
                                        </p:attrNameLst>
                                      </p:cBhvr>
                                      <p:rCtr x="0" y="1294"/>
                                    </p:animMotion>
                                  </p:childTnLst>
                                </p:cTn>
                              </p:par>
                              <p:par>
                                <p:cTn id="22" presetID="10" presetClass="entr" presetSubtype="0" fill="hold" nodeType="withEffect">
                                  <p:stCondLst>
                                    <p:cond delay="70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par>
                                <p:cTn id="25" presetID="35" presetClass="path" presetSubtype="0" decel="100000" fill="hold" nodeType="withEffect">
                                  <p:stCondLst>
                                    <p:cond delay="700"/>
                                  </p:stCondLst>
                                  <p:childTnLst>
                                    <p:animMotion origin="layout" path="M 1.02374E-6 -3.55878E-6 L 1.02374E-6 0.0261 " pathEditMode="relative" rAng="0" ptsTypes="AA">
                                      <p:cBhvr>
                                        <p:cTn id="26" dur="500" spd="-100000" fill="hold"/>
                                        <p:tgtEl>
                                          <p:spTgt spid="20"/>
                                        </p:tgtEl>
                                        <p:attrNameLst>
                                          <p:attrName>ppt_x</p:attrName>
                                          <p:attrName>ppt_y</p:attrName>
                                        </p:attrNameLst>
                                      </p:cBhvr>
                                      <p:rCtr x="0" y="1294"/>
                                    </p:animMotion>
                                  </p:childTnLst>
                                </p:cTn>
                              </p:par>
                              <p:par>
                                <p:cTn id="27" presetID="10" presetClass="entr" presetSubtype="0" fill="hold" nodeType="withEffect">
                                  <p:stCondLst>
                                    <p:cond delay="8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35" presetClass="path" presetSubtype="0" decel="100000" fill="hold" nodeType="withEffect">
                                  <p:stCondLst>
                                    <p:cond delay="800"/>
                                  </p:stCondLst>
                                  <p:childTnLst>
                                    <p:animMotion origin="layout" path="M 1.02374E-6 -3.55878E-6 L 1.02374E-6 0.0261 " pathEditMode="relative" rAng="0" ptsTypes="AA">
                                      <p:cBhvr>
                                        <p:cTn id="31" dur="500" spd="-100000" fill="hold"/>
                                        <p:tgtEl>
                                          <p:spTgt spid="21"/>
                                        </p:tgtEl>
                                        <p:attrNameLst>
                                          <p:attrName>ppt_x</p:attrName>
                                          <p:attrName>ppt_y</p:attrName>
                                        </p:attrNameLst>
                                      </p:cBhvr>
                                      <p:rCtr x="0" y="1294"/>
                                    </p:animMotion>
                                  </p:childTnLst>
                                </p:cTn>
                              </p:par>
                              <p:par>
                                <p:cTn id="32" presetID="10" presetClass="entr" presetSubtype="0" fill="hold" nodeType="withEffect">
                                  <p:stCondLst>
                                    <p:cond delay="90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35" presetClass="path" presetSubtype="0" decel="100000" fill="hold" nodeType="withEffect">
                                  <p:stCondLst>
                                    <p:cond delay="900"/>
                                  </p:stCondLst>
                                  <p:childTnLst>
                                    <p:animMotion origin="layout" path="M 1.02374E-6 -3.55878E-6 L 1.02374E-6 0.0261 " pathEditMode="relative" rAng="0" ptsTypes="AA">
                                      <p:cBhvr>
                                        <p:cTn id="36" dur="500" spd="-100000" fill="hold"/>
                                        <p:tgtEl>
                                          <p:spTgt spid="22"/>
                                        </p:tgtEl>
                                        <p:attrNameLst>
                                          <p:attrName>ppt_x</p:attrName>
                                          <p:attrName>ppt_y</p:attrName>
                                        </p:attrNameLst>
                                      </p:cBhvr>
                                      <p:rCtr x="0" y="1294"/>
                                    </p:animMotion>
                                  </p:childTnLst>
                                </p:cTn>
                              </p:par>
                              <p:par>
                                <p:cTn id="37" presetID="10" presetClass="entr" presetSubtype="0" fill="hold" nodeType="withEffect">
                                  <p:stCondLst>
                                    <p:cond delay="100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35" presetClass="path" presetSubtype="0" decel="100000" fill="hold" nodeType="withEffect">
                                  <p:stCondLst>
                                    <p:cond delay="1000"/>
                                  </p:stCondLst>
                                  <p:childTnLst>
                                    <p:animMotion origin="layout" path="M 1.02374E-6 -3.55878E-6 L 1.02374E-6 0.0261 " pathEditMode="relative" rAng="0" ptsTypes="AA">
                                      <p:cBhvr>
                                        <p:cTn id="41" dur="500" spd="-100000" fill="hold"/>
                                        <p:tgtEl>
                                          <p:spTgt spid="23"/>
                                        </p:tgtEl>
                                        <p:attrNameLst>
                                          <p:attrName>ppt_x</p:attrName>
                                          <p:attrName>ppt_y</p:attrName>
                                        </p:attrNameLst>
                                      </p:cBhvr>
                                      <p:rCtr x="0" y="12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Lst>
  </p:timing>
</p:sld>
</file>

<file path=ppt/slides/slide10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1934" y="1547995"/>
            <a:ext cx="7327675" cy="5008790"/>
          </a:xfrm>
          <a:prstGeom prst="rect">
            <a:avLst/>
          </a:prstGeom>
        </p:spPr>
      </p:pic>
      <p:sp>
        <p:nvSpPr>
          <p:cNvPr id="2" name="Title 1"/>
          <p:cNvSpPr>
            <a:spLocks noGrp="1"/>
          </p:cNvSpPr>
          <p:nvPr>
            <p:ph type="title"/>
          </p:nvPr>
        </p:nvSpPr>
        <p:spPr/>
        <p:txBody>
          <a:bodyPr/>
          <a:lstStyle/>
          <a:p>
            <a:r>
              <a:rPr lang="en-US" dirty="0"/>
              <a:t>Azure Logic Apps</a:t>
            </a:r>
          </a:p>
        </p:txBody>
      </p:sp>
    </p:spTree>
    <p:extLst>
      <p:ext uri="{BB962C8B-B14F-4D97-AF65-F5344CB8AC3E}">
        <p14:creationId xmlns:p14="http://schemas.microsoft.com/office/powerpoint/2010/main" val="282236858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2235148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10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izing the options</a:t>
            </a:r>
          </a:p>
        </p:txBody>
      </p:sp>
      <p:graphicFrame>
        <p:nvGraphicFramePr>
          <p:cNvPr id="4" name="Table 3"/>
          <p:cNvGraphicFramePr>
            <a:graphicFrameLocks noGrp="1"/>
          </p:cNvGraphicFramePr>
          <p:nvPr>
            <p:extLst>
              <p:ext uri="{D42A27DB-BD31-4B8C-83A1-F6EECF244321}">
                <p14:modId xmlns:p14="http://schemas.microsoft.com/office/powerpoint/2010/main" val="142917493"/>
              </p:ext>
            </p:extLst>
          </p:nvPr>
        </p:nvGraphicFramePr>
        <p:xfrm>
          <a:off x="343940" y="1561183"/>
          <a:ext cx="11158251" cy="3550104"/>
        </p:xfrm>
        <a:graphic>
          <a:graphicData uri="http://schemas.openxmlformats.org/drawingml/2006/table">
            <a:tbl>
              <a:tblPr firstRow="1">
                <a:tableStyleId>{00A15C55-8517-42AA-B614-E9B94910E393}</a:tableStyleId>
              </a:tblPr>
              <a:tblGrid>
                <a:gridCol w="3171922">
                  <a:extLst>
                    <a:ext uri="{9D8B030D-6E8A-4147-A177-3AD203B41FA5}">
                      <a16:colId xmlns:a16="http://schemas.microsoft.com/office/drawing/2014/main" val="20000"/>
                    </a:ext>
                  </a:extLst>
                </a:gridCol>
                <a:gridCol w="7986329">
                  <a:extLst>
                    <a:ext uri="{9D8B030D-6E8A-4147-A177-3AD203B41FA5}">
                      <a16:colId xmlns:a16="http://schemas.microsoft.com/office/drawing/2014/main" val="20001"/>
                    </a:ext>
                  </a:extLst>
                </a:gridCol>
              </a:tblGrid>
              <a:tr h="363976">
                <a:tc>
                  <a:txBody>
                    <a:bodyPr/>
                    <a:lstStyle/>
                    <a:p>
                      <a:r>
                        <a:rPr lang="en-US" sz="1800" dirty="0"/>
                        <a:t>Service</a:t>
                      </a:r>
                    </a:p>
                  </a:txBody>
                  <a:tcPr marL="89642" marR="89642" marT="44828" marB="44828"/>
                </a:tc>
                <a:tc>
                  <a:txBody>
                    <a:bodyPr/>
                    <a:lstStyle/>
                    <a:p>
                      <a:r>
                        <a:rPr lang="en-US" sz="1800" dirty="0"/>
                        <a:t>Best used for</a:t>
                      </a:r>
                      <a:r>
                        <a:rPr lang="is-IS" sz="1800" dirty="0"/>
                        <a:t>…</a:t>
                      </a:r>
                      <a:endParaRPr lang="en-US" sz="1800" dirty="0"/>
                    </a:p>
                  </a:txBody>
                  <a:tcPr marL="89642" marR="89642" marT="44828" marB="44828"/>
                </a:tc>
                <a:extLst>
                  <a:ext uri="{0D108BD9-81ED-4DB2-BD59-A6C34878D82A}">
                    <a16:rowId xmlns:a16="http://schemas.microsoft.com/office/drawing/2014/main" val="10000"/>
                  </a:ext>
                </a:extLst>
              </a:tr>
              <a:tr h="363976">
                <a:tc>
                  <a:txBody>
                    <a:bodyPr/>
                    <a:lstStyle/>
                    <a:p>
                      <a:r>
                        <a:rPr lang="en-US" sz="1800" dirty="0"/>
                        <a:t>VMs</a:t>
                      </a:r>
                      <a:endParaRPr lang="en-US" sz="1800" dirty="0">
                        <a:latin typeface="+mj-lt"/>
                      </a:endParaRPr>
                    </a:p>
                  </a:txBody>
                  <a:tcPr marL="89642" marR="89642" marT="44828" marB="44828"/>
                </a:tc>
                <a:tc>
                  <a:txBody>
                    <a:bodyPr/>
                    <a:lstStyle/>
                    <a:p>
                      <a:r>
                        <a:rPr lang="en-US" sz="1800" dirty="0"/>
                        <a:t>Lift-and-shift</a:t>
                      </a:r>
                      <a:r>
                        <a:rPr lang="en-US" sz="1800" baseline="0" dirty="0"/>
                        <a:t> for a set of “pets”</a:t>
                      </a:r>
                      <a:endParaRPr lang="en-US" sz="1800" dirty="0">
                        <a:latin typeface="+mj-lt"/>
                      </a:endParaRPr>
                    </a:p>
                  </a:txBody>
                  <a:tcPr marL="89642" marR="89642" marT="44828" marB="44828"/>
                </a:tc>
                <a:extLst>
                  <a:ext uri="{0D108BD9-81ED-4DB2-BD59-A6C34878D82A}">
                    <a16:rowId xmlns:a16="http://schemas.microsoft.com/office/drawing/2014/main" val="10001"/>
                  </a:ext>
                </a:extLst>
              </a:tr>
              <a:tr h="363976">
                <a:tc>
                  <a:txBody>
                    <a:bodyPr/>
                    <a:lstStyle/>
                    <a:p>
                      <a:r>
                        <a:rPr lang="en-US" sz="1800" dirty="0"/>
                        <a:t>VM Scale Sets</a:t>
                      </a:r>
                      <a:endParaRPr lang="en-US" sz="1800" dirty="0">
                        <a:latin typeface="+mj-lt"/>
                      </a:endParaRPr>
                    </a:p>
                  </a:txBody>
                  <a:tcPr marL="89642" marR="89642" marT="44828" marB="44828"/>
                </a:tc>
                <a:tc>
                  <a:txBody>
                    <a:bodyPr/>
                    <a:lstStyle/>
                    <a:p>
                      <a:r>
                        <a:rPr lang="en-US" sz="1800" dirty="0"/>
                        <a:t>Scaling</a:t>
                      </a:r>
                      <a:r>
                        <a:rPr lang="en-US" sz="1800" baseline="0" dirty="0"/>
                        <a:t> and managing a set of identical VMs</a:t>
                      </a:r>
                      <a:endParaRPr lang="en-US" sz="1800" dirty="0">
                        <a:latin typeface="+mj-lt"/>
                      </a:endParaRPr>
                    </a:p>
                  </a:txBody>
                  <a:tcPr marL="89642" marR="89642" marT="44828" marB="44828"/>
                </a:tc>
                <a:extLst>
                  <a:ext uri="{0D108BD9-81ED-4DB2-BD59-A6C34878D82A}">
                    <a16:rowId xmlns:a16="http://schemas.microsoft.com/office/drawing/2014/main" val="10002"/>
                  </a:ext>
                </a:extLst>
              </a:tr>
              <a:tr h="363976">
                <a:tc>
                  <a:txBody>
                    <a:bodyPr/>
                    <a:lstStyle/>
                    <a:p>
                      <a:r>
                        <a:rPr lang="en-US" sz="1800" dirty="0"/>
                        <a:t>Batch</a:t>
                      </a:r>
                      <a:endParaRPr lang="en-US" sz="1800" dirty="0">
                        <a:latin typeface="+mj-lt"/>
                      </a:endParaRPr>
                    </a:p>
                  </a:txBody>
                  <a:tcPr marL="89642" marR="89642" marT="44828" marB="44828"/>
                </a:tc>
                <a:tc>
                  <a:txBody>
                    <a:bodyPr/>
                    <a:lstStyle/>
                    <a:p>
                      <a:r>
                        <a:rPr lang="en-US" sz="1800" dirty="0"/>
                        <a:t>Highly parallelized computation</a:t>
                      </a:r>
                      <a:endParaRPr lang="en-US" sz="1800" dirty="0">
                        <a:latin typeface="+mj-lt"/>
                      </a:endParaRPr>
                    </a:p>
                  </a:txBody>
                  <a:tcPr marL="89642" marR="89642" marT="44828" marB="44828"/>
                </a:tc>
                <a:extLst>
                  <a:ext uri="{0D108BD9-81ED-4DB2-BD59-A6C34878D82A}">
                    <a16:rowId xmlns:a16="http://schemas.microsoft.com/office/drawing/2014/main" val="10003"/>
                  </a:ext>
                </a:extLst>
              </a:tr>
              <a:tr h="363976">
                <a:tc>
                  <a:txBody>
                    <a:bodyPr/>
                    <a:lstStyle/>
                    <a:p>
                      <a:r>
                        <a:rPr lang="en-US" sz="1800" dirty="0"/>
                        <a:t>Container</a:t>
                      </a:r>
                      <a:r>
                        <a:rPr lang="en-US" sz="1800" baseline="0" dirty="0"/>
                        <a:t> Service</a:t>
                      </a:r>
                      <a:endParaRPr lang="en-US" sz="1800" dirty="0">
                        <a:latin typeface="+mj-lt"/>
                      </a:endParaRPr>
                    </a:p>
                  </a:txBody>
                  <a:tcPr marL="89642" marR="89642" marT="44828" marB="44828"/>
                </a:tc>
                <a:tc>
                  <a:txBody>
                    <a:bodyPr/>
                    <a:lstStyle/>
                    <a:p>
                      <a:r>
                        <a:rPr lang="en-US" sz="1800" dirty="0"/>
                        <a:t>Deploying and managing a set of</a:t>
                      </a:r>
                      <a:r>
                        <a:rPr lang="en-US" sz="1800" baseline="0" dirty="0"/>
                        <a:t> arbitrary Linux containers</a:t>
                      </a:r>
                      <a:endParaRPr lang="en-US" sz="1800" dirty="0">
                        <a:latin typeface="+mj-lt"/>
                      </a:endParaRPr>
                    </a:p>
                  </a:txBody>
                  <a:tcPr marL="89642" marR="89642" marT="44828" marB="44828"/>
                </a:tc>
                <a:extLst>
                  <a:ext uri="{0D108BD9-81ED-4DB2-BD59-A6C34878D82A}">
                    <a16:rowId xmlns:a16="http://schemas.microsoft.com/office/drawing/2014/main" val="10004"/>
                  </a:ext>
                </a:extLst>
              </a:tr>
              <a:tr h="363976">
                <a:tc>
                  <a:txBody>
                    <a:bodyPr/>
                    <a:lstStyle/>
                    <a:p>
                      <a:r>
                        <a:rPr lang="en-US" sz="1800" kern="1200" dirty="0">
                          <a:solidFill>
                            <a:schemeClr val="dk1"/>
                          </a:solidFill>
                          <a:latin typeface="+mn-lt"/>
                          <a:ea typeface="+mn-ea"/>
                          <a:cs typeface="+mn-cs"/>
                        </a:rPr>
                        <a:t>Container Instances</a:t>
                      </a:r>
                    </a:p>
                  </a:txBody>
                  <a:tcPr marL="89642" marR="89642" marT="44828" marB="44828"/>
                </a:tc>
                <a:tc>
                  <a:txBody>
                    <a:bodyPr/>
                    <a:lstStyle/>
                    <a:p>
                      <a:r>
                        <a:rPr lang="en-US" sz="1800" kern="1200" dirty="0">
                          <a:solidFill>
                            <a:schemeClr val="dk1"/>
                          </a:solidFill>
                          <a:latin typeface="+mn-lt"/>
                          <a:ea typeface="+mn-ea"/>
                          <a:cs typeface="+mn-cs"/>
                        </a:rPr>
                        <a:t>Running individual containers with low overhead and no VM management</a:t>
                      </a:r>
                    </a:p>
                  </a:txBody>
                  <a:tcPr marL="89642" marR="89642" marT="44828" marB="44828"/>
                </a:tc>
                <a:extLst>
                  <a:ext uri="{0D108BD9-81ED-4DB2-BD59-A6C34878D82A}">
                    <a16:rowId xmlns:a16="http://schemas.microsoft.com/office/drawing/2014/main" val="205737907"/>
                  </a:ext>
                </a:extLst>
              </a:tr>
              <a:tr h="363976">
                <a:tc>
                  <a:txBody>
                    <a:bodyPr/>
                    <a:lstStyle/>
                    <a:p>
                      <a:r>
                        <a:rPr lang="en-US" sz="1800" dirty="0"/>
                        <a:t>Service Fabric</a:t>
                      </a:r>
                      <a:endParaRPr lang="en-US" sz="1800" dirty="0">
                        <a:latin typeface="+mj-lt"/>
                      </a:endParaRPr>
                    </a:p>
                  </a:txBody>
                  <a:tcPr marL="89642" marR="89642" marT="44828" marB="44828"/>
                </a:tc>
                <a:tc>
                  <a:txBody>
                    <a:bodyPr/>
                    <a:lstStyle/>
                    <a:p>
                      <a:r>
                        <a:rPr lang="en-US" sz="1800" dirty="0"/>
                        <a:t>Building</a:t>
                      </a:r>
                      <a:r>
                        <a:rPr lang="en-US" sz="1800" baseline="0" dirty="0"/>
                        <a:t> </a:t>
                      </a:r>
                      <a:r>
                        <a:rPr lang="en-US" sz="1800" baseline="0" dirty="0" err="1"/>
                        <a:t>microservice</a:t>
                      </a:r>
                      <a:r>
                        <a:rPr lang="en-US" sz="1800" baseline="0" dirty="0"/>
                        <a:t>-based applications on Windows using .NET</a:t>
                      </a:r>
                      <a:endParaRPr lang="en-US" sz="1800" dirty="0">
                        <a:latin typeface="+mj-lt"/>
                      </a:endParaRPr>
                    </a:p>
                  </a:txBody>
                  <a:tcPr marL="89642" marR="89642" marT="44828" marB="44828"/>
                </a:tc>
                <a:extLst>
                  <a:ext uri="{0D108BD9-81ED-4DB2-BD59-A6C34878D82A}">
                    <a16:rowId xmlns:a16="http://schemas.microsoft.com/office/drawing/2014/main" val="10005"/>
                  </a:ext>
                </a:extLst>
              </a:tr>
              <a:tr h="638296">
                <a:tc>
                  <a:txBody>
                    <a:bodyPr/>
                    <a:lstStyle/>
                    <a:p>
                      <a:r>
                        <a:rPr lang="en-US" sz="1800" dirty="0"/>
                        <a:t>App Service</a:t>
                      </a:r>
                      <a:endParaRPr lang="en-US" sz="1800" dirty="0">
                        <a:latin typeface="+mj-lt"/>
                      </a:endParaRPr>
                    </a:p>
                  </a:txBody>
                  <a:tcPr marL="89642" marR="89642" marT="44828" marB="44828"/>
                </a:tc>
                <a:tc>
                  <a:txBody>
                    <a:bodyPr/>
                    <a:lstStyle/>
                    <a:p>
                      <a:r>
                        <a:rPr lang="en-US" sz="1800" dirty="0"/>
                        <a:t>Building standard</a:t>
                      </a:r>
                      <a:r>
                        <a:rPr lang="en-US" sz="1800" baseline="0" dirty="0"/>
                        <a:t> web and mobile apps with limited management responsibilities</a:t>
                      </a:r>
                      <a:endParaRPr lang="en-US" sz="1800" dirty="0">
                        <a:latin typeface="+mj-lt"/>
                      </a:endParaRPr>
                    </a:p>
                  </a:txBody>
                  <a:tcPr marL="89642" marR="89642" marT="44828" marB="44828"/>
                </a:tc>
                <a:extLst>
                  <a:ext uri="{0D108BD9-81ED-4DB2-BD59-A6C34878D82A}">
                    <a16:rowId xmlns:a16="http://schemas.microsoft.com/office/drawing/2014/main" val="10006"/>
                  </a:ext>
                </a:extLst>
              </a:tr>
              <a:tr h="363976">
                <a:tc>
                  <a:txBody>
                    <a:bodyPr/>
                    <a:lstStyle/>
                    <a:p>
                      <a:r>
                        <a:rPr lang="en-US" sz="1800" dirty="0"/>
                        <a:t>Functions</a:t>
                      </a:r>
                      <a:endParaRPr lang="en-US" sz="1800" dirty="0">
                        <a:latin typeface="+mj-lt"/>
                      </a:endParaRPr>
                    </a:p>
                  </a:txBody>
                  <a:tcPr marL="89642" marR="89642" marT="44828" marB="44828"/>
                </a:tc>
                <a:tc>
                  <a:txBody>
                    <a:bodyPr/>
                    <a:lstStyle/>
                    <a:p>
                      <a:r>
                        <a:rPr lang="en-US" sz="1800" dirty="0"/>
                        <a:t>Building</a:t>
                      </a:r>
                      <a:r>
                        <a:rPr lang="en-US" sz="1800" baseline="0" dirty="0"/>
                        <a:t> small, event-driven software with granular auto-scale</a:t>
                      </a:r>
                      <a:endParaRPr lang="en-US" sz="1800" dirty="0">
                        <a:latin typeface="+mj-lt"/>
                      </a:endParaRPr>
                    </a:p>
                  </a:txBody>
                  <a:tcPr marL="89642" marR="89642" marT="44828" marB="44828"/>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92633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bg>
      <p:bgPr>
        <a:solidFill>
          <a:schemeClr val="tx2">
            <a:lumMod val="50000"/>
            <a:lumOff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679" y="293520"/>
            <a:ext cx="4075482" cy="5320717"/>
          </a:xfrm>
        </p:spPr>
        <p:txBody>
          <a:bodyPr/>
          <a:lstStyle/>
          <a:p>
            <a:r>
              <a:rPr lang="en-US" dirty="0"/>
              <a:t>Question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34973" y="4377"/>
            <a:ext cx="6849246" cy="6849246"/>
          </a:xfrm>
          <a:prstGeom prst="rect">
            <a:avLst/>
          </a:prstGeom>
        </p:spPr>
      </p:pic>
      <p:sp>
        <p:nvSpPr>
          <p:cNvPr id="3" name="TextBox 2">
            <a:extLst>
              <a:ext uri="{FF2B5EF4-FFF2-40B4-BE49-F238E27FC236}">
                <a16:creationId xmlns:a16="http://schemas.microsoft.com/office/drawing/2014/main" id="{83204DB1-A355-4640-B83A-A3E3C38B746A}"/>
              </a:ext>
            </a:extLst>
          </p:cNvPr>
          <p:cNvSpPr txBox="1"/>
          <p:nvPr/>
        </p:nvSpPr>
        <p:spPr>
          <a:xfrm>
            <a:off x="7782" y="5401602"/>
            <a:ext cx="5327192" cy="941386"/>
          </a:xfrm>
          <a:prstGeom prst="rect">
            <a:avLst/>
          </a:prstGeom>
          <a:noFill/>
        </p:spPr>
        <p:txBody>
          <a:bodyPr wrap="square" lIns="179285" tIns="143428" rIns="179285" bIns="143428" rtlCol="0">
            <a:spAutoFit/>
          </a:bodyPr>
          <a:lstStyle/>
          <a:p>
            <a:pPr defTabSz="913853">
              <a:lnSpc>
                <a:spcPct val="90000"/>
              </a:lnSpc>
              <a:spcAft>
                <a:spcPts val="588"/>
              </a:spcAft>
            </a:pPr>
            <a:r>
              <a:rPr lang="en-US" sz="2353" dirty="0">
                <a:solidFill>
                  <a:srgbClr val="FFFFFF"/>
                </a:solidFill>
                <a:latin typeface="Segoe UI Semilight"/>
              </a:rPr>
              <a:t>Dave Burnison </a:t>
            </a:r>
            <a:br>
              <a:rPr lang="en-US" sz="2353" dirty="0">
                <a:solidFill>
                  <a:srgbClr val="FFFFFF"/>
                </a:solidFill>
                <a:latin typeface="Segoe UI Semilight"/>
              </a:rPr>
            </a:br>
            <a:r>
              <a:rPr lang="en-US" sz="2353" dirty="0">
                <a:solidFill>
                  <a:srgbClr val="353535"/>
                </a:solidFill>
                <a:latin typeface="Segoe UI Semilight"/>
                <a:hlinkClick r:id="rId4"/>
              </a:rPr>
              <a:t>Dave.Burnison@Microsoft.com</a:t>
            </a:r>
            <a:endParaRPr lang="en-US" sz="2353" dirty="0">
              <a:gradFill>
                <a:gsLst>
                  <a:gs pos="2917">
                    <a:srgbClr val="353535"/>
                  </a:gs>
                  <a:gs pos="30000">
                    <a:srgbClr val="353535"/>
                  </a:gs>
                </a:gsLst>
                <a:lin ang="5400000" scaled="0"/>
              </a:gradFill>
              <a:latin typeface="Segoe UI Semilight"/>
            </a:endParaRPr>
          </a:p>
        </p:txBody>
      </p:sp>
    </p:spTree>
    <p:extLst>
      <p:ext uri="{BB962C8B-B14F-4D97-AF65-F5344CB8AC3E}">
        <p14:creationId xmlns:p14="http://schemas.microsoft.com/office/powerpoint/2010/main" val="3778318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bg>
      <p:bgPr>
        <a:solidFill>
          <a:schemeClr val="bg2">
            <a:lumMod val="50000"/>
            <a:lumOff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4298" y="5957147"/>
            <a:ext cx="10746445" cy="605782"/>
          </a:xfrm>
          <a:prstGeom prst="rect">
            <a:avLst/>
          </a:prstGeom>
          <a:noFill/>
          <a:ln w="12700">
            <a:noFill/>
            <a:miter lim="800000"/>
            <a:headEnd type="none" w="sm" len="sm"/>
            <a:tailEnd type="none" w="sm" len="sm"/>
          </a:ln>
          <a:effectLst/>
        </p:spPr>
        <p:txBody>
          <a:bodyPr vert="horz" wrap="square" lIns="179081" tIns="143265" rIns="179081" bIns="143265" numCol="1" anchor="t" anchorCtr="0" compatLnSpc="1">
            <a:prstTxWarp prst="textNoShape">
              <a:avLst/>
            </a:prstTxWarp>
            <a:spAutoFit/>
          </a:bodyPr>
          <a:lstStyle/>
          <a:p>
            <a:pPr defTabSz="912918" eaLnBrk="0" hangingPunct="0">
              <a:defRPr/>
            </a:pPr>
            <a:r>
              <a:rPr lang="en-US" sz="685" kern="0" dirty="0">
                <a:gradFill>
                  <a:gsLst>
                    <a:gs pos="0">
                      <a:srgbClr val="FFFFFF"/>
                    </a:gs>
                    <a:gs pos="100000">
                      <a:srgbClr val="FFFFFF"/>
                    </a:gs>
                  </a:gsLst>
                  <a:lin ang="5400000" scaled="0"/>
                </a:gradFill>
                <a:latin typeface="Segoe UI Semilight"/>
                <a:cs typeface="Segoe UI" pitchFamily="34" charset="0"/>
              </a:rPr>
              <a:t>© 2018 Microsoft Corporation. All rights reserved. Microsoft, Windows, Windows Vista and other product names are or may be registered trademarks and/or trademarks in the U.S. and/or other countries.</a:t>
            </a:r>
          </a:p>
          <a:p>
            <a:pPr defTabSz="912918" eaLnBrk="0" hangingPunct="0">
              <a:defRPr/>
            </a:pPr>
            <a:r>
              <a:rPr lang="en-US" sz="685" kern="0" dirty="0">
                <a:gradFill>
                  <a:gsLst>
                    <a:gs pos="0">
                      <a:srgbClr val="FFFFFF"/>
                    </a:gs>
                    <a:gs pos="100000">
                      <a:srgbClr val="FFFFFF"/>
                    </a:gs>
                  </a:gsLst>
                  <a:lin ang="5400000" scaled="0"/>
                </a:gradFill>
                <a:latin typeface="Segoe UI Semilight"/>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10752068" y="473845"/>
            <a:ext cx="984949" cy="191026"/>
          </a:xfrm>
          <a:prstGeom prst="rect">
            <a:avLst/>
          </a:prstGeom>
        </p:spPr>
      </p:pic>
      <p:pic>
        <p:nvPicPr>
          <p:cNvPr id="6" name="Picture 5" descr="VS_Wht_rgb.wmf"/>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994" y="3160381"/>
            <a:ext cx="2686566" cy="474100"/>
          </a:xfrm>
          <a:prstGeom prst="rect">
            <a:avLst/>
          </a:prstGeom>
        </p:spPr>
      </p:pic>
    </p:spTree>
    <p:extLst>
      <p:ext uri="{BB962C8B-B14F-4D97-AF65-F5344CB8AC3E}">
        <p14:creationId xmlns:p14="http://schemas.microsoft.com/office/powerpoint/2010/main" val="391538893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ppendix</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6098435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70164" y="-86937"/>
            <a:ext cx="10515600" cy="1325563"/>
          </a:xfrm>
        </p:spPr>
        <p:txBody>
          <a:bodyPr/>
          <a:lstStyle/>
          <a:p>
            <a:r>
              <a:rPr lang="en-US" dirty="0"/>
              <a:t>Design Compute Infrastructure (20-25%)</a:t>
            </a:r>
          </a:p>
        </p:txBody>
      </p:sp>
      <p:sp>
        <p:nvSpPr>
          <p:cNvPr id="3" name="Content Placeholder 2"/>
          <p:cNvSpPr>
            <a:spLocks noGrp="1"/>
          </p:cNvSpPr>
          <p:nvPr>
            <p:ph idx="1"/>
          </p:nvPr>
        </p:nvSpPr>
        <p:spPr>
          <a:xfrm>
            <a:off x="270164" y="1032306"/>
            <a:ext cx="11710554" cy="5825693"/>
          </a:xfrm>
        </p:spPr>
        <p:txBody>
          <a:bodyPr>
            <a:normAutofit fontScale="47500" lnSpcReduction="20000"/>
          </a:bodyPr>
          <a:lstStyle/>
          <a:p>
            <a:pPr marL="0" indent="0" fontAlgn="base">
              <a:buNone/>
            </a:pPr>
            <a:r>
              <a:rPr lang="en-US" sz="5100" dirty="0"/>
              <a:t>From </a:t>
            </a:r>
            <a:r>
              <a:rPr lang="en-US" sz="5100" dirty="0">
                <a:hlinkClick r:id="rId3"/>
              </a:rPr>
              <a:t>https://www.microsoft.com/en-us/learning/exam-70-535.aspx</a:t>
            </a:r>
            <a:endParaRPr lang="en-US" sz="5100" dirty="0"/>
          </a:p>
          <a:p>
            <a:pPr marL="0" indent="0" fontAlgn="base">
              <a:buNone/>
            </a:pPr>
            <a:endParaRPr lang="en-US" sz="5100" dirty="0"/>
          </a:p>
          <a:p>
            <a:pPr fontAlgn="base"/>
            <a:r>
              <a:rPr lang="en-US" sz="4400" dirty="0"/>
              <a:t>Design solutions using virtual machines </a:t>
            </a:r>
          </a:p>
          <a:p>
            <a:pPr lvl="1" fontAlgn="base"/>
            <a:r>
              <a:rPr lang="en-US" sz="3300" dirty="0"/>
              <a:t>Design VM deployments by leveraging availability sets, fault domains, and update domains in Azure; use web app for containers; design VM Scale Sets; design for compute-intensive tasks using Azure Batch; define a migration strategy from cloud services; recommend use of Azure Backup and Azure Site Recovery</a:t>
            </a:r>
          </a:p>
          <a:p>
            <a:pPr fontAlgn="base"/>
            <a:r>
              <a:rPr lang="en-US" sz="4400" dirty="0"/>
              <a:t>Design solutions for serverless computing </a:t>
            </a:r>
          </a:p>
          <a:p>
            <a:pPr lvl="1" fontAlgn="base"/>
            <a:r>
              <a:rPr lang="en-US" sz="3300" dirty="0"/>
              <a:t>Use Azure Functions to implement event-driven actions; design for serverless computing using Azure Container Instances; design application solutions by using Azure Logic Apps, Azure Functions, or both; determine when to use API management service</a:t>
            </a:r>
          </a:p>
          <a:p>
            <a:pPr fontAlgn="base"/>
            <a:r>
              <a:rPr lang="en-US" sz="4400" dirty="0"/>
              <a:t>Design microservices-based solutions   </a:t>
            </a:r>
          </a:p>
          <a:p>
            <a:pPr lvl="1" fontAlgn="base"/>
            <a:r>
              <a:rPr lang="en-US" sz="3300" dirty="0"/>
              <a:t>Determine when a container-based solution is appropriate; determine when container-orchestration is appropriate; determine when Azure Service Fabric (ASF) is appropriate; determine when Azure Functions is appropriate; determine when to use API management service; determine when Web API is appropriate; determine which platform is appropriate for container orchestration; consider migrating existing assets versus cloud native deployment; design lifecycle management strategies</a:t>
            </a:r>
          </a:p>
          <a:p>
            <a:pPr fontAlgn="base"/>
            <a:r>
              <a:rPr lang="en-US" sz="4400" dirty="0"/>
              <a:t>Design web applications </a:t>
            </a:r>
          </a:p>
          <a:p>
            <a:pPr lvl="1" fontAlgn="base"/>
            <a:r>
              <a:rPr lang="en-US" sz="3300" dirty="0"/>
              <a:t>Design Azure App Service Web Apps; design custom web API; secure Web API; design Web Apps for scalability and performance; design for high availability using Azure Web Apps in multiple regions; determine which App service plan to use; design Web Apps for business continuity; determine when to use Azure App Service Environment (ASE); design for API apps; determine when to use API management service; determine when to use Web Apps on Linux; determine when to use a CDN; determine when to use a cache, including Azure </a:t>
            </a:r>
            <a:r>
              <a:rPr lang="en-US" sz="3300" dirty="0" err="1"/>
              <a:t>Redis</a:t>
            </a:r>
            <a:r>
              <a:rPr lang="en-US" sz="3300" dirty="0"/>
              <a:t> cache</a:t>
            </a:r>
          </a:p>
          <a:p>
            <a:pPr fontAlgn="base"/>
            <a:r>
              <a:rPr lang="en-US" sz="4400" dirty="0"/>
              <a:t>Create compute-intensive application </a:t>
            </a:r>
          </a:p>
          <a:p>
            <a:pPr lvl="1" fontAlgn="base"/>
            <a:r>
              <a:rPr lang="en-US" sz="3300" dirty="0"/>
              <a:t>Design high-performance computing (HPC) and other compute-intensive applications using Azure Services; determine when to use Azure Batch; design stateless components to accommodate scale; design lifecycle strategy for Azure Batch</a:t>
            </a:r>
          </a:p>
          <a:p>
            <a:pPr lvl="1" fontAlgn="base"/>
            <a:endParaRPr lang="en-US" sz="2500" dirty="0"/>
          </a:p>
          <a:p>
            <a:pPr marL="0" indent="0" fontAlgn="base">
              <a:buNone/>
            </a:pPr>
            <a:endParaRPr lang="en-US" dirty="0"/>
          </a:p>
        </p:txBody>
      </p:sp>
    </p:spTree>
    <p:extLst>
      <p:ext uri="{BB962C8B-B14F-4D97-AF65-F5344CB8AC3E}">
        <p14:creationId xmlns:p14="http://schemas.microsoft.com/office/powerpoint/2010/main" val="2015788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animEffect transition="in" filter="fade">
                                      <p:cBhvr>
                                        <p:cTn id="11" dur="1000"/>
                                        <p:tgtEl>
                                          <p:spTgt spid="3">
                                            <p:txEl>
                                              <p:pRg st="2" end="2"/>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animEffect transition="in" filter="fade">
                                      <p:cBhvr>
                                        <p:cTn id="15" dur="500"/>
                                        <p:tgtEl>
                                          <p:spTgt spid="3">
                                            <p:txEl>
                                              <p:pRg st="3" end="3"/>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
                                            <p:txEl>
                                              <p:pRg st="4" end="4"/>
                                            </p:txEl>
                                          </p:spTgt>
                                        </p:tgtEl>
                                        <p:attrNameLst>
                                          <p:attrName>style.visibility</p:attrName>
                                        </p:attrNameLst>
                                      </p:cBhvr>
                                      <p:to>
                                        <p:strVal val="visible"/>
                                      </p:to>
                                    </p:set>
                                    <p:animEffect transition="in" filter="fade">
                                      <p:cBhvr>
                                        <p:cTn id="20" dur="500"/>
                                        <p:tgtEl>
                                          <p:spTgt spid="3">
                                            <p:txEl>
                                              <p:pRg st="4" end="4"/>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animEffect transition="in" filter="fade">
                                      <p:cBhvr>
                                        <p:cTn id="23" dur="500"/>
                                        <p:tgtEl>
                                          <p:spTgt spid="3">
                                            <p:txEl>
                                              <p:pRg st="5" end="5"/>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
                                            <p:txEl>
                                              <p:pRg st="6" end="6"/>
                                            </p:txEl>
                                          </p:spTgt>
                                        </p:tgtEl>
                                        <p:attrNameLst>
                                          <p:attrName>style.visibility</p:attrName>
                                        </p:attrNameLst>
                                      </p:cBhvr>
                                      <p:to>
                                        <p:strVal val="visible"/>
                                      </p:to>
                                    </p:set>
                                    <p:animEffect transition="in" filter="fade">
                                      <p:cBhvr>
                                        <p:cTn id="28" dur="500"/>
                                        <p:tgtEl>
                                          <p:spTgt spid="3">
                                            <p:txEl>
                                              <p:pRg st="6" end="6"/>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animEffect transition="in" filter="fade">
                                      <p:cBhvr>
                                        <p:cTn id="31" dur="500"/>
                                        <p:tgtEl>
                                          <p:spTgt spid="3">
                                            <p:txEl>
                                              <p:pRg st="7" end="7"/>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3">
                                            <p:txEl>
                                              <p:pRg st="8" end="8"/>
                                            </p:txEl>
                                          </p:spTgt>
                                        </p:tgtEl>
                                        <p:attrNameLst>
                                          <p:attrName>style.visibility</p:attrName>
                                        </p:attrNameLst>
                                      </p:cBhvr>
                                      <p:to>
                                        <p:strVal val="visible"/>
                                      </p:to>
                                    </p:set>
                                    <p:animEffect transition="in" filter="fade">
                                      <p:cBhvr>
                                        <p:cTn id="36" dur="500"/>
                                        <p:tgtEl>
                                          <p:spTgt spid="3">
                                            <p:txEl>
                                              <p:pRg st="8" end="8"/>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
                                            <p:txEl>
                                              <p:pRg st="9" end="9"/>
                                            </p:txEl>
                                          </p:spTgt>
                                        </p:tgtEl>
                                        <p:attrNameLst>
                                          <p:attrName>style.visibility</p:attrName>
                                        </p:attrNameLst>
                                      </p:cBhvr>
                                      <p:to>
                                        <p:strVal val="visible"/>
                                      </p:to>
                                    </p:set>
                                    <p:animEffect transition="in" filter="fade">
                                      <p:cBhvr>
                                        <p:cTn id="39" dur="500"/>
                                        <p:tgtEl>
                                          <p:spTgt spid="3">
                                            <p:txEl>
                                              <p:pRg st="9" end="9"/>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3">
                                            <p:txEl>
                                              <p:pRg st="10" end="10"/>
                                            </p:txEl>
                                          </p:spTgt>
                                        </p:tgtEl>
                                        <p:attrNameLst>
                                          <p:attrName>style.visibility</p:attrName>
                                        </p:attrNameLst>
                                      </p:cBhvr>
                                      <p:to>
                                        <p:strVal val="visible"/>
                                      </p:to>
                                    </p:set>
                                    <p:animEffect transition="in" filter="fade">
                                      <p:cBhvr>
                                        <p:cTn id="44" dur="500"/>
                                        <p:tgtEl>
                                          <p:spTgt spid="3">
                                            <p:txEl>
                                              <p:pRg st="10" end="10"/>
                                            </p:tx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
                                            <p:txEl>
                                              <p:pRg st="11" end="11"/>
                                            </p:txEl>
                                          </p:spTgt>
                                        </p:tgtEl>
                                        <p:attrNameLst>
                                          <p:attrName>style.visibility</p:attrName>
                                        </p:attrNameLst>
                                      </p:cBhvr>
                                      <p:to>
                                        <p:strVal val="visible"/>
                                      </p:to>
                                    </p:set>
                                    <p:animEffect transition="in" filter="fade">
                                      <p:cBhvr>
                                        <p:cTn id="47"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1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s – Supported Operating Systems</a:t>
            </a:r>
          </a:p>
        </p:txBody>
      </p:sp>
      <p:sp>
        <p:nvSpPr>
          <p:cNvPr id="3" name="Content Placeholder 2"/>
          <p:cNvSpPr>
            <a:spLocks noGrp="1"/>
          </p:cNvSpPr>
          <p:nvPr>
            <p:ph idx="1"/>
          </p:nvPr>
        </p:nvSpPr>
        <p:spPr/>
        <p:txBody>
          <a:bodyPr>
            <a:normAutofit fontScale="92500" lnSpcReduction="10000"/>
          </a:bodyPr>
          <a:lstStyle/>
          <a:p>
            <a:r>
              <a:rPr lang="en-US" dirty="0"/>
              <a:t>Linux</a:t>
            </a:r>
          </a:p>
          <a:p>
            <a:pPr lvl="1"/>
            <a:r>
              <a:rPr lang="en-US" dirty="0"/>
              <a:t>CentOS</a:t>
            </a:r>
          </a:p>
          <a:p>
            <a:pPr lvl="1"/>
            <a:r>
              <a:rPr lang="en-US" dirty="0"/>
              <a:t>CoreOS</a:t>
            </a:r>
          </a:p>
          <a:p>
            <a:pPr lvl="1"/>
            <a:r>
              <a:rPr lang="en-US" dirty="0"/>
              <a:t>Debian</a:t>
            </a:r>
          </a:p>
          <a:p>
            <a:pPr lvl="1"/>
            <a:r>
              <a:rPr lang="en-US" dirty="0"/>
              <a:t>Oracle</a:t>
            </a:r>
          </a:p>
          <a:p>
            <a:pPr lvl="1"/>
            <a:r>
              <a:rPr lang="en-US" dirty="0"/>
              <a:t>Red Hat</a:t>
            </a:r>
          </a:p>
          <a:p>
            <a:pPr lvl="1"/>
            <a:r>
              <a:rPr lang="en-US" dirty="0"/>
              <a:t>SUSE</a:t>
            </a:r>
          </a:p>
          <a:p>
            <a:pPr lvl="1"/>
            <a:r>
              <a:rPr lang="en-US" dirty="0" err="1"/>
              <a:t>openSUSE</a:t>
            </a:r>
            <a:endParaRPr lang="en-US" dirty="0"/>
          </a:p>
          <a:p>
            <a:pPr lvl="1"/>
            <a:r>
              <a:rPr lang="en-US" dirty="0"/>
              <a:t>Ubuntu</a:t>
            </a:r>
          </a:p>
          <a:p>
            <a:r>
              <a:rPr lang="en-US" dirty="0"/>
              <a:t>Windows Server</a:t>
            </a:r>
          </a:p>
          <a:p>
            <a:pPr lvl="1"/>
            <a:r>
              <a:rPr lang="en-US" dirty="0"/>
              <a:t>Windows 2003* </a:t>
            </a:r>
            <a:br>
              <a:rPr lang="en-US" dirty="0"/>
            </a:br>
            <a:r>
              <a:rPr lang="en-US" sz="1200" dirty="0">
                <a:hlinkClick r:id="rId3"/>
              </a:rPr>
              <a:t>https://support.microsoft.com/en-us/help/3206074</a:t>
            </a:r>
            <a:endParaRPr lang="en-US" dirty="0"/>
          </a:p>
          <a:p>
            <a:pPr lvl="1"/>
            <a:r>
              <a:rPr lang="en-US" b="1" dirty="0">
                <a:solidFill>
                  <a:schemeClr val="tx1">
                    <a:lumMod val="95000"/>
                    <a:lumOff val="5000"/>
                  </a:schemeClr>
                </a:solidFill>
              </a:rPr>
              <a:t>Windows 2008R2+</a:t>
            </a:r>
          </a:p>
          <a:p>
            <a:pPr lvl="1"/>
            <a:endParaRPr lang="en-US" dirty="0"/>
          </a:p>
          <a:p>
            <a:endParaRPr lang="en-US" dirty="0"/>
          </a:p>
          <a:p>
            <a:endParaRPr lang="en-US" dirty="0"/>
          </a:p>
          <a:p>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050433766"/>
              </p:ext>
            </p:extLst>
          </p:nvPr>
        </p:nvGraphicFramePr>
        <p:xfrm>
          <a:off x="4780206" y="2166621"/>
          <a:ext cx="7129788" cy="4577875"/>
        </p:xfrm>
        <a:graphic>
          <a:graphicData uri="http://schemas.openxmlformats.org/drawingml/2006/table">
            <a:tbl>
              <a:tblPr/>
              <a:tblGrid>
                <a:gridCol w="1297923">
                  <a:extLst>
                    <a:ext uri="{9D8B030D-6E8A-4147-A177-3AD203B41FA5}">
                      <a16:colId xmlns:a16="http://schemas.microsoft.com/office/drawing/2014/main" val="3354980451"/>
                    </a:ext>
                  </a:extLst>
                </a:gridCol>
                <a:gridCol w="1646688">
                  <a:extLst>
                    <a:ext uri="{9D8B030D-6E8A-4147-A177-3AD203B41FA5}">
                      <a16:colId xmlns:a16="http://schemas.microsoft.com/office/drawing/2014/main" val="22402737"/>
                    </a:ext>
                  </a:extLst>
                </a:gridCol>
                <a:gridCol w="1319200">
                  <a:extLst>
                    <a:ext uri="{9D8B030D-6E8A-4147-A177-3AD203B41FA5}">
                      <a16:colId xmlns:a16="http://schemas.microsoft.com/office/drawing/2014/main" val="1334607271"/>
                    </a:ext>
                  </a:extLst>
                </a:gridCol>
                <a:gridCol w="2865977">
                  <a:extLst>
                    <a:ext uri="{9D8B030D-6E8A-4147-A177-3AD203B41FA5}">
                      <a16:colId xmlns:a16="http://schemas.microsoft.com/office/drawing/2014/main" val="1855409476"/>
                    </a:ext>
                  </a:extLst>
                </a:gridCol>
              </a:tblGrid>
              <a:tr h="241236">
                <a:tc>
                  <a:txBody>
                    <a:bodyPr/>
                    <a:lstStyle/>
                    <a:p>
                      <a:pPr marL="0" marR="0" fontAlgn="t">
                        <a:spcBef>
                          <a:spcPts val="0"/>
                        </a:spcBef>
                        <a:spcAft>
                          <a:spcPts val="0"/>
                        </a:spcAft>
                      </a:pPr>
                      <a:r>
                        <a:rPr lang="en-US" sz="1100">
                          <a:solidFill>
                            <a:srgbClr val="D5D5D5"/>
                          </a:solidFill>
                          <a:effectLst/>
                          <a:latin typeface="segoe-ui_semibold"/>
                        </a:rPr>
                        <a:t>Distributio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semibold"/>
                        </a:rPr>
                        <a:t>Versio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semibold"/>
                        </a:rPr>
                        <a:t>Drivers</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semibold"/>
                        </a:rPr>
                        <a:t>Agent</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476834924"/>
                  </a:ext>
                </a:extLst>
              </a:tr>
              <a:tr h="796640">
                <a:tc>
                  <a:txBody>
                    <a:bodyPr/>
                    <a:lstStyle/>
                    <a:p>
                      <a:pPr marL="0" marR="0" fontAlgn="t">
                        <a:spcBef>
                          <a:spcPts val="0"/>
                        </a:spcBef>
                        <a:spcAft>
                          <a:spcPts val="0"/>
                        </a:spcAft>
                      </a:pPr>
                      <a:r>
                        <a:rPr lang="en-US" sz="1100" dirty="0">
                          <a:solidFill>
                            <a:srgbClr val="D5D5D5"/>
                          </a:solidFill>
                          <a:effectLst/>
                          <a:latin typeface="segoe-ui_normal"/>
                        </a:rPr>
                        <a:t>CentOS</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CentOS 6.3+, 7.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CentOS 6.3: </a:t>
                      </a:r>
                      <a:r>
                        <a:rPr lang="en-US" sz="1100">
                          <a:effectLst/>
                          <a:latin typeface="segoe-ui_normal"/>
                          <a:hlinkClick r:id="rId4"/>
                        </a:rPr>
                        <a:t>LIS download</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CentOS 6.4+: 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a:t>
                      </a:r>
                      <a:r>
                        <a:rPr lang="en-US" sz="1100">
                          <a:effectLst/>
                          <a:latin typeface="segoe-ui_normal"/>
                          <a:hlinkClick r:id="rId5"/>
                        </a:rPr>
                        <a:t>repo</a:t>
                      </a:r>
                      <a:r>
                        <a:rPr lang="en-US" sz="1100">
                          <a:solidFill>
                            <a:srgbClr val="D5D5D5"/>
                          </a:solidFill>
                          <a:effectLst/>
                          <a:latin typeface="segoe-ui_normal"/>
                        </a:rPr>
                        <a:t> under "WALinuxAgent" </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6"/>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690905278"/>
                  </a:ext>
                </a:extLst>
              </a:tr>
              <a:tr h="241236">
                <a:tc>
                  <a:txBody>
                    <a:bodyPr/>
                    <a:lstStyle/>
                    <a:p>
                      <a:pPr marL="0" marR="0" fontAlgn="t">
                        <a:spcBef>
                          <a:spcPts val="0"/>
                        </a:spcBef>
                        <a:spcAft>
                          <a:spcPts val="0"/>
                        </a:spcAft>
                      </a:pPr>
                      <a:r>
                        <a:rPr lang="en-US" sz="1100">
                          <a:effectLst/>
                          <a:latin typeface="segoe-ui_normal"/>
                          <a:hlinkClick r:id="rId7"/>
                        </a:rPr>
                        <a:t>CoreOS</a:t>
                      </a:r>
                      <a:endParaRPr lang="en-US" sz="1100">
                        <a:effectLst/>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494.4.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8"/>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256988583"/>
                  </a:ext>
                </a:extLst>
              </a:tr>
              <a:tr h="426371">
                <a:tc>
                  <a:txBody>
                    <a:bodyPr/>
                    <a:lstStyle/>
                    <a:p>
                      <a:pPr marL="0" marR="0" fontAlgn="t">
                        <a:spcBef>
                          <a:spcPts val="0"/>
                        </a:spcBef>
                        <a:spcAft>
                          <a:spcPts val="0"/>
                        </a:spcAft>
                      </a:pPr>
                      <a:r>
                        <a:rPr lang="en-US" sz="1100">
                          <a:solidFill>
                            <a:srgbClr val="D5D5D5"/>
                          </a:solidFill>
                          <a:effectLst/>
                          <a:latin typeface="segoe-ui_normal"/>
                        </a:rPr>
                        <a:t>Debia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Debian 7.9+, 8.2+</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Package: In repo under "</a:t>
                      </a:r>
                      <a:r>
                        <a:rPr lang="en-US" sz="1100" dirty="0" err="1">
                          <a:solidFill>
                            <a:srgbClr val="D5D5D5"/>
                          </a:solidFill>
                          <a:effectLst/>
                          <a:latin typeface="segoe-ui_normal"/>
                        </a:rPr>
                        <a:t>waagent</a:t>
                      </a:r>
                      <a:r>
                        <a:rPr lang="en-US" sz="1100" dirty="0">
                          <a:solidFill>
                            <a:srgbClr val="D5D5D5"/>
                          </a:solidFill>
                          <a:effectLst/>
                          <a:latin typeface="segoe-ui_normal"/>
                        </a:rPr>
                        <a:t>" </a:t>
                      </a:r>
                    </a:p>
                    <a:p>
                      <a:pPr marL="0" marR="0" fontAlgn="t">
                        <a:spcBef>
                          <a:spcPts val="0"/>
                        </a:spcBef>
                        <a:spcAft>
                          <a:spcPts val="0"/>
                        </a:spcAft>
                      </a:pPr>
                      <a:r>
                        <a:rPr lang="en-US" sz="1100" dirty="0">
                          <a:solidFill>
                            <a:srgbClr val="D5D5D5"/>
                          </a:solidFill>
                          <a:effectLst/>
                          <a:latin typeface="segoe-ui_normal"/>
                        </a:rPr>
                        <a:t>Source code: </a:t>
                      </a:r>
                      <a:r>
                        <a:rPr lang="en-US" sz="1100" dirty="0">
                          <a:effectLst/>
                          <a:latin typeface="segoe-ui_normal"/>
                          <a:hlinkClick r:id="rId6"/>
                        </a:rPr>
                        <a:t>GitHub</a:t>
                      </a:r>
                      <a:endParaRPr lang="en-US" sz="1100" dirty="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949175396"/>
                  </a:ext>
                </a:extLst>
              </a:tr>
              <a:tr h="426371">
                <a:tc>
                  <a:txBody>
                    <a:bodyPr/>
                    <a:lstStyle/>
                    <a:p>
                      <a:pPr marL="0" marR="0" fontAlgn="t">
                        <a:spcBef>
                          <a:spcPts val="0"/>
                        </a:spcBef>
                        <a:spcAft>
                          <a:spcPts val="0"/>
                        </a:spcAft>
                      </a:pPr>
                      <a:r>
                        <a:rPr lang="en-US" sz="1100">
                          <a:solidFill>
                            <a:srgbClr val="D5D5D5"/>
                          </a:solidFill>
                          <a:effectLst/>
                          <a:latin typeface="segoe-ui_normal"/>
                        </a:rPr>
                        <a:t>Oracle Linux</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6.4+, 7.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repo under "WALinuxAgent" </a:t>
                      </a: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9"/>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721527871"/>
                  </a:ext>
                </a:extLst>
              </a:tr>
              <a:tr h="426371">
                <a:tc>
                  <a:txBody>
                    <a:bodyPr/>
                    <a:lstStyle/>
                    <a:p>
                      <a:pPr marL="0" marR="0" fontAlgn="t">
                        <a:spcBef>
                          <a:spcPts val="0"/>
                        </a:spcBef>
                        <a:spcAft>
                          <a:spcPts val="0"/>
                        </a:spcAft>
                      </a:pPr>
                      <a:r>
                        <a:rPr lang="en-US" sz="1100">
                          <a:solidFill>
                            <a:srgbClr val="D5D5D5"/>
                          </a:solidFill>
                          <a:effectLst/>
                          <a:latin typeface="segoe-ui_normal"/>
                        </a:rPr>
                        <a:t>Red Hat Enterprise Linux</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RHEL 6.7+, 7.1+</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repo under "WALinuxAgent" </a:t>
                      </a: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6"/>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253716526"/>
                  </a:ext>
                </a:extLst>
              </a:tr>
              <a:tr h="981774">
                <a:tc>
                  <a:txBody>
                    <a:bodyPr/>
                    <a:lstStyle/>
                    <a:p>
                      <a:pPr marL="0" marR="0" fontAlgn="t">
                        <a:spcBef>
                          <a:spcPts val="0"/>
                        </a:spcBef>
                        <a:spcAft>
                          <a:spcPts val="0"/>
                        </a:spcAft>
                      </a:pPr>
                      <a:r>
                        <a:rPr lang="en-US" sz="1100">
                          <a:solidFill>
                            <a:srgbClr val="D5D5D5"/>
                          </a:solidFill>
                          <a:effectLst/>
                          <a:latin typeface="segoe-ui_normal"/>
                        </a:rPr>
                        <a:t>SUSE Linux Enterprise</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SLES/SLES for SAP</a:t>
                      </a:r>
                    </a:p>
                    <a:p>
                      <a:pPr marL="0" marR="0" fontAlgn="t">
                        <a:spcBef>
                          <a:spcPts val="0"/>
                        </a:spcBef>
                        <a:spcAft>
                          <a:spcPts val="0"/>
                        </a:spcAft>
                      </a:pPr>
                      <a:r>
                        <a:rPr lang="en-US" sz="1100">
                          <a:solidFill>
                            <a:srgbClr val="D5D5D5"/>
                          </a:solidFill>
                          <a:effectLst/>
                          <a:latin typeface="segoe-ui_normal"/>
                        </a:rPr>
                        <a:t>11 SP4</a:t>
                      </a:r>
                    </a:p>
                    <a:p>
                      <a:pPr marL="0" marR="0" fontAlgn="t">
                        <a:spcBef>
                          <a:spcPts val="0"/>
                        </a:spcBef>
                        <a:spcAft>
                          <a:spcPts val="0"/>
                        </a:spcAft>
                      </a:pPr>
                      <a:r>
                        <a:rPr lang="en-US" sz="1100">
                          <a:solidFill>
                            <a:srgbClr val="D5D5D5"/>
                          </a:solidFill>
                          <a:effectLst/>
                          <a:latin typeface="segoe-ui_normal"/>
                        </a:rPr>
                        <a:t>12 SP1+</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a:t>
                      </a:r>
                    </a:p>
                    <a:p>
                      <a:pPr marL="0" marR="0" fontAlgn="t">
                        <a:spcBef>
                          <a:spcPts val="0"/>
                        </a:spcBef>
                        <a:spcAft>
                          <a:spcPts val="0"/>
                        </a:spcAft>
                      </a:pPr>
                      <a:r>
                        <a:rPr lang="en-US" sz="1100">
                          <a:solidFill>
                            <a:srgbClr val="D5D5D5"/>
                          </a:solidFill>
                          <a:effectLst/>
                          <a:latin typeface="segoe-ui_normal"/>
                        </a:rPr>
                        <a:t>for 11 in </a:t>
                      </a:r>
                      <a:r>
                        <a:rPr lang="en-US" sz="1100">
                          <a:effectLst/>
                          <a:latin typeface="segoe-ui_normal"/>
                          <a:hlinkClick r:id="rId10"/>
                        </a:rPr>
                        <a:t>Cloud:Tools</a:t>
                      </a:r>
                      <a:r>
                        <a:rPr lang="en-US" sz="1100">
                          <a:solidFill>
                            <a:srgbClr val="D5D5D5"/>
                          </a:solidFill>
                          <a:effectLst/>
                          <a:latin typeface="segoe-ui_normal"/>
                        </a:rPr>
                        <a:t> repo</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for 12 included in "Public Cloud" Module under "python-azure-agent"</a:t>
                      </a: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9"/>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953683558"/>
                  </a:ext>
                </a:extLst>
              </a:tr>
              <a:tr h="611505">
                <a:tc>
                  <a:txBody>
                    <a:bodyPr/>
                    <a:lstStyle/>
                    <a:p>
                      <a:pPr marL="0" marR="0" fontAlgn="t">
                        <a:spcBef>
                          <a:spcPts val="0"/>
                        </a:spcBef>
                        <a:spcAft>
                          <a:spcPts val="0"/>
                        </a:spcAft>
                      </a:pPr>
                      <a:r>
                        <a:rPr lang="en-US" sz="1100">
                          <a:solidFill>
                            <a:srgbClr val="D5D5D5"/>
                          </a:solidFill>
                          <a:effectLst/>
                          <a:latin typeface="segoe-ui_normal"/>
                        </a:rPr>
                        <a:t>openSUSE</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openSUSE Leap 42.1+</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a:t>
                      </a:r>
                      <a:r>
                        <a:rPr lang="en-US" sz="1100">
                          <a:effectLst/>
                          <a:latin typeface="segoe-ui_normal"/>
                          <a:hlinkClick r:id="rId10"/>
                        </a:rPr>
                        <a:t>Cloud:Tools</a:t>
                      </a:r>
                      <a:r>
                        <a:rPr lang="en-US" sz="1100">
                          <a:solidFill>
                            <a:srgbClr val="D5D5D5"/>
                          </a:solidFill>
                          <a:effectLst/>
                          <a:latin typeface="segoe-ui_normal"/>
                        </a:rPr>
                        <a:t> repo under "python-azure-agent" </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6"/>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720528050"/>
                  </a:ext>
                </a:extLst>
              </a:tr>
              <a:tr h="426371">
                <a:tc>
                  <a:txBody>
                    <a:bodyPr/>
                    <a:lstStyle/>
                    <a:p>
                      <a:pPr marL="0" marR="0" fontAlgn="t">
                        <a:spcBef>
                          <a:spcPts val="0"/>
                        </a:spcBef>
                        <a:spcAft>
                          <a:spcPts val="0"/>
                        </a:spcAft>
                      </a:pPr>
                      <a:r>
                        <a:rPr lang="en-US" sz="1100">
                          <a:solidFill>
                            <a:srgbClr val="D5D5D5"/>
                          </a:solidFill>
                          <a:effectLst/>
                          <a:latin typeface="segoe-ui_normal"/>
                        </a:rPr>
                        <a:t>Ubuntu</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Ubuntu 12.04, 14.04, 16.04, 16.1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Package: In repo under "</a:t>
                      </a:r>
                      <a:r>
                        <a:rPr lang="en-US" sz="1100" dirty="0" err="1">
                          <a:solidFill>
                            <a:srgbClr val="D5D5D5"/>
                          </a:solidFill>
                          <a:effectLst/>
                          <a:latin typeface="segoe-ui_normal"/>
                        </a:rPr>
                        <a:t>walinuxagent</a:t>
                      </a:r>
                      <a:r>
                        <a:rPr lang="en-US" sz="1100" dirty="0">
                          <a:solidFill>
                            <a:srgbClr val="D5D5D5"/>
                          </a:solidFill>
                          <a:effectLst/>
                          <a:latin typeface="segoe-ui_normal"/>
                        </a:rPr>
                        <a:t>" </a:t>
                      </a:r>
                    </a:p>
                    <a:p>
                      <a:pPr marL="0" marR="0" fontAlgn="t">
                        <a:spcBef>
                          <a:spcPts val="0"/>
                        </a:spcBef>
                        <a:spcAft>
                          <a:spcPts val="0"/>
                        </a:spcAft>
                      </a:pPr>
                      <a:r>
                        <a:rPr lang="en-US" sz="1100" dirty="0">
                          <a:solidFill>
                            <a:srgbClr val="D5D5D5"/>
                          </a:solidFill>
                          <a:effectLst/>
                          <a:latin typeface="segoe-ui_normal"/>
                        </a:rPr>
                        <a:t>Source code: </a:t>
                      </a:r>
                      <a:r>
                        <a:rPr lang="en-US" sz="1100" dirty="0">
                          <a:effectLst/>
                          <a:latin typeface="segoe-ui_normal"/>
                          <a:hlinkClick r:id="rId6"/>
                        </a:rPr>
                        <a:t>GitHub</a:t>
                      </a:r>
                      <a:endParaRPr lang="en-US" sz="1100" dirty="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597819869"/>
                  </a:ext>
                </a:extLst>
              </a:tr>
            </a:tbl>
          </a:graphicData>
        </a:graphic>
      </p:graphicFrame>
      <p:sp>
        <p:nvSpPr>
          <p:cNvPr id="6" name="Rectangle 5"/>
          <p:cNvSpPr/>
          <p:nvPr/>
        </p:nvSpPr>
        <p:spPr>
          <a:xfrm>
            <a:off x="4780207" y="1570018"/>
            <a:ext cx="8305800" cy="461665"/>
          </a:xfrm>
          <a:prstGeom prst="rect">
            <a:avLst/>
          </a:prstGeom>
        </p:spPr>
        <p:txBody>
          <a:bodyPr wrap="square" lIns="91432" tIns="45715" rIns="91432" bIns="45715">
            <a:spAutoFit/>
          </a:bodyPr>
          <a:lstStyle/>
          <a:p>
            <a:r>
              <a:rPr lang="en-US" sz="2400" dirty="0"/>
              <a:t>Linux distributions and versions supported on Azure</a:t>
            </a:r>
            <a:endParaRPr lang="x-none" sz="2400" dirty="0"/>
          </a:p>
        </p:txBody>
      </p:sp>
    </p:spTree>
    <p:extLst>
      <p:ext uri="{BB962C8B-B14F-4D97-AF65-F5344CB8AC3E}">
        <p14:creationId xmlns:p14="http://schemas.microsoft.com/office/powerpoint/2010/main" val="31391445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FE0D1-848A-4F8B-8183-F1A6035F9269}"/>
              </a:ext>
            </a:extLst>
          </p:cNvPr>
          <p:cNvSpPr>
            <a:spLocks noGrp="1"/>
          </p:cNvSpPr>
          <p:nvPr>
            <p:ph type="title"/>
          </p:nvPr>
        </p:nvSpPr>
        <p:spPr/>
        <p:txBody>
          <a:bodyPr/>
          <a:lstStyle/>
          <a:p>
            <a:r>
              <a:rPr lang="en-US" dirty="0"/>
              <a:t>VM Scaling</a:t>
            </a:r>
          </a:p>
        </p:txBody>
      </p:sp>
      <p:sp>
        <p:nvSpPr>
          <p:cNvPr id="3" name="Content Placeholder 2">
            <a:extLst>
              <a:ext uri="{FF2B5EF4-FFF2-40B4-BE49-F238E27FC236}">
                <a16:creationId xmlns:a16="http://schemas.microsoft.com/office/drawing/2014/main" id="{D7099431-A7D2-420C-A06D-68DADCF8356E}"/>
              </a:ext>
            </a:extLst>
          </p:cNvPr>
          <p:cNvSpPr>
            <a:spLocks noGrp="1"/>
          </p:cNvSpPr>
          <p:nvPr>
            <p:ph idx="1"/>
          </p:nvPr>
        </p:nvSpPr>
        <p:spPr/>
        <p:txBody>
          <a:bodyPr>
            <a:normAutofit fontScale="92500" lnSpcReduction="10000"/>
          </a:bodyPr>
          <a:lstStyle/>
          <a:p>
            <a:r>
              <a:rPr lang="en-US" dirty="0"/>
              <a:t>Resize VMs (Scale up or down)</a:t>
            </a:r>
          </a:p>
          <a:p>
            <a:pPr lvl="1"/>
            <a:r>
              <a:rPr lang="en-US" dirty="0"/>
              <a:t>Offline operation</a:t>
            </a:r>
          </a:p>
          <a:p>
            <a:pPr lvl="1"/>
            <a:r>
              <a:rPr lang="en-US" dirty="0"/>
              <a:t>Just a reboot if in a cluster that supports new size</a:t>
            </a:r>
          </a:p>
          <a:p>
            <a:pPr lvl="1"/>
            <a:r>
              <a:rPr lang="en-US" dirty="0"/>
              <a:t>Requires a deallocation if new size is not supported in the cluster (a little longer)</a:t>
            </a:r>
          </a:p>
          <a:p>
            <a:r>
              <a:rPr lang="en-US" dirty="0"/>
              <a:t>Scale In or Out</a:t>
            </a:r>
          </a:p>
          <a:p>
            <a:pPr lvl="1"/>
            <a:r>
              <a:rPr lang="en-US" dirty="0"/>
              <a:t>You can create new instances of the VM based on platform images (max 1000) or your own custom images (max 100)</a:t>
            </a:r>
          </a:p>
          <a:p>
            <a:pPr lvl="2"/>
            <a:r>
              <a:rPr lang="en-US" dirty="0">
                <a:solidFill>
                  <a:schemeClr val="tx1">
                    <a:lumMod val="95000"/>
                    <a:lumOff val="5000"/>
                  </a:schemeClr>
                </a:solidFill>
              </a:rPr>
              <a:t>Using VM Scale Sets </a:t>
            </a:r>
          </a:p>
          <a:p>
            <a:pPr lvl="2"/>
            <a:r>
              <a:rPr lang="en-US" dirty="0">
                <a:solidFill>
                  <a:schemeClr val="tx1">
                    <a:lumMod val="95000"/>
                    <a:lumOff val="5000"/>
                  </a:schemeClr>
                </a:solidFill>
              </a:rPr>
              <a:t>Using Azure Automation</a:t>
            </a:r>
          </a:p>
          <a:p>
            <a:pPr lvl="2"/>
            <a:r>
              <a:rPr lang="en-US" dirty="0">
                <a:solidFill>
                  <a:schemeClr val="tx1">
                    <a:lumMod val="95000"/>
                    <a:lumOff val="5000"/>
                  </a:schemeClr>
                </a:solidFill>
              </a:rPr>
              <a:t>Scheduled</a:t>
            </a:r>
          </a:p>
          <a:p>
            <a:pPr lvl="2"/>
            <a:r>
              <a:rPr lang="en-US" dirty="0">
                <a:solidFill>
                  <a:schemeClr val="tx1">
                    <a:lumMod val="95000"/>
                    <a:lumOff val="5000"/>
                  </a:schemeClr>
                </a:solidFill>
              </a:rPr>
              <a:t>Azure </a:t>
            </a:r>
            <a:r>
              <a:rPr lang="en-US" dirty="0" err="1">
                <a:solidFill>
                  <a:schemeClr val="tx1">
                    <a:lumMod val="95000"/>
                    <a:lumOff val="5000"/>
                  </a:schemeClr>
                </a:solidFill>
              </a:rPr>
              <a:t>Autoscale</a:t>
            </a:r>
            <a:endParaRPr lang="en-US" dirty="0">
              <a:solidFill>
                <a:schemeClr val="tx1">
                  <a:lumMod val="95000"/>
                  <a:lumOff val="5000"/>
                </a:schemeClr>
              </a:solidFill>
            </a:endParaRPr>
          </a:p>
          <a:p>
            <a:pPr lvl="3"/>
            <a:r>
              <a:rPr lang="en-US" dirty="0"/>
              <a:t>System Metrics (CPU, RAM, </a:t>
            </a:r>
            <a:r>
              <a:rPr lang="en-US" dirty="0" err="1"/>
              <a:t>etc</a:t>
            </a:r>
            <a:r>
              <a:rPr lang="en-US" dirty="0"/>
              <a:t>)</a:t>
            </a:r>
          </a:p>
          <a:p>
            <a:pPr lvl="3"/>
            <a:r>
              <a:rPr lang="en-US" dirty="0"/>
              <a:t>Custom Metrics</a:t>
            </a:r>
          </a:p>
          <a:p>
            <a:pPr lvl="2"/>
            <a:endParaRPr lang="en-US" dirty="0"/>
          </a:p>
          <a:p>
            <a:pPr lvl="1"/>
            <a:endParaRPr lang="en-US" dirty="0"/>
          </a:p>
        </p:txBody>
      </p:sp>
    </p:spTree>
    <p:extLst>
      <p:ext uri="{BB962C8B-B14F-4D97-AF65-F5344CB8AC3E}">
        <p14:creationId xmlns:p14="http://schemas.microsoft.com/office/powerpoint/2010/main" val="2375109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fade">
                                      <p:cBhvr>
                                        <p:cTn id="30" dur="500"/>
                                        <p:tgtEl>
                                          <p:spTgt spid="3">
                                            <p:txEl>
                                              <p:pRg st="7" end="7"/>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500"/>
                                        <p:tgtEl>
                                          <p:spTgt spid="3">
                                            <p:txEl>
                                              <p:pRg st="8" end="8"/>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3">
                                            <p:txEl>
                                              <p:pRg st="9" end="9"/>
                                            </p:txEl>
                                          </p:spTgt>
                                        </p:tgtEl>
                                        <p:attrNameLst>
                                          <p:attrName>style.visibility</p:attrName>
                                        </p:attrNameLst>
                                      </p:cBhvr>
                                      <p:to>
                                        <p:strVal val="visible"/>
                                      </p:to>
                                    </p:set>
                                    <p:animEffect transition="in" filter="fade">
                                      <p:cBhvr>
                                        <p:cTn id="36" dur="500"/>
                                        <p:tgtEl>
                                          <p:spTgt spid="3">
                                            <p:txEl>
                                              <p:pRg st="9" end="9"/>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3">
                                            <p:txEl>
                                              <p:pRg st="10" end="10"/>
                                            </p:txEl>
                                          </p:spTgt>
                                        </p:tgtEl>
                                        <p:attrNameLst>
                                          <p:attrName>style.visibility</p:attrName>
                                        </p:attrNameLst>
                                      </p:cBhvr>
                                      <p:to>
                                        <p:strVal val="visible"/>
                                      </p:to>
                                    </p:set>
                                    <p:animEffect transition="in" filter="fade">
                                      <p:cBhvr>
                                        <p:cTn id="39" dur="500"/>
                                        <p:tgtEl>
                                          <p:spTgt spid="3">
                                            <p:txEl>
                                              <p:pRg st="10" end="10"/>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3">
                                            <p:txEl>
                                              <p:pRg st="11" end="11"/>
                                            </p:txEl>
                                          </p:spTgt>
                                        </p:tgtEl>
                                        <p:attrNameLst>
                                          <p:attrName>style.visibility</p:attrName>
                                        </p:attrNameLst>
                                      </p:cBhvr>
                                      <p:to>
                                        <p:strVal val="visible"/>
                                      </p:to>
                                    </p:set>
                                    <p:animEffect transition="in" filter="fade">
                                      <p:cBhvr>
                                        <p:cTn id="42"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02F3C71-C981-4614-98EA-D6C494F8091E}"/>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6"/>
            <a:ext cx="7174247" cy="5896743"/>
          </a:xfrm>
          <a:prstGeom prst="rect">
            <a:avLst/>
          </a:prstGeom>
          <a:solidFill>
            <a:schemeClr val="tx1">
              <a:alpha val="15000"/>
            </a:schemeClr>
          </a:solidFill>
          <a:ln w="127000" cap="sq" cmpd="thinThick">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2" tIns="45715" rIns="91432" bIns="45715" rtlCol="0" anchor="ctr"/>
          <a:lstStyle/>
          <a:p>
            <a:pPr algn="ctr"/>
            <a:endParaRPr lang="en-US"/>
          </a:p>
        </p:txBody>
      </p:sp>
      <p:pic>
        <p:nvPicPr>
          <p:cNvPr id="13" name="Picture 12">
            <a:extLst>
              <a:ext uri="{FF2B5EF4-FFF2-40B4-BE49-F238E27FC236}">
                <a16:creationId xmlns:a16="http://schemas.microsoft.com/office/drawing/2014/main" id="{D66BB5A2-C2D7-4E59-9260-CEC51C70E25B}"/>
              </a:ext>
            </a:extLst>
          </p:cNvPr>
          <p:cNvPicPr>
            <a:picLocks noChangeAspect="1"/>
          </p:cNvPicPr>
          <p:nvPr/>
        </p:nvPicPr>
        <p:blipFill>
          <a:blip r:embed="rId4"/>
          <a:stretch>
            <a:fillRect/>
          </a:stretch>
        </p:blipFill>
        <p:spPr>
          <a:xfrm>
            <a:off x="7829552" y="3335965"/>
            <a:ext cx="4042410" cy="2374915"/>
          </a:xfrm>
          <a:prstGeom prst="rect">
            <a:avLst/>
          </a:prstGeom>
        </p:spPr>
      </p:pic>
      <p:pic>
        <p:nvPicPr>
          <p:cNvPr id="14" name="Picture 13">
            <a:extLst>
              <a:ext uri="{FF2B5EF4-FFF2-40B4-BE49-F238E27FC236}">
                <a16:creationId xmlns:a16="http://schemas.microsoft.com/office/drawing/2014/main" id="{9AFE7ED1-8908-4EEB-AC53-AE36921CCB85}"/>
              </a:ext>
            </a:extLst>
          </p:cNvPr>
          <p:cNvPicPr>
            <a:picLocks noChangeAspect="1"/>
          </p:cNvPicPr>
          <p:nvPr/>
        </p:nvPicPr>
        <p:blipFill>
          <a:blip r:embed="rId5"/>
          <a:stretch>
            <a:fillRect/>
          </a:stretch>
        </p:blipFill>
        <p:spPr>
          <a:xfrm>
            <a:off x="7829551" y="623053"/>
            <a:ext cx="4042409" cy="1653712"/>
          </a:xfrm>
          <a:prstGeom prst="rect">
            <a:avLst/>
          </a:prstGeom>
        </p:spPr>
      </p:pic>
      <p:sp>
        <p:nvSpPr>
          <p:cNvPr id="3" name="Title 2"/>
          <p:cNvSpPr>
            <a:spLocks noGrp="1"/>
          </p:cNvSpPr>
          <p:nvPr>
            <p:ph type="title"/>
          </p:nvPr>
        </p:nvSpPr>
        <p:spPr>
          <a:xfrm>
            <a:off x="821516" y="640263"/>
            <a:ext cx="6204984" cy="1344975"/>
          </a:xfrm>
        </p:spPr>
        <p:txBody>
          <a:bodyPr vert="horz" lIns="91432" tIns="45715" rIns="91432" bIns="45715" rtlCol="0" anchor="ctr">
            <a:normAutofit/>
          </a:bodyPr>
          <a:lstStyle/>
          <a:p>
            <a:r>
              <a:rPr lang="en-US" sz="4000"/>
              <a:t>Virtual Machine Scale Sets</a:t>
            </a:r>
          </a:p>
        </p:txBody>
      </p:sp>
      <p:sp>
        <p:nvSpPr>
          <p:cNvPr id="5" name="Text Placeholder 6"/>
          <p:cNvSpPr txBox="1">
            <a:spLocks/>
          </p:cNvSpPr>
          <p:nvPr/>
        </p:nvSpPr>
        <p:spPr>
          <a:xfrm>
            <a:off x="821515" y="2121762"/>
            <a:ext cx="6204984" cy="3626917"/>
          </a:xfrm>
          <a:prstGeom prst="rect">
            <a:avLst/>
          </a:prstGeom>
        </p:spPr>
        <p:txBody>
          <a:bodyPr vert="horz" lIns="91432" tIns="45715" rIns="91432" bIns="45715" rtlCol="0">
            <a:normAutofit lnSpcReduction="1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49" indent="-228579" defTabSz="914314"/>
            <a:r>
              <a:rPr lang="en-US" sz="2400" dirty="0">
                <a:solidFill>
                  <a:schemeClr val="tx1"/>
                </a:solidFill>
                <a:latin typeface="+mn-lt"/>
              </a:rPr>
              <a:t>Deploy and manage VMs as a set</a:t>
            </a:r>
          </a:p>
          <a:p>
            <a:pPr marL="336049" indent="-228579" defTabSz="914314"/>
            <a:r>
              <a:rPr lang="en-US" sz="2400" dirty="0">
                <a:solidFill>
                  <a:schemeClr val="tx1"/>
                </a:solidFill>
                <a:latin typeface="+mn-lt"/>
              </a:rPr>
              <a:t>An Azure Compute resource </a:t>
            </a:r>
            <a:r>
              <a:rPr lang="en-US" sz="2400" dirty="0" err="1">
                <a:solidFill>
                  <a:schemeClr val="tx1"/>
                </a:solidFill>
                <a:latin typeface="+mn-lt"/>
              </a:rPr>
              <a:t>Microsoft.Compute</a:t>
            </a:r>
            <a:r>
              <a:rPr lang="en-US" sz="2400" dirty="0">
                <a:solidFill>
                  <a:schemeClr val="tx1"/>
                </a:solidFill>
                <a:latin typeface="+mn-lt"/>
              </a:rPr>
              <a:t>/</a:t>
            </a:r>
            <a:r>
              <a:rPr lang="en-US" sz="2400" dirty="0" err="1">
                <a:solidFill>
                  <a:schemeClr val="tx1"/>
                </a:solidFill>
                <a:latin typeface="+mn-lt"/>
              </a:rPr>
              <a:t>virtualMachineScaleSets</a:t>
            </a:r>
            <a:endParaRPr lang="en-US" sz="2400" dirty="0">
              <a:solidFill>
                <a:schemeClr val="tx1"/>
              </a:solidFill>
              <a:latin typeface="+mn-lt"/>
            </a:endParaRPr>
          </a:p>
          <a:p>
            <a:r>
              <a:rPr lang="en-US" sz="2400" b="1" dirty="0"/>
              <a:t>Scale</a:t>
            </a:r>
            <a:r>
              <a:rPr lang="en-US" sz="2400" dirty="0"/>
              <a:t> - Deploy identical resources </a:t>
            </a:r>
          </a:p>
          <a:p>
            <a:pPr lvl="1"/>
            <a:r>
              <a:rPr lang="en-US" sz="1800" dirty="0"/>
              <a:t>Easily</a:t>
            </a:r>
          </a:p>
          <a:p>
            <a:pPr lvl="1"/>
            <a:r>
              <a:rPr lang="en-US" sz="1800" dirty="0"/>
              <a:t>Rapidly</a:t>
            </a:r>
          </a:p>
          <a:p>
            <a:pPr lvl="1"/>
            <a:r>
              <a:rPr lang="en-US" sz="1800" dirty="0"/>
              <a:t>At scale.. 10s – 10,000s of cores</a:t>
            </a:r>
          </a:p>
          <a:p>
            <a:r>
              <a:rPr lang="en-US" sz="2400" b="1" dirty="0"/>
              <a:t>Low cost - </a:t>
            </a:r>
            <a:r>
              <a:rPr lang="en-US" sz="2400" dirty="0"/>
              <a:t>Dynamically increase/decrease compute power to optimize costs</a:t>
            </a:r>
            <a:endParaRPr lang="en-US" sz="2400" b="1" dirty="0"/>
          </a:p>
          <a:p>
            <a:r>
              <a:rPr lang="en-US" sz="2400" b="1" dirty="0"/>
              <a:t>Elasticity</a:t>
            </a:r>
            <a:r>
              <a:rPr lang="en-US" sz="2400" dirty="0"/>
              <a:t> - Automatically scale to changing demand</a:t>
            </a:r>
          </a:p>
          <a:p>
            <a:pPr marL="336049" indent="-228579" defTabSz="914314"/>
            <a:endParaRPr lang="en-US" sz="2400" dirty="0">
              <a:solidFill>
                <a:schemeClr val="tx1"/>
              </a:solidFill>
              <a:latin typeface="+mn-lt"/>
            </a:endParaRPr>
          </a:p>
        </p:txBody>
      </p:sp>
    </p:spTree>
    <p:extLst>
      <p:ext uri="{BB962C8B-B14F-4D97-AF65-F5344CB8AC3E}">
        <p14:creationId xmlns:p14="http://schemas.microsoft.com/office/powerpoint/2010/main" val="331787734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D77D1-B84B-4A29-A9FC-18E9DA44F12C}"/>
              </a:ext>
            </a:extLst>
          </p:cNvPr>
          <p:cNvSpPr>
            <a:spLocks noGrp="1"/>
          </p:cNvSpPr>
          <p:nvPr>
            <p:ph type="title"/>
          </p:nvPr>
        </p:nvSpPr>
        <p:spPr/>
        <p:txBody>
          <a:bodyPr/>
          <a:lstStyle/>
          <a:p>
            <a:r>
              <a:rPr lang="en-US" dirty="0"/>
              <a:t>VM Disks</a:t>
            </a:r>
          </a:p>
        </p:txBody>
      </p:sp>
      <p:sp>
        <p:nvSpPr>
          <p:cNvPr id="3" name="Content Placeholder 2">
            <a:extLst>
              <a:ext uri="{FF2B5EF4-FFF2-40B4-BE49-F238E27FC236}">
                <a16:creationId xmlns:a16="http://schemas.microsoft.com/office/drawing/2014/main" id="{9A084D11-B70D-40EE-B04A-A4D4D869172E}"/>
              </a:ext>
            </a:extLst>
          </p:cNvPr>
          <p:cNvSpPr>
            <a:spLocks noGrp="1"/>
          </p:cNvSpPr>
          <p:nvPr>
            <p:ph idx="1"/>
          </p:nvPr>
        </p:nvSpPr>
        <p:spPr>
          <a:xfrm>
            <a:off x="838200" y="1690688"/>
            <a:ext cx="10515600" cy="4486275"/>
          </a:xfrm>
        </p:spPr>
        <p:txBody>
          <a:bodyPr>
            <a:normAutofit/>
          </a:bodyPr>
          <a:lstStyle/>
          <a:p>
            <a:r>
              <a:rPr lang="en-US" dirty="0">
                <a:solidFill>
                  <a:schemeClr val="tx1">
                    <a:lumMod val="95000"/>
                    <a:lumOff val="5000"/>
                  </a:schemeClr>
                </a:solidFill>
              </a:rPr>
              <a:t>Disks can be resized up to 4TB</a:t>
            </a:r>
          </a:p>
          <a:p>
            <a:r>
              <a:rPr lang="en-US" dirty="0">
                <a:solidFill>
                  <a:schemeClr val="tx1">
                    <a:lumMod val="95000"/>
                    <a:lumOff val="5000"/>
                  </a:schemeClr>
                </a:solidFill>
              </a:rPr>
              <a:t>Managed Vs Unmanaged.</a:t>
            </a:r>
          </a:p>
          <a:p>
            <a:r>
              <a:rPr lang="en-US" dirty="0"/>
              <a:t>Encryption </a:t>
            </a:r>
          </a:p>
          <a:p>
            <a:r>
              <a:rPr lang="en-US" dirty="0"/>
              <a:t>Disk Caching</a:t>
            </a:r>
          </a:p>
          <a:p>
            <a:pPr lvl="1"/>
            <a:r>
              <a:rPr lang="en-US" dirty="0">
                <a:solidFill>
                  <a:schemeClr val="tx1">
                    <a:lumMod val="95000"/>
                    <a:lumOff val="5000"/>
                  </a:schemeClr>
                </a:solidFill>
              </a:rPr>
              <a:t>None – for Write only and Write heavy (SQL Logs)</a:t>
            </a:r>
          </a:p>
          <a:p>
            <a:pPr lvl="1"/>
            <a:r>
              <a:rPr lang="en-US" dirty="0" err="1">
                <a:solidFill>
                  <a:schemeClr val="tx1">
                    <a:lumMod val="95000"/>
                    <a:lumOff val="5000"/>
                  </a:schemeClr>
                </a:solidFill>
              </a:rPr>
              <a:t>ReadOnly</a:t>
            </a:r>
            <a:r>
              <a:rPr lang="en-US" dirty="0">
                <a:solidFill>
                  <a:schemeClr val="tx1">
                    <a:lumMod val="95000"/>
                    <a:lumOff val="5000"/>
                  </a:schemeClr>
                </a:solidFill>
              </a:rPr>
              <a:t> – for Read only or read-intensive disks (SQL Data files)</a:t>
            </a:r>
          </a:p>
          <a:p>
            <a:pPr lvl="1"/>
            <a:r>
              <a:rPr lang="en-US" dirty="0" err="1">
                <a:solidFill>
                  <a:schemeClr val="tx1">
                    <a:lumMod val="95000"/>
                    <a:lumOff val="5000"/>
                  </a:schemeClr>
                </a:solidFill>
              </a:rPr>
              <a:t>ReadWrite</a:t>
            </a:r>
            <a:r>
              <a:rPr lang="en-US" dirty="0">
                <a:solidFill>
                  <a:schemeClr val="tx1">
                    <a:lumMod val="95000"/>
                    <a:lumOff val="5000"/>
                  </a:schemeClr>
                </a:solidFill>
              </a:rPr>
              <a:t> – for Operating System disks</a:t>
            </a:r>
          </a:p>
          <a:p>
            <a:pPr lvl="1"/>
            <a:endParaRPr lang="en-US" dirty="0"/>
          </a:p>
          <a:p>
            <a:pPr lvl="1"/>
            <a:endParaRPr lang="en-US" dirty="0"/>
          </a:p>
          <a:p>
            <a:endParaRPr lang="en-US" dirty="0"/>
          </a:p>
        </p:txBody>
      </p:sp>
    </p:spTree>
    <p:extLst>
      <p:ext uri="{BB962C8B-B14F-4D97-AF65-F5344CB8AC3E}">
        <p14:creationId xmlns:p14="http://schemas.microsoft.com/office/powerpoint/2010/main" val="2774397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C344E-8CAA-4BD4-9CF5-6B6FB7925E86}"/>
              </a:ext>
            </a:extLst>
          </p:cNvPr>
          <p:cNvSpPr>
            <a:spLocks noGrp="1"/>
          </p:cNvSpPr>
          <p:nvPr>
            <p:ph type="title"/>
          </p:nvPr>
        </p:nvSpPr>
        <p:spPr/>
        <p:txBody>
          <a:bodyPr/>
          <a:lstStyle/>
          <a:p>
            <a:r>
              <a:rPr lang="en-US" dirty="0"/>
              <a:t>VM Disks</a:t>
            </a:r>
          </a:p>
        </p:txBody>
      </p:sp>
      <p:sp>
        <p:nvSpPr>
          <p:cNvPr id="3" name="Content Placeholder 2">
            <a:extLst>
              <a:ext uri="{FF2B5EF4-FFF2-40B4-BE49-F238E27FC236}">
                <a16:creationId xmlns:a16="http://schemas.microsoft.com/office/drawing/2014/main" id="{33540426-6430-4F92-BCF3-6BC3ADBA2069}"/>
              </a:ext>
            </a:extLst>
          </p:cNvPr>
          <p:cNvSpPr>
            <a:spLocks noGrp="1"/>
          </p:cNvSpPr>
          <p:nvPr>
            <p:ph idx="1"/>
          </p:nvPr>
        </p:nvSpPr>
        <p:spPr/>
        <p:txBody>
          <a:bodyPr>
            <a:normAutofit/>
          </a:bodyPr>
          <a:lstStyle/>
          <a:p>
            <a:r>
              <a:rPr lang="en-US" b="1" dirty="0">
                <a:solidFill>
                  <a:schemeClr val="tx1">
                    <a:lumMod val="95000"/>
                    <a:lumOff val="5000"/>
                  </a:schemeClr>
                </a:solidFill>
              </a:rPr>
              <a:t>Images are representations of your VM that you can use to create more instances of the VM</a:t>
            </a:r>
          </a:p>
          <a:p>
            <a:pPr lvl="1"/>
            <a:r>
              <a:rPr lang="en-US" dirty="0"/>
              <a:t>You can capture an Image of a VM and it will include all the disks</a:t>
            </a:r>
          </a:p>
          <a:p>
            <a:pPr lvl="1"/>
            <a:r>
              <a:rPr lang="en-US" dirty="0"/>
              <a:t>Snapshots only capture one disk at a time.</a:t>
            </a:r>
          </a:p>
          <a:p>
            <a:pPr lvl="1"/>
            <a:endParaRPr lang="en-US" b="1" dirty="0">
              <a:solidFill>
                <a:srgbClr val="FF0000"/>
              </a:solidFill>
            </a:endParaRPr>
          </a:p>
          <a:p>
            <a:r>
              <a:rPr lang="en-US" b="1" dirty="0">
                <a:solidFill>
                  <a:schemeClr val="tx1">
                    <a:lumMod val="95000"/>
                    <a:lumOff val="5000"/>
                  </a:schemeClr>
                </a:solidFill>
              </a:rPr>
              <a:t>Disk Snapshots let you capture current state copies of your disks.</a:t>
            </a:r>
          </a:p>
          <a:p>
            <a:pPr lvl="1"/>
            <a:r>
              <a:rPr lang="en-US" dirty="0"/>
              <a:t>Managed Disks: Take Snapshots of the disk </a:t>
            </a:r>
          </a:p>
          <a:p>
            <a:pPr lvl="1"/>
            <a:r>
              <a:rPr lang="en-US" dirty="0"/>
              <a:t>Unmanaged Disks: Take Snapshots of the underlying VHD blob</a:t>
            </a:r>
            <a:endParaRPr lang="en-US" b="1" dirty="0">
              <a:solidFill>
                <a:schemeClr val="tx1">
                  <a:lumMod val="95000"/>
                  <a:lumOff val="5000"/>
                </a:schemeClr>
              </a:solidFill>
            </a:endParaRPr>
          </a:p>
          <a:p>
            <a:pPr lvl="1"/>
            <a:endParaRPr lang="en-US" b="1" dirty="0">
              <a:solidFill>
                <a:schemeClr val="tx1">
                  <a:lumMod val="95000"/>
                  <a:lumOff val="5000"/>
                </a:schemeClr>
              </a:solidFill>
            </a:endParaRPr>
          </a:p>
          <a:p>
            <a:pPr marL="457157" lvl="1" indent="0">
              <a:buNone/>
            </a:pPr>
            <a:endParaRPr lang="en-US" dirty="0"/>
          </a:p>
          <a:p>
            <a:endParaRPr lang="en-US" dirty="0"/>
          </a:p>
        </p:txBody>
      </p:sp>
    </p:spTree>
    <p:extLst>
      <p:ext uri="{BB962C8B-B14F-4D97-AF65-F5344CB8AC3E}">
        <p14:creationId xmlns:p14="http://schemas.microsoft.com/office/powerpoint/2010/main" val="91270685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91F94-057D-4EA7-9FB0-62853984FC8F}"/>
              </a:ext>
            </a:extLst>
          </p:cNvPr>
          <p:cNvSpPr>
            <a:spLocks noGrp="1"/>
          </p:cNvSpPr>
          <p:nvPr>
            <p:ph type="title"/>
          </p:nvPr>
        </p:nvSpPr>
        <p:spPr>
          <a:xfrm>
            <a:off x="536028" y="347874"/>
            <a:ext cx="11387892" cy="923330"/>
          </a:xfrm>
        </p:spPr>
        <p:txBody>
          <a:bodyPr>
            <a:normAutofit/>
          </a:bodyPr>
          <a:lstStyle/>
          <a:p>
            <a:r>
              <a:rPr lang="en-US" sz="6000" dirty="0"/>
              <a:t>Exam Tip </a:t>
            </a:r>
            <a:r>
              <a:rPr lang="en-US" dirty="0"/>
              <a:t>- Increase size of existing Disks</a:t>
            </a:r>
          </a:p>
        </p:txBody>
      </p:sp>
      <p:sp>
        <p:nvSpPr>
          <p:cNvPr id="3" name="Text Placeholder 2">
            <a:extLst>
              <a:ext uri="{FF2B5EF4-FFF2-40B4-BE49-F238E27FC236}">
                <a16:creationId xmlns:a16="http://schemas.microsoft.com/office/drawing/2014/main" id="{929ADB5E-2F24-4EF5-A5E4-9B33DA06A2E4}"/>
              </a:ext>
            </a:extLst>
          </p:cNvPr>
          <p:cNvSpPr>
            <a:spLocks noGrp="1"/>
          </p:cNvSpPr>
          <p:nvPr>
            <p:ph type="body" sz="quarter" idx="11"/>
          </p:nvPr>
        </p:nvSpPr>
        <p:spPr>
          <a:xfrm>
            <a:off x="268080" y="2210282"/>
            <a:ext cx="11655840" cy="4641916"/>
          </a:xfrm>
        </p:spPr>
        <p:txBody>
          <a:bodyPr/>
          <a:lstStyle/>
          <a:p>
            <a:r>
              <a:rPr lang="en-US" dirty="0"/>
              <a:t>You can easily increase the size of existing disks. For example, you might want to increase the size of a 30-GB disk to 128 GB, or even to 4 TB. Or, you might want to convert your P20 disk to a P30 disk because you need more capacity or more IOPS and throughput.</a:t>
            </a:r>
          </a:p>
        </p:txBody>
      </p:sp>
    </p:spTree>
    <p:extLst>
      <p:ext uri="{BB962C8B-B14F-4D97-AF65-F5344CB8AC3E}">
        <p14:creationId xmlns:p14="http://schemas.microsoft.com/office/powerpoint/2010/main" val="2710173441"/>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RM Templates</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17653467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300" dirty="0"/>
              <a:t> Azure Resource Manager (ARM)</a:t>
            </a:r>
          </a:p>
        </p:txBody>
      </p:sp>
      <p:sp>
        <p:nvSpPr>
          <p:cNvPr id="3" name="Subtitle 2"/>
          <p:cNvSpPr>
            <a:spLocks noGrp="1"/>
          </p:cNvSpPr>
          <p:nvPr>
            <p:ph type="body" sz="quarter" idx="4294967295"/>
          </p:nvPr>
        </p:nvSpPr>
        <p:spPr>
          <a:xfrm>
            <a:off x="6554788" y="2041526"/>
            <a:ext cx="5637212" cy="3732213"/>
          </a:xfrm>
        </p:spPr>
        <p:style>
          <a:lnRef idx="2">
            <a:schemeClr val="accent2">
              <a:shade val="50000"/>
            </a:schemeClr>
          </a:lnRef>
          <a:fillRef idx="1">
            <a:schemeClr val="accent2"/>
          </a:fillRef>
          <a:effectRef idx="0">
            <a:schemeClr val="accent2"/>
          </a:effectRef>
          <a:fontRef idx="minor">
            <a:schemeClr val="lt1"/>
          </a:fontRef>
        </p:style>
        <p:txBody>
          <a:bodyPr vert="horz" wrap="square" lIns="179268" tIns="143415" rIns="179268" bIns="143415" rtlCol="0" anchor="ctr">
            <a:noAutofit/>
          </a:bodyPr>
          <a:lstStyle/>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Enable application management within Azure</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Resource groups are containers that </a:t>
            </a:r>
            <a:br>
              <a:rPr lang="en-US" sz="2000" dirty="0">
                <a:gradFill>
                  <a:gsLst>
                    <a:gs pos="14151">
                      <a:schemeClr val="bg1"/>
                    </a:gs>
                    <a:gs pos="24000">
                      <a:schemeClr val="bg1"/>
                    </a:gs>
                  </a:gsLst>
                  <a:lin ang="5400000" scaled="0"/>
                </a:gradFill>
              </a:rPr>
            </a:br>
            <a:r>
              <a:rPr lang="en-US" sz="2000" dirty="0">
                <a:gradFill>
                  <a:gsLst>
                    <a:gs pos="14151">
                      <a:schemeClr val="bg1"/>
                    </a:gs>
                    <a:gs pos="24000">
                      <a:schemeClr val="bg1"/>
                    </a:gs>
                  </a:gsLst>
                  <a:lin ang="5400000" scaled="0"/>
                </a:gradFill>
              </a:rPr>
              <a:t>can contain multiple IaaS + PaaS resources</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Support lifecycle management with integrated Role Based Access Control (RBAC)</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Templatize application deployment and configuration</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Supports DevOps</a:t>
            </a:r>
          </a:p>
        </p:txBody>
      </p:sp>
      <p:grpSp>
        <p:nvGrpSpPr>
          <p:cNvPr id="5" name="Group 4"/>
          <p:cNvGrpSpPr>
            <a:grpSpLocks noChangeAspect="1"/>
          </p:cNvGrpSpPr>
          <p:nvPr/>
        </p:nvGrpSpPr>
        <p:grpSpPr bwMode="auto">
          <a:xfrm>
            <a:off x="449801" y="1546529"/>
            <a:ext cx="4945949" cy="4723730"/>
            <a:chOff x="406" y="668"/>
            <a:chExt cx="3116" cy="2976"/>
          </a:xfrm>
        </p:grpSpPr>
        <p:sp>
          <p:nvSpPr>
            <p:cNvPr id="6"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1"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2"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3"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4"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5"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6"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7"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8"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9"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0"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1"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2"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3"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4"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5"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6"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7"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8"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9"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0"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1"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2"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3"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4"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5"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6"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7"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8"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9"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0"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1"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2"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3"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4"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5"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6"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7"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8"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9"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0"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1"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2"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3"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4"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5"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6"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7"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8"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9"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0"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1"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2"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3"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4"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5"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6"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7"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8"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9"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0"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1"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2"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3"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4"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5"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6"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7"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8"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9"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0"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1"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2"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3"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4"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5"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6"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7"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8"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9"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0"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1"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2"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3"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4" name="Rectangle 92"/>
            <p:cNvSpPr>
              <a:spLocks noChangeArrowheads="1"/>
            </p:cNvSpPr>
            <p:nvPr/>
          </p:nvSpPr>
          <p:spPr bwMode="auto">
            <a:xfrm>
              <a:off x="1487" y="2092"/>
              <a:ext cx="361"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RESOU</a:t>
              </a:r>
              <a:endParaRPr lang="en-US" altLang="en-US" kern="0" dirty="0">
                <a:gradFill>
                  <a:gsLst>
                    <a:gs pos="62264">
                      <a:srgbClr val="505050"/>
                    </a:gs>
                    <a:gs pos="39000">
                      <a:srgbClr val="505050"/>
                    </a:gs>
                  </a:gsLst>
                  <a:lin ang="5400000" scaled="0"/>
                </a:gradFill>
              </a:endParaRPr>
            </a:p>
          </p:txBody>
        </p:sp>
        <p:sp>
          <p:nvSpPr>
            <p:cNvPr id="95" name="Rectangle 93"/>
            <p:cNvSpPr>
              <a:spLocks noChangeArrowheads="1"/>
            </p:cNvSpPr>
            <p:nvPr/>
          </p:nvSpPr>
          <p:spPr bwMode="auto">
            <a:xfrm>
              <a:off x="1838"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R</a:t>
              </a:r>
              <a:endParaRPr lang="en-US" altLang="en-US" kern="0" dirty="0">
                <a:gradFill>
                  <a:gsLst>
                    <a:gs pos="62264">
                      <a:srgbClr val="505050"/>
                    </a:gs>
                    <a:gs pos="39000">
                      <a:srgbClr val="505050"/>
                    </a:gs>
                  </a:gsLst>
                  <a:lin ang="5400000" scaled="0"/>
                </a:gradFill>
              </a:endParaRPr>
            </a:p>
          </p:txBody>
        </p:sp>
        <p:sp>
          <p:nvSpPr>
            <p:cNvPr id="96" name="Rectangle 94"/>
            <p:cNvSpPr>
              <a:spLocks noChangeArrowheads="1"/>
            </p:cNvSpPr>
            <p:nvPr/>
          </p:nvSpPr>
          <p:spPr bwMode="auto">
            <a:xfrm>
              <a:off x="1906" y="2092"/>
              <a:ext cx="243"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CE G</a:t>
              </a:r>
              <a:endParaRPr lang="en-US" altLang="en-US" kern="0" dirty="0">
                <a:gradFill>
                  <a:gsLst>
                    <a:gs pos="62264">
                      <a:srgbClr val="505050"/>
                    </a:gs>
                    <a:gs pos="39000">
                      <a:srgbClr val="505050"/>
                    </a:gs>
                  </a:gsLst>
                  <a:lin ang="5400000" scaled="0"/>
                </a:gradFill>
              </a:endParaRPr>
            </a:p>
          </p:txBody>
        </p:sp>
        <p:sp>
          <p:nvSpPr>
            <p:cNvPr id="97" name="Rectangle 95"/>
            <p:cNvSpPr>
              <a:spLocks noChangeArrowheads="1"/>
            </p:cNvSpPr>
            <p:nvPr/>
          </p:nvSpPr>
          <p:spPr bwMode="auto">
            <a:xfrm>
              <a:off x="2142"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R</a:t>
              </a:r>
              <a:endParaRPr lang="en-US" altLang="en-US" kern="0" dirty="0">
                <a:gradFill>
                  <a:gsLst>
                    <a:gs pos="62264">
                      <a:srgbClr val="505050"/>
                    </a:gs>
                    <a:gs pos="39000">
                      <a:srgbClr val="505050"/>
                    </a:gs>
                  </a:gsLst>
                  <a:lin ang="5400000" scaled="0"/>
                </a:gradFill>
              </a:endParaRPr>
            </a:p>
          </p:txBody>
        </p:sp>
        <p:sp>
          <p:nvSpPr>
            <p:cNvPr id="98" name="Rectangle 96"/>
            <p:cNvSpPr>
              <a:spLocks noChangeArrowheads="1"/>
            </p:cNvSpPr>
            <p:nvPr/>
          </p:nvSpPr>
          <p:spPr bwMode="auto">
            <a:xfrm>
              <a:off x="2210" y="2092"/>
              <a:ext cx="235"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OUP</a:t>
              </a:r>
              <a:endParaRPr lang="en-US" altLang="en-US" kern="0" dirty="0">
                <a:gradFill>
                  <a:gsLst>
                    <a:gs pos="62264">
                      <a:srgbClr val="505050"/>
                    </a:gs>
                    <a:gs pos="39000">
                      <a:srgbClr val="505050"/>
                    </a:gs>
                  </a:gsLst>
                  <a:lin ang="5400000" scaled="0"/>
                </a:gradFill>
              </a:endParaRPr>
            </a:p>
          </p:txBody>
        </p:sp>
        <p:sp>
          <p:nvSpPr>
            <p:cNvPr id="99"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0"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1"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2"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3"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4"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5"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6"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7"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grpSp>
    </p:spTree>
    <p:extLst>
      <p:ext uri="{BB962C8B-B14F-4D97-AF65-F5344CB8AC3E}">
        <p14:creationId xmlns:p14="http://schemas.microsoft.com/office/powerpoint/2010/main" val="2600162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par>
                                <p:cTn id="12" presetID="42" presetClass="path" presetSubtype="0" decel="100000" fill="hold" grpId="1" nodeType="withEffect">
                                  <p:stCondLst>
                                    <p:cond delay="0"/>
                                  </p:stCondLst>
                                  <p:childTnLst>
                                    <p:animMotion origin="layout" path="M -0.0245 -4.67544E-6 L -4.90682E-6 -4.67544E-6 " pathEditMode="relative" rAng="0" ptsTypes="AA">
                                      <p:cBhvr>
                                        <p:cTn id="13" dur="1000" fill="hold"/>
                                        <p:tgtEl>
                                          <p:spTgt spid="3"/>
                                        </p:tgtEl>
                                        <p:attrNameLst>
                                          <p:attrName>ppt_x</p:attrName>
                                          <p:attrName>ppt_y</p:attrName>
                                        </p:attrNameLst>
                                      </p:cBhvr>
                                      <p:rCtr x="122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Lst>
  </p:timing>
</p:sld>
</file>

<file path=ppt/slides/slide11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a:t>
            </a:r>
            <a:br>
              <a:rPr lang="en-US" dirty="0"/>
            </a:br>
            <a:endParaRPr lang="en-US" dirty="0"/>
          </a:p>
        </p:txBody>
      </p:sp>
      <p:pic>
        <p:nvPicPr>
          <p:cNvPr id="4" name="Picture 3"/>
          <p:cNvPicPr>
            <a:picLocks noChangeAspect="1"/>
          </p:cNvPicPr>
          <p:nvPr/>
        </p:nvPicPr>
        <p:blipFill>
          <a:blip r:embed="rId3"/>
          <a:stretch>
            <a:fillRect/>
          </a:stretch>
        </p:blipFill>
        <p:spPr>
          <a:xfrm>
            <a:off x="1878669" y="1480634"/>
            <a:ext cx="5889699" cy="4963713"/>
          </a:xfrm>
          <a:prstGeom prst="rect">
            <a:avLst/>
          </a:prstGeom>
        </p:spPr>
      </p:pic>
      <p:sp>
        <p:nvSpPr>
          <p:cNvPr id="6" name="Rectangle 5"/>
          <p:cNvSpPr/>
          <p:nvPr/>
        </p:nvSpPr>
        <p:spPr bwMode="auto">
          <a:xfrm>
            <a:off x="8552370" y="216812"/>
            <a:ext cx="2847476" cy="2064095"/>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82811" tIns="146249" rIns="182811" bIns="146249" numCol="1" spcCol="0" rtlCol="0" fromWordArt="0" anchor="t" anchorCtr="0" forceAA="0" compatLnSpc="1">
            <a:prstTxWarp prst="textNoShape">
              <a:avLst/>
            </a:prstTxWarp>
            <a:noAutofit/>
          </a:bodyPr>
          <a:lstStyle/>
          <a:p>
            <a:pPr defTabSz="914106">
              <a:lnSpc>
                <a:spcPct val="90000"/>
              </a:lnSpc>
              <a:spcAft>
                <a:spcPts val="588"/>
              </a:spcAft>
            </a:pPr>
            <a:r>
              <a:rPr lang="en-US" sz="3200" kern="0" dirty="0">
                <a:solidFill>
                  <a:srgbClr val="505050"/>
                </a:solidFill>
                <a:latin typeface="Segoe UI Light"/>
              </a:rPr>
              <a:t>Describe</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ERE</a:t>
            </a:r>
            <a:br>
              <a:rPr lang="en-US" sz="1600" kern="0" dirty="0">
                <a:solidFill>
                  <a:srgbClr val="505050"/>
                </a:solidFill>
                <a:latin typeface="Segoe UI"/>
              </a:rPr>
            </a:br>
            <a:r>
              <a:rPr lang="en-US" sz="1600" kern="0" dirty="0">
                <a:solidFill>
                  <a:srgbClr val="505050"/>
                </a:solidFill>
                <a:latin typeface="Segoe UI"/>
              </a:rPr>
              <a:t>Resource Inventory</a:t>
            </a:r>
          </a:p>
          <a:p>
            <a:pPr defTabSz="672098">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AT</a:t>
            </a:r>
            <a:br>
              <a:rPr lang="en-US" sz="1600" kern="0" dirty="0">
                <a:solidFill>
                  <a:srgbClr val="505050"/>
                </a:solidFill>
                <a:latin typeface="Segoe UI"/>
              </a:rPr>
            </a:br>
            <a:r>
              <a:rPr lang="en-US" sz="1600" kern="0" dirty="0">
                <a:solidFill>
                  <a:srgbClr val="505050"/>
                </a:solidFill>
                <a:latin typeface="Segoe UI"/>
              </a:rPr>
              <a:t>Component Relationships</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HOW</a:t>
            </a:r>
            <a:br>
              <a:rPr lang="en-US" sz="1600" kern="0" dirty="0">
                <a:solidFill>
                  <a:srgbClr val="505050"/>
                </a:solidFill>
                <a:latin typeface="Segoe UI"/>
              </a:rPr>
            </a:br>
            <a:r>
              <a:rPr lang="en-US" sz="1600" kern="0" dirty="0">
                <a:solidFill>
                  <a:srgbClr val="505050"/>
                </a:solidFill>
                <a:latin typeface="Segoe UI"/>
              </a:rPr>
              <a:t>Tags + links + groups  </a:t>
            </a:r>
          </a:p>
        </p:txBody>
      </p:sp>
      <p:sp>
        <p:nvSpPr>
          <p:cNvPr id="7" name="Rectangle 6"/>
          <p:cNvSpPr/>
          <p:nvPr/>
        </p:nvSpPr>
        <p:spPr bwMode="auto">
          <a:xfrm>
            <a:off x="8552371" y="4667122"/>
            <a:ext cx="2847476" cy="2048775"/>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82811" tIns="146249" rIns="182811" bIns="146249" numCol="1" spcCol="0" rtlCol="0" fromWordArt="0" anchor="t" anchorCtr="0" forceAA="0" compatLnSpc="1">
            <a:prstTxWarp prst="textNoShape">
              <a:avLst/>
            </a:prstTxWarp>
            <a:noAutofit/>
          </a:bodyPr>
          <a:lstStyle/>
          <a:p>
            <a:pPr defTabSz="914106">
              <a:lnSpc>
                <a:spcPct val="90000"/>
              </a:lnSpc>
              <a:spcAft>
                <a:spcPts val="588"/>
              </a:spcAft>
            </a:pPr>
            <a:r>
              <a:rPr lang="en-US" sz="3200" kern="0" dirty="0">
                <a:solidFill>
                  <a:srgbClr val="505050"/>
                </a:solidFill>
                <a:latin typeface="Segoe UI Light"/>
              </a:rPr>
              <a:t>Control</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O</a:t>
            </a:r>
            <a:br>
              <a:rPr lang="en-US" sz="1600" kern="0" dirty="0">
                <a:solidFill>
                  <a:srgbClr val="505050"/>
                </a:solidFill>
                <a:latin typeface="Segoe UI"/>
              </a:rPr>
            </a:br>
            <a:r>
              <a:rPr lang="en-US" sz="1600" kern="0" dirty="0">
                <a:solidFill>
                  <a:srgbClr val="505050"/>
                </a:solidFill>
                <a:latin typeface="Segoe UI"/>
              </a:rPr>
              <a:t>Access control</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AT</a:t>
            </a:r>
            <a:br>
              <a:rPr lang="en-US" sz="1600" kern="0" dirty="0">
                <a:solidFill>
                  <a:srgbClr val="505050"/>
                </a:solidFill>
                <a:latin typeface="Segoe UI"/>
              </a:rPr>
            </a:br>
            <a:r>
              <a:rPr lang="en-US" sz="1600" kern="0" dirty="0">
                <a:solidFill>
                  <a:srgbClr val="505050"/>
                </a:solidFill>
                <a:latin typeface="Segoe UI"/>
              </a:rPr>
              <a:t>Changes</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HOW</a:t>
            </a:r>
            <a:br>
              <a:rPr lang="en-US" sz="1600" kern="0" dirty="0">
                <a:solidFill>
                  <a:srgbClr val="505050"/>
                </a:solidFill>
                <a:latin typeface="Segoe UI"/>
              </a:rPr>
            </a:br>
            <a:r>
              <a:rPr lang="en-US" sz="1600" kern="0" dirty="0">
                <a:solidFill>
                  <a:srgbClr val="505050"/>
                </a:solidFill>
                <a:latin typeface="Segoe UI"/>
              </a:rPr>
              <a:t>RBAC</a:t>
            </a:r>
          </a:p>
        </p:txBody>
      </p:sp>
      <p:sp>
        <p:nvSpPr>
          <p:cNvPr id="8" name="Rectangle 7"/>
          <p:cNvSpPr/>
          <p:nvPr/>
        </p:nvSpPr>
        <p:spPr bwMode="auto">
          <a:xfrm>
            <a:off x="8552371" y="2381272"/>
            <a:ext cx="2847476" cy="2144629"/>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82811" tIns="146249" rIns="182811" bIns="146249" numCol="1" spcCol="0" rtlCol="0" fromWordArt="0" anchor="t" anchorCtr="0" forceAA="0" compatLnSpc="1">
            <a:prstTxWarp prst="textNoShape">
              <a:avLst/>
            </a:prstTxWarp>
            <a:noAutofit/>
          </a:bodyPr>
          <a:lstStyle/>
          <a:p>
            <a:pPr defTabSz="914106">
              <a:lnSpc>
                <a:spcPct val="90000"/>
              </a:lnSpc>
              <a:spcAft>
                <a:spcPts val="588"/>
              </a:spcAft>
            </a:pPr>
            <a:r>
              <a:rPr lang="en-US" sz="3200" kern="0" dirty="0">
                <a:solidFill>
                  <a:srgbClr val="505050"/>
                </a:solidFill>
                <a:latin typeface="Segoe UI Light"/>
              </a:rPr>
              <a:t>Provision</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ERE</a:t>
            </a:r>
            <a:br>
              <a:rPr lang="en-US" sz="1600" kern="0" dirty="0">
                <a:solidFill>
                  <a:srgbClr val="505050"/>
                </a:solidFill>
                <a:latin typeface="Segoe UI"/>
              </a:rPr>
            </a:br>
            <a:r>
              <a:rPr lang="en-US" sz="1600" kern="0" dirty="0">
                <a:solidFill>
                  <a:srgbClr val="505050"/>
                </a:solidFill>
                <a:latin typeface="Segoe UI"/>
              </a:rPr>
              <a:t>Across Regions</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AT</a:t>
            </a:r>
            <a:br>
              <a:rPr lang="en-US" sz="1600" kern="0" dirty="0">
                <a:solidFill>
                  <a:srgbClr val="505050"/>
                </a:solidFill>
                <a:latin typeface="Segoe UI"/>
              </a:rPr>
            </a:br>
            <a:r>
              <a:rPr lang="en-US" sz="1600" kern="0" dirty="0">
                <a:solidFill>
                  <a:srgbClr val="505050"/>
                </a:solidFill>
                <a:latin typeface="Segoe UI"/>
              </a:rPr>
              <a:t>Across Resources </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HOW</a:t>
            </a:r>
            <a:br>
              <a:rPr lang="en-US" sz="1600" kern="0" dirty="0">
                <a:solidFill>
                  <a:srgbClr val="505050"/>
                </a:solidFill>
                <a:latin typeface="Segoe UI"/>
              </a:rPr>
            </a:br>
            <a:r>
              <a:rPr lang="en-US" sz="1600" kern="0" dirty="0">
                <a:solidFill>
                  <a:srgbClr val="505050"/>
                </a:solidFill>
                <a:latin typeface="Segoe UI"/>
              </a:rPr>
              <a:t>In service and in guest </a:t>
            </a:r>
          </a:p>
        </p:txBody>
      </p:sp>
    </p:spTree>
    <p:extLst>
      <p:ext uri="{BB962C8B-B14F-4D97-AF65-F5344CB8AC3E}">
        <p14:creationId xmlns:p14="http://schemas.microsoft.com/office/powerpoint/2010/main" val="4086836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1325563"/>
          </a:xfrm>
        </p:spPr>
        <p:txBody>
          <a:bodyPr/>
          <a:lstStyle/>
          <a:p>
            <a:r>
              <a:rPr lang="en-US" dirty="0"/>
              <a:t>What is ARM?</a:t>
            </a:r>
          </a:p>
        </p:txBody>
      </p:sp>
      <p:sp>
        <p:nvSpPr>
          <p:cNvPr id="3" name="Content Placeholder 2"/>
          <p:cNvSpPr>
            <a:spLocks noGrp="1"/>
          </p:cNvSpPr>
          <p:nvPr>
            <p:ph idx="1"/>
          </p:nvPr>
        </p:nvSpPr>
        <p:spPr>
          <a:xfrm>
            <a:off x="127001" y="1613548"/>
            <a:ext cx="4584699" cy="4368152"/>
          </a:xfrm>
        </p:spPr>
        <p:txBody>
          <a:bodyPr>
            <a:normAutofit/>
          </a:bodyPr>
          <a:lstStyle/>
          <a:p>
            <a:pPr>
              <a:lnSpc>
                <a:spcPct val="150000"/>
              </a:lnSpc>
            </a:pPr>
            <a:r>
              <a:rPr lang="en-US" dirty="0"/>
              <a:t>Resource</a:t>
            </a:r>
          </a:p>
          <a:p>
            <a:pPr>
              <a:lnSpc>
                <a:spcPct val="150000"/>
              </a:lnSpc>
            </a:pPr>
            <a:r>
              <a:rPr lang="en-US" dirty="0"/>
              <a:t>Resource Group</a:t>
            </a:r>
          </a:p>
          <a:p>
            <a:pPr>
              <a:lnSpc>
                <a:spcPct val="150000"/>
              </a:lnSpc>
            </a:pPr>
            <a:r>
              <a:rPr lang="en-US" dirty="0"/>
              <a:t>Resource Provider </a:t>
            </a:r>
          </a:p>
          <a:p>
            <a:pPr>
              <a:lnSpc>
                <a:spcPct val="150000"/>
              </a:lnSpc>
            </a:pPr>
            <a:r>
              <a:rPr lang="en-US" dirty="0"/>
              <a:t>Resource Manager Template</a:t>
            </a:r>
          </a:p>
        </p:txBody>
      </p:sp>
      <p:pic>
        <p:nvPicPr>
          <p:cNvPr id="5122" name="Picture 2" descr="Resource Manager request mode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1937" y="1325562"/>
            <a:ext cx="7241458" cy="43894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37873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3196754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12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199" y="0"/>
            <a:ext cx="10515600" cy="1325563"/>
          </a:xfrm>
        </p:spPr>
        <p:txBody>
          <a:bodyPr/>
          <a:lstStyle/>
          <a:p>
            <a:r>
              <a:rPr lang="en-US" dirty="0"/>
              <a:t>ARM Templates - Structure</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172113181"/>
              </p:ext>
            </p:extLst>
          </p:nvPr>
        </p:nvGraphicFramePr>
        <p:xfrm>
          <a:off x="838199" y="3021978"/>
          <a:ext cx="9724696" cy="3701463"/>
        </p:xfrm>
        <a:graphic>
          <a:graphicData uri="http://schemas.openxmlformats.org/drawingml/2006/table">
            <a:tbl>
              <a:tblPr/>
              <a:tblGrid>
                <a:gridCol w="1585838">
                  <a:extLst>
                    <a:ext uri="{9D8B030D-6E8A-4147-A177-3AD203B41FA5}">
                      <a16:colId xmlns:a16="http://schemas.microsoft.com/office/drawing/2014/main" val="3094396582"/>
                    </a:ext>
                  </a:extLst>
                </a:gridCol>
                <a:gridCol w="1036893">
                  <a:extLst>
                    <a:ext uri="{9D8B030D-6E8A-4147-A177-3AD203B41FA5}">
                      <a16:colId xmlns:a16="http://schemas.microsoft.com/office/drawing/2014/main" val="97210441"/>
                    </a:ext>
                  </a:extLst>
                </a:gridCol>
                <a:gridCol w="7101965">
                  <a:extLst>
                    <a:ext uri="{9D8B030D-6E8A-4147-A177-3AD203B41FA5}">
                      <a16:colId xmlns:a16="http://schemas.microsoft.com/office/drawing/2014/main" val="3384330270"/>
                    </a:ext>
                  </a:extLst>
                </a:gridCol>
              </a:tblGrid>
              <a:tr h="411700">
                <a:tc>
                  <a:txBody>
                    <a:bodyPr/>
                    <a:lstStyle/>
                    <a:p>
                      <a:pPr marL="0" marR="0" fontAlgn="t">
                        <a:spcBef>
                          <a:spcPts val="0"/>
                        </a:spcBef>
                        <a:spcAft>
                          <a:spcPts val="0"/>
                        </a:spcAft>
                      </a:pPr>
                      <a:r>
                        <a:rPr lang="en-US" sz="1400" b="1">
                          <a:solidFill>
                            <a:srgbClr val="D5D5D5"/>
                          </a:solidFill>
                          <a:effectLst/>
                          <a:latin typeface="segoe-ui_semibold"/>
                        </a:rPr>
                        <a:t>Element name</a:t>
                      </a:r>
                      <a:endParaRPr lang="en-US" sz="14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b="1">
                          <a:solidFill>
                            <a:srgbClr val="D5D5D5"/>
                          </a:solidFill>
                          <a:effectLst/>
                          <a:latin typeface="segoe-ui_semibold"/>
                        </a:rPr>
                        <a:t>Required</a:t>
                      </a:r>
                      <a:endParaRPr lang="en-US" sz="14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b="1">
                          <a:solidFill>
                            <a:srgbClr val="D5D5D5"/>
                          </a:solidFill>
                          <a:effectLst/>
                          <a:latin typeface="segoe-ui_semibold"/>
                        </a:rPr>
                        <a:t>Description</a:t>
                      </a:r>
                      <a:endParaRPr lang="en-US" sz="14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564615006"/>
                  </a:ext>
                </a:extLst>
              </a:tr>
              <a:tr h="668043">
                <a:tc>
                  <a:txBody>
                    <a:bodyPr/>
                    <a:lstStyle/>
                    <a:p>
                      <a:pPr marL="0" marR="0" fontAlgn="t">
                        <a:spcBef>
                          <a:spcPts val="0"/>
                        </a:spcBef>
                        <a:spcAft>
                          <a:spcPts val="0"/>
                        </a:spcAft>
                      </a:pPr>
                      <a:r>
                        <a:rPr lang="en-US" sz="1400">
                          <a:solidFill>
                            <a:srgbClr val="D5D5D5"/>
                          </a:solidFill>
                          <a:effectLst/>
                          <a:latin typeface="segoe-ui_normal"/>
                        </a:rPr>
                        <a:t>$schema</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Location of the JSON schema file that describes the version of the template language. Use the URL shown in the preceding exampl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758143910"/>
                  </a:ext>
                </a:extLst>
              </a:tr>
              <a:tr h="741680">
                <a:tc>
                  <a:txBody>
                    <a:bodyPr/>
                    <a:lstStyle/>
                    <a:p>
                      <a:pPr marL="0" marR="0" fontAlgn="t">
                        <a:spcBef>
                          <a:spcPts val="0"/>
                        </a:spcBef>
                        <a:spcAft>
                          <a:spcPts val="0"/>
                        </a:spcAft>
                      </a:pPr>
                      <a:r>
                        <a:rPr lang="en-US" sz="1400">
                          <a:solidFill>
                            <a:srgbClr val="D5D5D5"/>
                          </a:solidFill>
                          <a:effectLst/>
                          <a:latin typeface="segoe-ui_normal"/>
                        </a:rPr>
                        <a:t>contentVersion</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ersion of the template (such as 1.0.0.0). You can provide any value for this element. When deploying resources using the template, this value can be used to make sure that the right template is being used.</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801806989"/>
                  </a:ext>
                </a:extLst>
              </a:tr>
              <a:tr h="528320">
                <a:tc>
                  <a:txBody>
                    <a:bodyPr/>
                    <a:lstStyle/>
                    <a:p>
                      <a:pPr marL="0" marR="0" fontAlgn="t">
                        <a:spcBef>
                          <a:spcPts val="0"/>
                        </a:spcBef>
                        <a:spcAft>
                          <a:spcPts val="0"/>
                        </a:spcAft>
                      </a:pPr>
                      <a:r>
                        <a:rPr lang="en-US" sz="1400">
                          <a:solidFill>
                            <a:srgbClr val="D5D5D5"/>
                          </a:solidFill>
                          <a:effectLst/>
                          <a:latin typeface="segoe-ui_normal"/>
                        </a:rPr>
                        <a:t>parameter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alues that are provided when deployment is executed to customize resource deployment.</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239636010"/>
                  </a:ext>
                </a:extLst>
              </a:tr>
              <a:tr h="528320">
                <a:tc>
                  <a:txBody>
                    <a:bodyPr/>
                    <a:lstStyle/>
                    <a:p>
                      <a:pPr marL="0" marR="0" fontAlgn="t">
                        <a:spcBef>
                          <a:spcPts val="0"/>
                        </a:spcBef>
                        <a:spcAft>
                          <a:spcPts val="0"/>
                        </a:spcAft>
                      </a:pPr>
                      <a:r>
                        <a:rPr lang="en-US" sz="1400">
                          <a:solidFill>
                            <a:srgbClr val="D5D5D5"/>
                          </a:solidFill>
                          <a:effectLst/>
                          <a:latin typeface="segoe-ui_normal"/>
                        </a:rPr>
                        <a:t>variabl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alues that are used as JSON fragments in the template to simplify template language expression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38690508"/>
                  </a:ext>
                </a:extLst>
              </a:tr>
              <a:tr h="411700">
                <a:tc>
                  <a:txBody>
                    <a:bodyPr/>
                    <a:lstStyle/>
                    <a:p>
                      <a:pPr marL="0" marR="0" fontAlgn="t">
                        <a:spcBef>
                          <a:spcPts val="0"/>
                        </a:spcBef>
                        <a:spcAft>
                          <a:spcPts val="0"/>
                        </a:spcAft>
                      </a:pPr>
                      <a:r>
                        <a:rPr lang="en-US" sz="1400">
                          <a:solidFill>
                            <a:srgbClr val="D5D5D5"/>
                          </a:solidFill>
                          <a:effectLst/>
                          <a:latin typeface="segoe-ui_normal"/>
                        </a:rPr>
                        <a:t>resourc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Resource types that are deployed or updated in a resource group.</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88129954"/>
                  </a:ext>
                </a:extLst>
              </a:tr>
              <a:tr h="411700">
                <a:tc>
                  <a:txBody>
                    <a:bodyPr/>
                    <a:lstStyle/>
                    <a:p>
                      <a:pPr marL="0" marR="0" fontAlgn="t">
                        <a:spcBef>
                          <a:spcPts val="0"/>
                        </a:spcBef>
                        <a:spcAft>
                          <a:spcPts val="0"/>
                        </a:spcAft>
                      </a:pPr>
                      <a:r>
                        <a:rPr lang="en-US" sz="1400">
                          <a:solidFill>
                            <a:srgbClr val="D5D5D5"/>
                          </a:solidFill>
                          <a:effectLst/>
                          <a:latin typeface="segoe-ui_normal"/>
                        </a:rPr>
                        <a:t>output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alues that are returned after deployment.</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35058963"/>
                  </a:ext>
                </a:extLst>
              </a:tr>
            </a:tbl>
          </a:graphicData>
        </a:graphic>
      </p:graphicFrame>
      <p:pic>
        <p:nvPicPr>
          <p:cNvPr id="8" name="Picture 7"/>
          <p:cNvPicPr>
            <a:picLocks noChangeAspect="1"/>
          </p:cNvPicPr>
          <p:nvPr/>
        </p:nvPicPr>
        <p:blipFill>
          <a:blip r:embed="rId3"/>
          <a:stretch>
            <a:fillRect/>
          </a:stretch>
        </p:blipFill>
        <p:spPr>
          <a:xfrm>
            <a:off x="838199" y="1020406"/>
            <a:ext cx="8589579" cy="1861449"/>
          </a:xfrm>
          <a:prstGeom prst="rect">
            <a:avLst/>
          </a:prstGeom>
        </p:spPr>
      </p:pic>
    </p:spTree>
    <p:extLst>
      <p:ext uri="{BB962C8B-B14F-4D97-AF65-F5344CB8AC3E}">
        <p14:creationId xmlns:p14="http://schemas.microsoft.com/office/powerpoint/2010/main" val="422066424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mplate Deployment Mode</a:t>
            </a:r>
          </a:p>
        </p:txBody>
      </p:sp>
      <p:sp>
        <p:nvSpPr>
          <p:cNvPr id="3" name="Content Placeholder 2"/>
          <p:cNvSpPr>
            <a:spLocks noGrp="1"/>
          </p:cNvSpPr>
          <p:nvPr>
            <p:ph idx="1"/>
          </p:nvPr>
        </p:nvSpPr>
        <p:spPr/>
        <p:txBody>
          <a:bodyPr/>
          <a:lstStyle/>
          <a:p>
            <a:r>
              <a:rPr lang="en-US" dirty="0"/>
              <a:t>Complete: Resource Manager </a:t>
            </a:r>
            <a:r>
              <a:rPr lang="en-US" b="1" dirty="0"/>
              <a:t>deletes</a:t>
            </a:r>
            <a:r>
              <a:rPr lang="en-US" dirty="0"/>
              <a:t> resources that exist in the resource group but are not specified in the template. </a:t>
            </a:r>
          </a:p>
          <a:p>
            <a:endParaRPr lang="en-US" dirty="0"/>
          </a:p>
          <a:p>
            <a:endParaRPr lang="en-US" dirty="0"/>
          </a:p>
          <a:p>
            <a:r>
              <a:rPr lang="en-US" b="1" dirty="0"/>
              <a:t>Incremental</a:t>
            </a:r>
            <a:r>
              <a:rPr lang="en-US" dirty="0"/>
              <a:t>: Resource Manager </a:t>
            </a:r>
            <a:r>
              <a:rPr lang="en-US" b="1" dirty="0"/>
              <a:t>leaves unchanged</a:t>
            </a:r>
            <a:r>
              <a:rPr lang="en-US" dirty="0"/>
              <a:t> resources that exist in the resource group but are not specified in the template.</a:t>
            </a:r>
          </a:p>
          <a:p>
            <a:pPr lvl="1"/>
            <a:endParaRPr lang="en-US" dirty="0"/>
          </a:p>
          <a:p>
            <a:endParaRPr lang="en-US" dirty="0"/>
          </a:p>
          <a:p>
            <a:endParaRPr lang="en-US" dirty="0"/>
          </a:p>
        </p:txBody>
      </p:sp>
    </p:spTree>
    <p:extLst>
      <p:ext uri="{BB962C8B-B14F-4D97-AF65-F5344CB8AC3E}">
        <p14:creationId xmlns:p14="http://schemas.microsoft.com/office/powerpoint/2010/main" val="1503610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D19FF3D-31C0-4D0E-8C98-EEF92F9E1E2B}"/>
              </a:ext>
            </a:extLst>
          </p:cNvPr>
          <p:cNvSpPr>
            <a:spLocks noGrp="1"/>
          </p:cNvSpPr>
          <p:nvPr>
            <p:ph idx="1"/>
          </p:nvPr>
        </p:nvSpPr>
        <p:spPr>
          <a:xfrm>
            <a:off x="500269" y="374512"/>
            <a:ext cx="11426688" cy="6225072"/>
          </a:xfrm>
        </p:spPr>
        <p:txBody>
          <a:bodyPr>
            <a:noAutofit/>
          </a:bodyPr>
          <a:lstStyle/>
          <a:p>
            <a:r>
              <a:rPr lang="en-US" sz="3200" b="1" dirty="0"/>
              <a:t>Existing Resource Group 			</a:t>
            </a:r>
          </a:p>
          <a:p>
            <a:pPr marL="0" indent="0">
              <a:buNone/>
            </a:pPr>
            <a:r>
              <a:rPr lang="en-US" sz="3200" b="1" dirty="0"/>
              <a:t>  contains:</a:t>
            </a:r>
          </a:p>
          <a:p>
            <a:r>
              <a:rPr lang="en-US" sz="3200" dirty="0"/>
              <a:t>Resource A</a:t>
            </a:r>
          </a:p>
          <a:p>
            <a:r>
              <a:rPr lang="en-US" sz="3200" dirty="0"/>
              <a:t>Resource B</a:t>
            </a:r>
          </a:p>
          <a:p>
            <a:r>
              <a:rPr lang="en-US" sz="3200" dirty="0"/>
              <a:t>Resource C</a:t>
            </a:r>
          </a:p>
          <a:p>
            <a:endParaRPr lang="en-US" sz="4000" dirty="0"/>
          </a:p>
          <a:p>
            <a:r>
              <a:rPr lang="en-US" sz="4000" dirty="0"/>
              <a:t>Template defines:</a:t>
            </a:r>
          </a:p>
          <a:p>
            <a:r>
              <a:rPr lang="en-US" sz="3200" dirty="0"/>
              <a:t>Resource A</a:t>
            </a:r>
          </a:p>
          <a:p>
            <a:r>
              <a:rPr lang="en-US" sz="3200" dirty="0"/>
              <a:t>Resource B</a:t>
            </a:r>
          </a:p>
          <a:p>
            <a:r>
              <a:rPr lang="en-US" sz="3200" dirty="0"/>
              <a:t>Resource D</a:t>
            </a:r>
          </a:p>
          <a:p>
            <a:endParaRPr lang="en-US" sz="4000" dirty="0"/>
          </a:p>
          <a:p>
            <a:endParaRPr lang="en-US" sz="4000" dirty="0"/>
          </a:p>
          <a:p>
            <a:endParaRPr lang="en-US" sz="4000" dirty="0"/>
          </a:p>
        </p:txBody>
      </p:sp>
      <p:cxnSp>
        <p:nvCxnSpPr>
          <p:cNvPr id="5" name="Straight Connector 4">
            <a:extLst>
              <a:ext uri="{FF2B5EF4-FFF2-40B4-BE49-F238E27FC236}">
                <a16:creationId xmlns:a16="http://schemas.microsoft.com/office/drawing/2014/main" id="{227E7652-4FAA-476F-9AEC-EAC772BCBD18}"/>
              </a:ext>
            </a:extLst>
          </p:cNvPr>
          <p:cNvCxnSpPr>
            <a:endCxn id="3" idx="2"/>
          </p:cNvCxnSpPr>
          <p:nvPr/>
        </p:nvCxnSpPr>
        <p:spPr>
          <a:xfrm>
            <a:off x="6162261" y="477079"/>
            <a:ext cx="51352" cy="612250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8721D179-0E93-47D4-AD8F-014668500010}"/>
              </a:ext>
            </a:extLst>
          </p:cNvPr>
          <p:cNvSpPr/>
          <p:nvPr/>
        </p:nvSpPr>
        <p:spPr>
          <a:xfrm>
            <a:off x="6182139" y="2782957"/>
            <a:ext cx="5744818" cy="2305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32" tIns="45715" rIns="91432" bIns="45715" rtlCol="0" anchor="ctr"/>
          <a:lstStyle/>
          <a:p>
            <a:pPr algn="ctr"/>
            <a:r>
              <a:rPr lang="en-US" dirty="0"/>
              <a:t>When deployed in complete mode, Resource C is deleted. The resource group contains:</a:t>
            </a:r>
          </a:p>
          <a:p>
            <a:pPr algn="ctr"/>
            <a:endParaRPr lang="en-US" dirty="0"/>
          </a:p>
          <a:p>
            <a:pPr algn="ctr"/>
            <a:r>
              <a:rPr lang="en-US" dirty="0"/>
              <a:t>Resource A</a:t>
            </a:r>
          </a:p>
          <a:p>
            <a:pPr algn="ctr"/>
            <a:r>
              <a:rPr lang="en-US" dirty="0"/>
              <a:t>Resource B</a:t>
            </a:r>
          </a:p>
          <a:p>
            <a:pPr algn="ctr"/>
            <a:r>
              <a:rPr lang="en-US" dirty="0"/>
              <a:t>Resource D</a:t>
            </a:r>
          </a:p>
          <a:p>
            <a:pPr algn="ctr"/>
            <a:endParaRPr lang="en-US" dirty="0"/>
          </a:p>
          <a:p>
            <a:pPr algn="ctr"/>
            <a:endParaRPr lang="en-US" dirty="0"/>
          </a:p>
        </p:txBody>
      </p:sp>
      <p:sp>
        <p:nvSpPr>
          <p:cNvPr id="7" name="Rectangle 6">
            <a:extLst>
              <a:ext uri="{FF2B5EF4-FFF2-40B4-BE49-F238E27FC236}">
                <a16:creationId xmlns:a16="http://schemas.microsoft.com/office/drawing/2014/main" id="{398EADDC-B227-48F1-96A6-0B2E71CC912D}"/>
              </a:ext>
            </a:extLst>
          </p:cNvPr>
          <p:cNvSpPr/>
          <p:nvPr/>
        </p:nvSpPr>
        <p:spPr>
          <a:xfrm>
            <a:off x="6182139" y="5474878"/>
            <a:ext cx="5693466" cy="400110"/>
          </a:xfrm>
          <a:prstGeom prst="rect">
            <a:avLst/>
          </a:prstGeom>
        </p:spPr>
        <p:txBody>
          <a:bodyPr wrap="square" lIns="91432" tIns="45715" rIns="91432" bIns="45715">
            <a:spAutoFit/>
          </a:bodyPr>
          <a:lstStyle/>
          <a:p>
            <a:r>
              <a:rPr lang="en-US" sz="2000" b="1" dirty="0"/>
              <a:t>To use complete mode, use the Mode parameter</a:t>
            </a:r>
          </a:p>
        </p:txBody>
      </p:sp>
      <p:sp>
        <p:nvSpPr>
          <p:cNvPr id="8" name="Rectangle 7">
            <a:extLst>
              <a:ext uri="{FF2B5EF4-FFF2-40B4-BE49-F238E27FC236}">
                <a16:creationId xmlns:a16="http://schemas.microsoft.com/office/drawing/2014/main" id="{1781C608-F471-4856-89C4-F3107E44F39E}"/>
              </a:ext>
            </a:extLst>
          </p:cNvPr>
          <p:cNvSpPr/>
          <p:nvPr/>
        </p:nvSpPr>
        <p:spPr>
          <a:xfrm>
            <a:off x="6172200" y="425796"/>
            <a:ext cx="5744818" cy="2305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32" tIns="45715" rIns="91432" bIns="45715" rtlCol="0" anchor="ctr"/>
          <a:lstStyle/>
          <a:p>
            <a:pPr algn="ctr"/>
            <a:endParaRPr lang="en-US" dirty="0"/>
          </a:p>
          <a:p>
            <a:pPr algn="ctr"/>
            <a:r>
              <a:rPr lang="en-US" dirty="0"/>
              <a:t>When deployed in incremental  mode, Resource C is deleted. The resource group contains:</a:t>
            </a:r>
          </a:p>
          <a:p>
            <a:pPr algn="ctr"/>
            <a:endParaRPr lang="en-US" dirty="0"/>
          </a:p>
          <a:p>
            <a:pPr algn="ctr"/>
            <a:r>
              <a:rPr lang="en-US" dirty="0"/>
              <a:t>Resource A</a:t>
            </a:r>
          </a:p>
          <a:p>
            <a:pPr algn="ctr"/>
            <a:r>
              <a:rPr lang="en-US" dirty="0"/>
              <a:t>Resource B</a:t>
            </a:r>
          </a:p>
          <a:p>
            <a:pPr algn="ctr"/>
            <a:r>
              <a:rPr lang="en-US" dirty="0"/>
              <a:t>Resource C</a:t>
            </a:r>
          </a:p>
          <a:p>
            <a:pPr algn="ctr"/>
            <a:r>
              <a:rPr lang="en-US" dirty="0"/>
              <a:t>Resource D</a:t>
            </a:r>
          </a:p>
          <a:p>
            <a:pPr algn="ctr"/>
            <a:endParaRPr lang="en-US" dirty="0"/>
          </a:p>
          <a:p>
            <a:pPr algn="ctr"/>
            <a:endParaRPr lang="en-US" dirty="0"/>
          </a:p>
        </p:txBody>
      </p:sp>
    </p:spTree>
    <p:extLst>
      <p:ext uri="{BB962C8B-B14F-4D97-AF65-F5344CB8AC3E}">
        <p14:creationId xmlns:p14="http://schemas.microsoft.com/office/powerpoint/2010/main" val="4170997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500"/>
                                        <p:tgtEl>
                                          <p:spTgt spid="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7"/>
                                        </p:tgtEl>
                                        <p:attrNameLst>
                                          <p:attrName>style.visibility</p:attrName>
                                        </p:attrNameLst>
                                      </p:cBhvr>
                                      <p:to>
                                        <p:strVal val="visible"/>
                                      </p:to>
                                    </p:set>
                                    <p:animEffect transition="in" filter="fade">
                                      <p:cBhvr>
                                        <p:cTn id="3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animBg="1"/>
    </p:bldLst>
  </p:timing>
</p:sld>
</file>

<file path=ppt/slides/slide12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Parameters</a:t>
            </a:r>
          </a:p>
        </p:txBody>
      </p:sp>
      <p:sp>
        <p:nvSpPr>
          <p:cNvPr id="3" name="Content Placeholder 2"/>
          <p:cNvSpPr>
            <a:spLocks noGrp="1"/>
          </p:cNvSpPr>
          <p:nvPr>
            <p:ph idx="1"/>
          </p:nvPr>
        </p:nvSpPr>
        <p:spPr>
          <a:xfrm>
            <a:off x="7088778" y="1341121"/>
            <a:ext cx="4371702" cy="2516776"/>
          </a:xfrm>
        </p:spPr>
        <p:txBody>
          <a:bodyPr>
            <a:normAutofit fontScale="92500" lnSpcReduction="20000"/>
          </a:bodyPr>
          <a:lstStyle/>
          <a:p>
            <a:r>
              <a:rPr lang="en-US" dirty="0"/>
              <a:t>Allowed Types</a:t>
            </a:r>
          </a:p>
          <a:p>
            <a:pPr lvl="1"/>
            <a:r>
              <a:rPr lang="en-US" dirty="0"/>
              <a:t>string</a:t>
            </a:r>
          </a:p>
          <a:p>
            <a:pPr lvl="1"/>
            <a:r>
              <a:rPr lang="en-US" dirty="0" err="1"/>
              <a:t>secureString</a:t>
            </a:r>
            <a:endParaRPr lang="en-US" dirty="0"/>
          </a:p>
          <a:p>
            <a:pPr lvl="1"/>
            <a:r>
              <a:rPr lang="en-US" dirty="0" err="1"/>
              <a:t>int</a:t>
            </a:r>
            <a:endParaRPr lang="en-US" dirty="0"/>
          </a:p>
          <a:p>
            <a:pPr lvl="1"/>
            <a:r>
              <a:rPr lang="en-US" dirty="0"/>
              <a:t>bool</a:t>
            </a:r>
          </a:p>
          <a:p>
            <a:pPr lvl="1"/>
            <a:r>
              <a:rPr lang="en-US" dirty="0"/>
              <a:t>object</a:t>
            </a:r>
          </a:p>
          <a:p>
            <a:pPr lvl="1"/>
            <a:r>
              <a:rPr lang="en-US" dirty="0" err="1"/>
              <a:t>secureObject</a:t>
            </a:r>
            <a:endParaRPr lang="en-US" dirty="0"/>
          </a:p>
          <a:p>
            <a:pPr lvl="1"/>
            <a:r>
              <a:rPr lang="en-US" dirty="0"/>
              <a:t>array</a:t>
            </a:r>
          </a:p>
          <a:p>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796667812"/>
              </p:ext>
            </p:extLst>
          </p:nvPr>
        </p:nvGraphicFramePr>
        <p:xfrm>
          <a:off x="924807" y="1403168"/>
          <a:ext cx="6163970" cy="3865880"/>
        </p:xfrm>
        <a:graphic>
          <a:graphicData uri="http://schemas.openxmlformats.org/drawingml/2006/table">
            <a:tbl>
              <a:tblPr/>
              <a:tblGrid>
                <a:gridCol w="1158545">
                  <a:extLst>
                    <a:ext uri="{9D8B030D-6E8A-4147-A177-3AD203B41FA5}">
                      <a16:colId xmlns:a16="http://schemas.microsoft.com/office/drawing/2014/main" val="3080702475"/>
                    </a:ext>
                  </a:extLst>
                </a:gridCol>
                <a:gridCol w="705002">
                  <a:extLst>
                    <a:ext uri="{9D8B030D-6E8A-4147-A177-3AD203B41FA5}">
                      <a16:colId xmlns:a16="http://schemas.microsoft.com/office/drawing/2014/main" val="1070355923"/>
                    </a:ext>
                  </a:extLst>
                </a:gridCol>
                <a:gridCol w="4300423">
                  <a:extLst>
                    <a:ext uri="{9D8B030D-6E8A-4147-A177-3AD203B41FA5}">
                      <a16:colId xmlns:a16="http://schemas.microsoft.com/office/drawing/2014/main" val="4261229529"/>
                    </a:ext>
                  </a:extLst>
                </a:gridCol>
              </a:tblGrid>
              <a:tr h="436880">
                <a:tc>
                  <a:txBody>
                    <a:bodyPr/>
                    <a:lstStyle/>
                    <a:p>
                      <a:pPr marL="0" marR="0" fontAlgn="t">
                        <a:spcBef>
                          <a:spcPts val="0"/>
                        </a:spcBef>
                        <a:spcAft>
                          <a:spcPts val="0"/>
                        </a:spcAft>
                      </a:pPr>
                      <a:r>
                        <a:rPr lang="en-US" sz="1100" b="1">
                          <a:solidFill>
                            <a:srgbClr val="D5D5D5"/>
                          </a:solidFill>
                          <a:effectLst/>
                          <a:latin typeface="segoe-ui_semibold"/>
                        </a:rPr>
                        <a:t>Element name</a:t>
                      </a:r>
                      <a:endParaRPr lang="en-US" sz="11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b="1">
                          <a:solidFill>
                            <a:srgbClr val="D5D5D5"/>
                          </a:solidFill>
                          <a:effectLst/>
                          <a:latin typeface="segoe-ui_semibold"/>
                        </a:rPr>
                        <a:t>Required</a:t>
                      </a:r>
                      <a:endParaRPr lang="en-US" sz="11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b="1">
                          <a:solidFill>
                            <a:srgbClr val="D5D5D5"/>
                          </a:solidFill>
                          <a:effectLst/>
                          <a:latin typeface="segoe-ui_semibold"/>
                        </a:rPr>
                        <a:t>Description</a:t>
                      </a:r>
                      <a:endParaRPr lang="en-US" sz="11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714276373"/>
                  </a:ext>
                </a:extLst>
              </a:tr>
              <a:tr h="269240">
                <a:tc>
                  <a:txBody>
                    <a:bodyPr/>
                    <a:lstStyle/>
                    <a:p>
                      <a:pPr marL="0" marR="0" fontAlgn="t">
                        <a:spcBef>
                          <a:spcPts val="0"/>
                        </a:spcBef>
                        <a:spcAft>
                          <a:spcPts val="0"/>
                        </a:spcAft>
                      </a:pPr>
                      <a:r>
                        <a:rPr lang="en-US" sz="1100">
                          <a:solidFill>
                            <a:srgbClr val="D5D5D5"/>
                          </a:solidFill>
                          <a:effectLst/>
                          <a:latin typeface="segoe-ui_normal"/>
                        </a:rPr>
                        <a:t>parameterNam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ame of the parameter. Must be a valid JavaScript identifier.</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510466831"/>
                  </a:ext>
                </a:extLst>
              </a:tr>
              <a:tr h="436880">
                <a:tc>
                  <a:txBody>
                    <a:bodyPr/>
                    <a:lstStyle/>
                    <a:p>
                      <a:pPr marL="0" marR="0" fontAlgn="t">
                        <a:spcBef>
                          <a:spcPts val="0"/>
                        </a:spcBef>
                        <a:spcAft>
                          <a:spcPts val="0"/>
                        </a:spcAft>
                      </a:pPr>
                      <a:r>
                        <a:rPr lang="en-US" sz="1100">
                          <a:solidFill>
                            <a:srgbClr val="D5D5D5"/>
                          </a:solidFill>
                          <a:effectLst/>
                          <a:latin typeface="segoe-ui_normal"/>
                        </a:rPr>
                        <a:t>typ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Type of the parameter value. See the list of allowed types after this tabl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62184111"/>
                  </a:ext>
                </a:extLst>
              </a:tr>
              <a:tr h="436880">
                <a:tc>
                  <a:txBody>
                    <a:bodyPr/>
                    <a:lstStyle/>
                    <a:p>
                      <a:pPr marL="0" marR="0" fontAlgn="t">
                        <a:spcBef>
                          <a:spcPts val="0"/>
                        </a:spcBef>
                        <a:spcAft>
                          <a:spcPts val="0"/>
                        </a:spcAft>
                      </a:pPr>
                      <a:r>
                        <a:rPr lang="en-US" sz="1100">
                          <a:solidFill>
                            <a:srgbClr val="D5D5D5"/>
                          </a:solidFill>
                          <a:effectLst/>
                          <a:latin typeface="segoe-ui_normal"/>
                        </a:rPr>
                        <a:t>defaultValu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Default value for the parameter, if no value is provided for the parameter.</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117282875"/>
                  </a:ext>
                </a:extLst>
              </a:tr>
              <a:tr h="436880">
                <a:tc>
                  <a:txBody>
                    <a:bodyPr/>
                    <a:lstStyle/>
                    <a:p>
                      <a:pPr marL="0" marR="0" fontAlgn="t">
                        <a:spcBef>
                          <a:spcPts val="0"/>
                        </a:spcBef>
                        <a:spcAft>
                          <a:spcPts val="0"/>
                        </a:spcAft>
                      </a:pPr>
                      <a:r>
                        <a:rPr lang="en-US" sz="1100">
                          <a:solidFill>
                            <a:srgbClr val="D5D5D5"/>
                          </a:solidFill>
                          <a:effectLst/>
                          <a:latin typeface="segoe-ui_normal"/>
                        </a:rPr>
                        <a:t>allowedValu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Array of allowed values for the parameter to make sure that the right value is provided.</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558736276"/>
                  </a:ext>
                </a:extLst>
              </a:tr>
              <a:tr h="269240">
                <a:tc>
                  <a:txBody>
                    <a:bodyPr/>
                    <a:lstStyle/>
                    <a:p>
                      <a:pPr marL="0" marR="0" fontAlgn="t">
                        <a:spcBef>
                          <a:spcPts val="0"/>
                        </a:spcBef>
                        <a:spcAft>
                          <a:spcPts val="0"/>
                        </a:spcAft>
                      </a:pPr>
                      <a:r>
                        <a:rPr lang="en-US" sz="1100">
                          <a:solidFill>
                            <a:srgbClr val="D5D5D5"/>
                          </a:solidFill>
                          <a:effectLst/>
                          <a:latin typeface="segoe-ui_normal"/>
                        </a:rPr>
                        <a:t>minValu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inimum value for int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09014461"/>
                  </a:ext>
                </a:extLst>
              </a:tr>
              <a:tr h="269240">
                <a:tc>
                  <a:txBody>
                    <a:bodyPr/>
                    <a:lstStyle/>
                    <a:p>
                      <a:pPr marL="0" marR="0" fontAlgn="t">
                        <a:spcBef>
                          <a:spcPts val="0"/>
                        </a:spcBef>
                        <a:spcAft>
                          <a:spcPts val="0"/>
                        </a:spcAft>
                      </a:pPr>
                      <a:r>
                        <a:rPr lang="en-US" sz="1100">
                          <a:solidFill>
                            <a:srgbClr val="D5D5D5"/>
                          </a:solidFill>
                          <a:effectLst/>
                          <a:latin typeface="segoe-ui_normal"/>
                        </a:rPr>
                        <a:t>maxValu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aximum value for int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615680759"/>
                  </a:ext>
                </a:extLst>
              </a:tr>
              <a:tr h="436880">
                <a:tc>
                  <a:txBody>
                    <a:bodyPr/>
                    <a:lstStyle/>
                    <a:p>
                      <a:pPr marL="0" marR="0" fontAlgn="t">
                        <a:spcBef>
                          <a:spcPts val="0"/>
                        </a:spcBef>
                        <a:spcAft>
                          <a:spcPts val="0"/>
                        </a:spcAft>
                      </a:pPr>
                      <a:r>
                        <a:rPr lang="en-US" sz="1100">
                          <a:solidFill>
                            <a:srgbClr val="D5D5D5"/>
                          </a:solidFill>
                          <a:effectLst/>
                          <a:latin typeface="segoe-ui_normal"/>
                        </a:rPr>
                        <a:t>minLength</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inimum length for string, secureString, and array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385793417"/>
                  </a:ext>
                </a:extLst>
              </a:tr>
              <a:tr h="436880">
                <a:tc>
                  <a:txBody>
                    <a:bodyPr/>
                    <a:lstStyle/>
                    <a:p>
                      <a:pPr marL="0" marR="0" fontAlgn="t">
                        <a:spcBef>
                          <a:spcPts val="0"/>
                        </a:spcBef>
                        <a:spcAft>
                          <a:spcPts val="0"/>
                        </a:spcAft>
                      </a:pPr>
                      <a:r>
                        <a:rPr lang="en-US" sz="1100">
                          <a:solidFill>
                            <a:srgbClr val="D5D5D5"/>
                          </a:solidFill>
                          <a:effectLst/>
                          <a:latin typeface="segoe-ui_normal"/>
                        </a:rPr>
                        <a:t>maxLength</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aximum length for string, secureString, and array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659887292"/>
                  </a:ext>
                </a:extLst>
              </a:tr>
              <a:tr h="436880">
                <a:tc>
                  <a:txBody>
                    <a:bodyPr/>
                    <a:lstStyle/>
                    <a:p>
                      <a:pPr marL="0" marR="0" fontAlgn="t">
                        <a:spcBef>
                          <a:spcPts val="0"/>
                        </a:spcBef>
                        <a:spcAft>
                          <a:spcPts val="0"/>
                        </a:spcAft>
                      </a:pPr>
                      <a:r>
                        <a:rPr lang="en-US" sz="1100">
                          <a:solidFill>
                            <a:srgbClr val="D5D5D5"/>
                          </a:solidFill>
                          <a:effectLst/>
                          <a:latin typeface="segoe-ui_normal"/>
                        </a:rPr>
                        <a:t>description</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Description of the parameter that is displayed to users through the portal.</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847044494"/>
                  </a:ext>
                </a:extLst>
              </a:tr>
            </a:tbl>
          </a:graphicData>
        </a:graphic>
      </p:graphicFrame>
      <p:pic>
        <p:nvPicPr>
          <p:cNvPr id="6" name="Picture 5"/>
          <p:cNvPicPr>
            <a:picLocks noChangeAspect="1"/>
          </p:cNvPicPr>
          <p:nvPr/>
        </p:nvPicPr>
        <p:blipFill>
          <a:blip r:embed="rId3"/>
          <a:stretch>
            <a:fillRect/>
          </a:stretch>
        </p:blipFill>
        <p:spPr>
          <a:xfrm>
            <a:off x="7175385" y="3978860"/>
            <a:ext cx="4943986" cy="2245096"/>
          </a:xfrm>
          <a:prstGeom prst="rect">
            <a:avLst/>
          </a:prstGeom>
        </p:spPr>
      </p:pic>
    </p:spTree>
    <p:extLst>
      <p:ext uri="{BB962C8B-B14F-4D97-AF65-F5344CB8AC3E}">
        <p14:creationId xmlns:p14="http://schemas.microsoft.com/office/powerpoint/2010/main" val="427216194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91F94-057D-4EA7-9FB0-62853984FC8F}"/>
              </a:ext>
            </a:extLst>
          </p:cNvPr>
          <p:cNvSpPr>
            <a:spLocks noGrp="1"/>
          </p:cNvSpPr>
          <p:nvPr>
            <p:ph type="title"/>
          </p:nvPr>
        </p:nvSpPr>
        <p:spPr/>
        <p:txBody>
          <a:bodyPr/>
          <a:lstStyle/>
          <a:p>
            <a:r>
              <a:rPr lang="en-US" dirty="0"/>
              <a:t>Re-use ARM Templates</a:t>
            </a:r>
          </a:p>
        </p:txBody>
      </p:sp>
      <p:sp>
        <p:nvSpPr>
          <p:cNvPr id="3" name="Text Placeholder 2">
            <a:extLst>
              <a:ext uri="{FF2B5EF4-FFF2-40B4-BE49-F238E27FC236}">
                <a16:creationId xmlns:a16="http://schemas.microsoft.com/office/drawing/2014/main" id="{929ADB5E-2F24-4EF5-A5E4-9B33DA06A2E4}"/>
              </a:ext>
            </a:extLst>
          </p:cNvPr>
          <p:cNvSpPr>
            <a:spLocks noGrp="1"/>
          </p:cNvSpPr>
          <p:nvPr>
            <p:ph type="body" sz="quarter" idx="11"/>
          </p:nvPr>
        </p:nvSpPr>
        <p:spPr/>
        <p:txBody>
          <a:bodyPr/>
          <a:lstStyle/>
          <a:p>
            <a:r>
              <a:rPr lang="en-US" sz="3200" dirty="0"/>
              <a:t>By passing in </a:t>
            </a:r>
            <a:r>
              <a:rPr lang="en-US" sz="2800" dirty="0"/>
              <a:t>parameters</a:t>
            </a:r>
            <a:r>
              <a:rPr lang="en-US" sz="3200" dirty="0"/>
              <a:t> to your ARM Templates, you can re-use them in many different scenarios. You can deploy full solutions with t-shirt sizing (Small, Medium, Large) based on parameters you pass in: Size of VM, # of VMs, etc. </a:t>
            </a:r>
          </a:p>
          <a:p>
            <a:endParaRPr lang="en-US" sz="3200" dirty="0"/>
          </a:p>
          <a:p>
            <a:r>
              <a:rPr lang="en-US" sz="3200" dirty="0"/>
              <a:t>Be aware of what values in the ARM template need to be unique when re-using templates: </a:t>
            </a:r>
            <a:r>
              <a:rPr lang="en-US" sz="3200" dirty="0">
                <a:hlinkClick r:id="rId3"/>
              </a:rPr>
              <a:t>https://docs.microsoft.com/en-us/azure/azure-resource-manager/resource-manager-template-best-practices#resource-names</a:t>
            </a:r>
            <a:endParaRPr lang="en-US" sz="3200" dirty="0"/>
          </a:p>
          <a:p>
            <a:endParaRPr lang="en-US" sz="3200" dirty="0"/>
          </a:p>
          <a:p>
            <a:endParaRPr lang="en-US" sz="3200" dirty="0"/>
          </a:p>
        </p:txBody>
      </p:sp>
      <p:sp>
        <p:nvSpPr>
          <p:cNvPr id="4" name="Text Placeholder 3">
            <a:extLst>
              <a:ext uri="{FF2B5EF4-FFF2-40B4-BE49-F238E27FC236}">
                <a16:creationId xmlns:a16="http://schemas.microsoft.com/office/drawing/2014/main" id="{BD04B8BB-B217-4F9D-B549-3FC1E3378D17}"/>
              </a:ext>
            </a:extLst>
          </p:cNvPr>
          <p:cNvSpPr>
            <a:spLocks noGrp="1"/>
          </p:cNvSpPr>
          <p:nvPr>
            <p:ph type="body" sz="quarter" idx="10"/>
          </p:nvPr>
        </p:nvSpPr>
        <p:spPr/>
        <p:txBody>
          <a:bodyPr/>
          <a:lstStyle/>
          <a:p>
            <a:r>
              <a:rPr lang="en-US" dirty="0"/>
              <a:t>https://docs.microsoft.com/en-us/azure/azure-resource-manager/best-practices-resource-manager-design-templates</a:t>
            </a:r>
          </a:p>
        </p:txBody>
      </p:sp>
    </p:spTree>
    <p:extLst>
      <p:ext uri="{BB962C8B-B14F-4D97-AF65-F5344CB8AC3E}">
        <p14:creationId xmlns:p14="http://schemas.microsoft.com/office/powerpoint/2010/main" val="3700576750"/>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Variables</a:t>
            </a:r>
          </a:p>
        </p:txBody>
      </p:sp>
      <p:sp>
        <p:nvSpPr>
          <p:cNvPr id="3" name="Content Placeholder 2"/>
          <p:cNvSpPr>
            <a:spLocks noGrp="1"/>
          </p:cNvSpPr>
          <p:nvPr>
            <p:ph idx="1"/>
          </p:nvPr>
        </p:nvSpPr>
        <p:spPr>
          <a:xfrm>
            <a:off x="838201" y="3195783"/>
            <a:ext cx="11049000" cy="1593932"/>
          </a:xfrm>
        </p:spPr>
        <p:txBody>
          <a:bodyPr>
            <a:normAutofit fontScale="70000" lnSpcReduction="20000"/>
          </a:bodyPr>
          <a:lstStyle/>
          <a:p>
            <a:r>
              <a:rPr lang="en-US" dirty="0"/>
              <a:t>Use Variables for</a:t>
            </a:r>
          </a:p>
          <a:p>
            <a:pPr lvl="1"/>
            <a:r>
              <a:rPr lang="en-US" dirty="0"/>
              <a:t>Use variables for values that you need to use more than once in a template.</a:t>
            </a:r>
          </a:p>
          <a:p>
            <a:pPr lvl="1"/>
            <a:r>
              <a:rPr lang="en-US" dirty="0"/>
              <a:t>Include variables for resource names that must be unique.</a:t>
            </a:r>
          </a:p>
          <a:p>
            <a:pPr lvl="1"/>
            <a:r>
              <a:rPr lang="en-US" dirty="0"/>
              <a:t>Use variables for extra manipulation of parameters</a:t>
            </a:r>
          </a:p>
          <a:p>
            <a:r>
              <a:rPr lang="en-US" dirty="0"/>
              <a:t>You can group variables into complex objects. Use the </a:t>
            </a:r>
            <a:r>
              <a:rPr lang="en-US" b="1" dirty="0" err="1"/>
              <a:t>variable.subentry</a:t>
            </a:r>
            <a:r>
              <a:rPr lang="en-US" dirty="0"/>
              <a:t> format to reference a value from a complex object. </a:t>
            </a:r>
          </a:p>
          <a:p>
            <a:endParaRPr lang="en-US" dirty="0"/>
          </a:p>
          <a:p>
            <a:endParaRPr lang="en-US" dirty="0"/>
          </a:p>
          <a:p>
            <a:pPr lvl="1"/>
            <a:endParaRPr lang="en-US" dirty="0"/>
          </a:p>
        </p:txBody>
      </p:sp>
      <p:pic>
        <p:nvPicPr>
          <p:cNvPr id="6" name="Picture 5"/>
          <p:cNvPicPr>
            <a:picLocks noChangeAspect="1"/>
          </p:cNvPicPr>
          <p:nvPr/>
        </p:nvPicPr>
        <p:blipFill>
          <a:blip r:embed="rId3"/>
          <a:stretch>
            <a:fillRect/>
          </a:stretch>
        </p:blipFill>
        <p:spPr>
          <a:xfrm>
            <a:off x="922292" y="1347516"/>
            <a:ext cx="5505450" cy="1590675"/>
          </a:xfrm>
          <a:prstGeom prst="rect">
            <a:avLst/>
          </a:prstGeom>
        </p:spPr>
      </p:pic>
      <p:pic>
        <p:nvPicPr>
          <p:cNvPr id="7" name="Picture 6"/>
          <p:cNvPicPr>
            <a:picLocks noChangeAspect="1"/>
          </p:cNvPicPr>
          <p:nvPr/>
        </p:nvPicPr>
        <p:blipFill>
          <a:blip r:embed="rId4"/>
          <a:stretch>
            <a:fillRect/>
          </a:stretch>
        </p:blipFill>
        <p:spPr>
          <a:xfrm>
            <a:off x="838202" y="4937761"/>
            <a:ext cx="5701208" cy="1172399"/>
          </a:xfrm>
          <a:prstGeom prst="rect">
            <a:avLst/>
          </a:prstGeom>
        </p:spPr>
      </p:pic>
    </p:spTree>
    <p:extLst>
      <p:ext uri="{BB962C8B-B14F-4D97-AF65-F5344CB8AC3E}">
        <p14:creationId xmlns:p14="http://schemas.microsoft.com/office/powerpoint/2010/main" val="155458658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Functions and Expressions</a:t>
            </a:r>
          </a:p>
        </p:txBody>
      </p:sp>
      <p:sp>
        <p:nvSpPr>
          <p:cNvPr id="3" name="Content Placeholder 2"/>
          <p:cNvSpPr>
            <a:spLocks noGrp="1"/>
          </p:cNvSpPr>
          <p:nvPr>
            <p:ph idx="1"/>
          </p:nvPr>
        </p:nvSpPr>
        <p:spPr>
          <a:xfrm>
            <a:off x="838200" y="1825625"/>
            <a:ext cx="10515600" cy="3498850"/>
          </a:xfrm>
        </p:spPr>
        <p:txBody>
          <a:bodyPr>
            <a:normAutofit fontScale="92500" lnSpcReduction="10000"/>
          </a:bodyPr>
          <a:lstStyle/>
          <a:p>
            <a:pPr lvl="1"/>
            <a:r>
              <a:rPr lang="en-US" dirty="0"/>
              <a:t>Templates are JSON</a:t>
            </a:r>
          </a:p>
          <a:p>
            <a:pPr lvl="1"/>
            <a:r>
              <a:rPr lang="en-US" b="1" dirty="0">
                <a:solidFill>
                  <a:srgbClr val="FF0000"/>
                </a:solidFill>
              </a:rPr>
              <a:t>Functions and Expressions extend the JSON capabilities</a:t>
            </a:r>
          </a:p>
          <a:p>
            <a:pPr lvl="1"/>
            <a:r>
              <a:rPr lang="en-US" dirty="0"/>
              <a:t>They let you use some coding notions inside your templates to create or evaluate dynamic values</a:t>
            </a:r>
          </a:p>
          <a:p>
            <a:pPr lvl="1"/>
            <a:r>
              <a:rPr lang="en-US" dirty="0"/>
              <a:t>Functions you see often:</a:t>
            </a:r>
          </a:p>
          <a:p>
            <a:pPr lvl="2"/>
            <a:r>
              <a:rPr lang="en-US" dirty="0" err="1"/>
              <a:t>concat</a:t>
            </a:r>
            <a:r>
              <a:rPr lang="en-US" dirty="0"/>
              <a:t> – concatenates multiple values</a:t>
            </a:r>
          </a:p>
          <a:p>
            <a:pPr lvl="2"/>
            <a:r>
              <a:rPr lang="en-US" dirty="0" err="1"/>
              <a:t>copyIndex</a:t>
            </a:r>
            <a:r>
              <a:rPr lang="en-US" dirty="0"/>
              <a:t> – returns the index of an iteration loop</a:t>
            </a:r>
          </a:p>
          <a:p>
            <a:pPr lvl="2"/>
            <a:r>
              <a:rPr lang="en-US" dirty="0" err="1"/>
              <a:t>resourceGroup</a:t>
            </a:r>
            <a:r>
              <a:rPr lang="en-US" dirty="0"/>
              <a:t> – access properties of this resource group, like the location.</a:t>
            </a:r>
          </a:p>
          <a:p>
            <a:pPr lvl="2"/>
            <a:r>
              <a:rPr lang="en-US" dirty="0" err="1"/>
              <a:t>resourceId</a:t>
            </a:r>
            <a:r>
              <a:rPr lang="en-US" dirty="0"/>
              <a:t> – get the unique identifier for a resource. </a:t>
            </a:r>
          </a:p>
          <a:p>
            <a:pPr lvl="1"/>
            <a:r>
              <a:rPr lang="en-US" dirty="0"/>
              <a:t>All Functions: </a:t>
            </a:r>
            <a:r>
              <a:rPr lang="en-US" dirty="0">
                <a:hlinkClick r:id="rId3"/>
              </a:rPr>
              <a:t>https://docs.microsoft.com/en-us/azure/azure-resource-manager/resource-group-template-functions</a:t>
            </a:r>
            <a:endParaRPr lang="en-US" dirty="0"/>
          </a:p>
          <a:p>
            <a:pPr lvl="1"/>
            <a:endParaRPr lang="en-US" dirty="0"/>
          </a:p>
          <a:p>
            <a:pPr lvl="1"/>
            <a:endParaRPr lang="en-US" dirty="0"/>
          </a:p>
        </p:txBody>
      </p:sp>
      <p:pic>
        <p:nvPicPr>
          <p:cNvPr id="4" name="Picture 3"/>
          <p:cNvPicPr>
            <a:picLocks noChangeAspect="1"/>
          </p:cNvPicPr>
          <p:nvPr/>
        </p:nvPicPr>
        <p:blipFill>
          <a:blip r:embed="rId4"/>
          <a:stretch>
            <a:fillRect/>
          </a:stretch>
        </p:blipFill>
        <p:spPr>
          <a:xfrm>
            <a:off x="895350" y="5324476"/>
            <a:ext cx="10401300" cy="1533525"/>
          </a:xfrm>
          <a:prstGeom prst="rect">
            <a:avLst/>
          </a:prstGeom>
        </p:spPr>
      </p:pic>
    </p:spTree>
    <p:extLst>
      <p:ext uri="{BB962C8B-B14F-4D97-AF65-F5344CB8AC3E}">
        <p14:creationId xmlns:p14="http://schemas.microsoft.com/office/powerpoint/2010/main" val="293088067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Dependencies</a:t>
            </a:r>
          </a:p>
        </p:txBody>
      </p:sp>
      <p:sp>
        <p:nvSpPr>
          <p:cNvPr id="3" name="Content Placeholder 2"/>
          <p:cNvSpPr>
            <a:spLocks noGrp="1"/>
          </p:cNvSpPr>
          <p:nvPr>
            <p:ph idx="1"/>
          </p:nvPr>
        </p:nvSpPr>
        <p:spPr>
          <a:xfrm>
            <a:off x="838200" y="1283368"/>
            <a:ext cx="5851358" cy="5574632"/>
          </a:xfrm>
        </p:spPr>
        <p:txBody>
          <a:bodyPr>
            <a:normAutofit fontScale="92500"/>
          </a:bodyPr>
          <a:lstStyle/>
          <a:p>
            <a:r>
              <a:rPr lang="en-US" b="1" dirty="0">
                <a:solidFill>
                  <a:srgbClr val="FF0000"/>
                </a:solidFill>
              </a:rPr>
              <a:t>Resources may require a dependency chain; e.g. You need a VNET before you can deploy a VM.</a:t>
            </a:r>
          </a:p>
          <a:p>
            <a:r>
              <a:rPr lang="en-US" dirty="0"/>
              <a:t>Use “</a:t>
            </a:r>
            <a:r>
              <a:rPr lang="en-US" dirty="0" err="1"/>
              <a:t>dependsOn</a:t>
            </a:r>
            <a:r>
              <a:rPr lang="en-US" dirty="0"/>
              <a:t>” property to explicitly build the dependencies between resources. Resources wont get created until their dependencies are created.</a:t>
            </a:r>
          </a:p>
          <a:p>
            <a:r>
              <a:rPr lang="en-US" dirty="0"/>
              <a:t>Use Child resources. Only certain resources can have child resources. </a:t>
            </a:r>
          </a:p>
          <a:p>
            <a:r>
              <a:rPr lang="en-US" dirty="0"/>
              <a:t>Use the “reference” function to create an implicit relationship. Resources that reference another resource are created after the referenced resource. </a:t>
            </a:r>
          </a:p>
        </p:txBody>
      </p:sp>
      <p:pic>
        <p:nvPicPr>
          <p:cNvPr id="5" name="Picture 4"/>
          <p:cNvPicPr>
            <a:picLocks noChangeAspect="1"/>
          </p:cNvPicPr>
          <p:nvPr/>
        </p:nvPicPr>
        <p:blipFill>
          <a:blip r:embed="rId3"/>
          <a:stretch>
            <a:fillRect/>
          </a:stretch>
        </p:blipFill>
        <p:spPr>
          <a:xfrm>
            <a:off x="7459580" y="1283368"/>
            <a:ext cx="4475746" cy="2766067"/>
          </a:xfrm>
          <a:prstGeom prst="rect">
            <a:avLst/>
          </a:prstGeom>
        </p:spPr>
      </p:pic>
      <p:pic>
        <p:nvPicPr>
          <p:cNvPr id="6" name="Picture 5"/>
          <p:cNvPicPr>
            <a:picLocks noChangeAspect="1"/>
          </p:cNvPicPr>
          <p:nvPr/>
        </p:nvPicPr>
        <p:blipFill>
          <a:blip r:embed="rId4"/>
          <a:stretch>
            <a:fillRect/>
          </a:stretch>
        </p:blipFill>
        <p:spPr>
          <a:xfrm>
            <a:off x="6497292" y="4106780"/>
            <a:ext cx="5694708" cy="2269958"/>
          </a:xfrm>
          <a:prstGeom prst="rect">
            <a:avLst/>
          </a:prstGeom>
        </p:spPr>
      </p:pic>
    </p:spTree>
    <p:extLst>
      <p:ext uri="{BB962C8B-B14F-4D97-AF65-F5344CB8AC3E}">
        <p14:creationId xmlns:p14="http://schemas.microsoft.com/office/powerpoint/2010/main" val="75575599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Advanced Topics</a:t>
            </a:r>
          </a:p>
        </p:txBody>
      </p:sp>
      <p:sp>
        <p:nvSpPr>
          <p:cNvPr id="3" name="Content Placeholder 2"/>
          <p:cNvSpPr>
            <a:spLocks noGrp="1"/>
          </p:cNvSpPr>
          <p:nvPr>
            <p:ph idx="1"/>
          </p:nvPr>
        </p:nvSpPr>
        <p:spPr/>
        <p:txBody>
          <a:bodyPr/>
          <a:lstStyle/>
          <a:p>
            <a:r>
              <a:rPr lang="en-US" dirty="0"/>
              <a:t>Creating and Updating Resources in one ARM Template based deployment: </a:t>
            </a:r>
            <a:r>
              <a:rPr lang="en-US" dirty="0">
                <a:hlinkClick r:id="rId3"/>
              </a:rPr>
              <a:t>https://docs.microsoft.com/en-us/azure/azure-resource-manager/resource-manager-update</a:t>
            </a:r>
            <a:endParaRPr lang="en-US" dirty="0"/>
          </a:p>
          <a:p>
            <a:r>
              <a:rPr lang="en-US" dirty="0"/>
              <a:t>Share state between linked templates: </a:t>
            </a:r>
            <a:r>
              <a:rPr lang="en-US" dirty="0">
                <a:hlinkClick r:id="rId4"/>
              </a:rPr>
              <a:t>https://docs.microsoft.com/en-us/azure/azure-resource-manager/best-practices-resource-manager-state</a:t>
            </a:r>
            <a:endParaRPr lang="en-US" dirty="0"/>
          </a:p>
          <a:p>
            <a:r>
              <a:rPr lang="en-US" dirty="0"/>
              <a:t>Patterns for deploying resources: </a:t>
            </a:r>
            <a:r>
              <a:rPr lang="en-US" dirty="0">
                <a:hlinkClick r:id="rId5"/>
              </a:rPr>
              <a:t>https://docs.microsoft.com/en-us/azure/azure-resource-manager/best-practices-resource-manager-design-templates</a:t>
            </a:r>
            <a:endParaRPr lang="en-US" dirty="0"/>
          </a:p>
          <a:p>
            <a:endParaRPr lang="en-US" dirty="0"/>
          </a:p>
          <a:p>
            <a:endParaRPr lang="en-US" dirty="0"/>
          </a:p>
        </p:txBody>
      </p:sp>
    </p:spTree>
    <p:extLst>
      <p:ext uri="{BB962C8B-B14F-4D97-AF65-F5344CB8AC3E}">
        <p14:creationId xmlns:p14="http://schemas.microsoft.com/office/powerpoint/2010/main" val="80423571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Deploy Templates</a:t>
            </a:r>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31204411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047C8CCB-F95D-4249-92DD-651249D3535A}"/>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9" name="Picture 2" descr="C:\Users\DaveB\AppData\Local\Temp\SNAGHTML904bba5.PNG">
            <a:extLst>
              <a:ext uri="{FF2B5EF4-FFF2-40B4-BE49-F238E27FC236}">
                <a16:creationId xmlns:a16="http://schemas.microsoft.com/office/drawing/2014/main" id="{59BACD19-A463-4157-8D98-273F8B8A5271}"/>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557104" y="480906"/>
            <a:ext cx="8453316" cy="5896188"/>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6C74FAB7-89EE-4C74-B759-1B8D676D29EF}"/>
              </a:ext>
            </a:extLst>
          </p:cNvPr>
          <p:cNvSpPr>
            <a:spLocks noGrp="1"/>
          </p:cNvSpPr>
          <p:nvPr>
            <p:ph type="title"/>
          </p:nvPr>
        </p:nvSpPr>
        <p:spPr>
          <a:xfrm>
            <a:off x="640080" y="2074363"/>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defTabSz="914400"/>
            <a:r>
              <a:rPr lang="en-US" sz="2600" kern="1200" dirty="0">
                <a:solidFill>
                  <a:schemeClr val="bg1"/>
                </a:solidFill>
                <a:latin typeface="+mj-lt"/>
                <a:ea typeface="+mj-ea"/>
                <a:cs typeface="+mj-cs"/>
              </a:rPr>
              <a:t>Azure Doc: Compute</a:t>
            </a:r>
          </a:p>
        </p:txBody>
      </p:sp>
      <p:sp>
        <p:nvSpPr>
          <p:cNvPr id="6" name="TextBox 5">
            <a:extLst>
              <a:ext uri="{FF2B5EF4-FFF2-40B4-BE49-F238E27FC236}">
                <a16:creationId xmlns:a16="http://schemas.microsoft.com/office/drawing/2014/main" id="{7F1A107D-A2A1-488F-8FBD-64FEEF1C35F7}"/>
              </a:ext>
            </a:extLst>
          </p:cNvPr>
          <p:cNvSpPr txBox="1"/>
          <p:nvPr/>
        </p:nvSpPr>
        <p:spPr>
          <a:xfrm>
            <a:off x="3543300" y="6412230"/>
            <a:ext cx="8472488" cy="369332"/>
          </a:xfrm>
          <a:prstGeom prst="rect">
            <a:avLst/>
          </a:prstGeom>
          <a:noFill/>
        </p:spPr>
        <p:txBody>
          <a:bodyPr wrap="square" rtlCol="0">
            <a:spAutoFit/>
          </a:bodyPr>
          <a:lstStyle/>
          <a:p>
            <a:r>
              <a:rPr lang="en-US" dirty="0">
                <a:hlinkClick r:id="rId3"/>
              </a:rPr>
              <a:t>https://docs.microsoft.com/en-us/azure/#pivot=products&amp;panel=Compute</a:t>
            </a:r>
            <a:r>
              <a:rPr lang="en-US" dirty="0"/>
              <a:t> </a:t>
            </a:r>
          </a:p>
        </p:txBody>
      </p:sp>
    </p:spTree>
    <p:extLst>
      <p:ext uri="{BB962C8B-B14F-4D97-AF65-F5344CB8AC3E}">
        <p14:creationId xmlns:p14="http://schemas.microsoft.com/office/powerpoint/2010/main" val="3725707632"/>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 Custom Template	</a:t>
            </a:r>
          </a:p>
        </p:txBody>
      </p:sp>
      <p:sp>
        <p:nvSpPr>
          <p:cNvPr id="3" name="Content Placeholder 2"/>
          <p:cNvSpPr>
            <a:spLocks noGrp="1"/>
          </p:cNvSpPr>
          <p:nvPr>
            <p:ph idx="1"/>
          </p:nvPr>
        </p:nvSpPr>
        <p:spPr/>
        <p:txBody>
          <a:bodyPr/>
          <a:lstStyle/>
          <a:p>
            <a:endParaRPr lang="en-US" dirty="0"/>
          </a:p>
        </p:txBody>
      </p:sp>
      <p:pic>
        <p:nvPicPr>
          <p:cNvPr id="4" name="Picture 3"/>
          <p:cNvPicPr>
            <a:picLocks noChangeAspect="1"/>
          </p:cNvPicPr>
          <p:nvPr/>
        </p:nvPicPr>
        <p:blipFill>
          <a:blip r:embed="rId3"/>
          <a:stretch>
            <a:fillRect/>
          </a:stretch>
        </p:blipFill>
        <p:spPr>
          <a:xfrm>
            <a:off x="260684" y="1562352"/>
            <a:ext cx="4191000" cy="4467225"/>
          </a:xfrm>
          <a:prstGeom prst="rect">
            <a:avLst/>
          </a:prstGeom>
        </p:spPr>
      </p:pic>
      <p:pic>
        <p:nvPicPr>
          <p:cNvPr id="7172" name="Picture 4" descr="edit templa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30779" y="1562351"/>
            <a:ext cx="5322383" cy="45497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083570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 </a:t>
            </a:r>
            <a:r>
              <a:rPr lang="en-US" dirty="0" err="1"/>
              <a:t>Quickstart</a:t>
            </a:r>
            <a:r>
              <a:rPr lang="en-US" dirty="0"/>
              <a:t>	</a:t>
            </a:r>
          </a:p>
        </p:txBody>
      </p:sp>
      <p:sp>
        <p:nvSpPr>
          <p:cNvPr id="3" name="Content Placeholder 2"/>
          <p:cNvSpPr>
            <a:spLocks noGrp="1"/>
          </p:cNvSpPr>
          <p:nvPr>
            <p:ph idx="1"/>
          </p:nvPr>
        </p:nvSpPr>
        <p:spPr/>
        <p:txBody>
          <a:bodyPr/>
          <a:lstStyle/>
          <a:p>
            <a:endParaRPr lang="en-US" dirty="0"/>
          </a:p>
        </p:txBody>
      </p:sp>
      <p:pic>
        <p:nvPicPr>
          <p:cNvPr id="8194" name="Picture 2" descr="select quickstart templat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0019" y="1535782"/>
            <a:ext cx="7145049" cy="49773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221371"/>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744200" cy="1325563"/>
          </a:xfrm>
        </p:spPr>
        <p:txBody>
          <a:bodyPr/>
          <a:lstStyle/>
          <a:p>
            <a:r>
              <a:rPr lang="en-US" dirty="0"/>
              <a:t>Deploy Templates – Portal, from Account	</a:t>
            </a:r>
          </a:p>
        </p:txBody>
      </p:sp>
      <p:pic>
        <p:nvPicPr>
          <p:cNvPr id="9218" name="Picture 2" descr="browse templat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1690688"/>
            <a:ext cx="4933950" cy="2705100"/>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descr="saved template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29312" y="1690688"/>
            <a:ext cx="5705475" cy="2800350"/>
          </a:xfrm>
          <a:prstGeom prst="rect">
            <a:avLst/>
          </a:prstGeom>
          <a:noFill/>
          <a:extLst>
            <a:ext uri="{909E8E84-426E-40DD-AFC4-6F175D3DCCD1}">
              <a14:hiddenFill xmlns:a14="http://schemas.microsoft.com/office/drawing/2010/main">
                <a:solidFill>
                  <a:srgbClr val="FFFFFF"/>
                </a:solidFill>
              </a14:hiddenFill>
            </a:ext>
          </a:extLst>
        </p:spPr>
      </p:pic>
      <p:pic>
        <p:nvPicPr>
          <p:cNvPr id="9224" name="Picture 8" descr="deploy saved template"/>
          <p:cNvPicPr>
            <a:picLocks noGrp="1" noChangeAspect="1" noChangeArrowheads="1"/>
          </p:cNvPicPr>
          <p:nvPr>
            <p:ph idx="1"/>
          </p:nvPr>
        </p:nvPicPr>
        <p:blipFill>
          <a:blip r:embed="rId5">
            <a:extLst>
              <a:ext uri="{28A0092B-C50C-407E-A947-70E740481C1C}">
                <a14:useLocalDpi xmlns:a14="http://schemas.microsoft.com/office/drawing/2010/main" val="0"/>
              </a:ext>
            </a:extLst>
          </a:blip>
          <a:srcRect/>
          <a:stretch>
            <a:fillRect/>
          </a:stretch>
        </p:blipFill>
        <p:spPr bwMode="auto">
          <a:xfrm>
            <a:off x="4367017" y="4797285"/>
            <a:ext cx="2810267" cy="1019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524064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9757" y="291995"/>
            <a:ext cx="11540226" cy="899409"/>
          </a:xfrm>
        </p:spPr>
        <p:txBody>
          <a:bodyPr/>
          <a:lstStyle/>
          <a:p>
            <a:pPr defTabSz="913907">
              <a:defRPr/>
            </a:pPr>
            <a:r>
              <a:rPr sz="5300" dirty="0"/>
              <a:t>ARM Role Based Access Control</a:t>
            </a:r>
          </a:p>
        </p:txBody>
      </p:sp>
      <p:pic>
        <p:nvPicPr>
          <p:cNvPr id="94211"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19773" y="1262949"/>
            <a:ext cx="10080237" cy="5261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17860277"/>
      </p:ext>
    </p:extLst>
  </p:cSld>
  <p:clrMapOvr>
    <a:masterClrMapping/>
  </p:clrMapOvr>
  <p:transition spd="med">
    <p:fade/>
  </p:transition>
</p:sld>
</file>

<file path=ppt/slides/slide13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a:t>
            </a:r>
          </a:p>
        </p:txBody>
      </p:sp>
      <p:sp>
        <p:nvSpPr>
          <p:cNvPr id="3" name="Content Placeholder 2"/>
          <p:cNvSpPr>
            <a:spLocks noGrp="1"/>
          </p:cNvSpPr>
          <p:nvPr>
            <p:ph idx="1"/>
          </p:nvPr>
        </p:nvSpPr>
        <p:spPr/>
        <p:txBody>
          <a:bodyPr/>
          <a:lstStyle/>
          <a:p>
            <a:r>
              <a:rPr lang="en-US" dirty="0">
                <a:hlinkClick r:id="rId3"/>
              </a:rPr>
              <a:t>Create resource group</a:t>
            </a:r>
            <a:endParaRPr lang="en-US" dirty="0"/>
          </a:p>
          <a:p>
            <a:r>
              <a:rPr lang="en-US" dirty="0">
                <a:hlinkClick r:id="rId4"/>
              </a:rPr>
              <a:t>Deploy resources from Marketplace</a:t>
            </a:r>
            <a:endParaRPr lang="en-US" dirty="0"/>
          </a:p>
          <a:p>
            <a:r>
              <a:rPr lang="en-US" dirty="0">
                <a:hlinkClick r:id="rId5"/>
              </a:rPr>
              <a:t>Deploy resources from custom template</a:t>
            </a:r>
            <a:endParaRPr lang="en-US" dirty="0"/>
          </a:p>
          <a:p>
            <a:r>
              <a:rPr lang="en-US" dirty="0">
                <a:hlinkClick r:id="rId6"/>
              </a:rPr>
              <a:t>Deploy resources from a template saved to your account</a:t>
            </a:r>
            <a:endParaRPr lang="en-US" dirty="0"/>
          </a:p>
          <a:p>
            <a:r>
              <a:rPr lang="en-US" dirty="0">
                <a:hlinkClick r:id="rId7"/>
              </a:rPr>
              <a:t>Next Steps</a:t>
            </a:r>
            <a:endParaRPr lang="en-US" dirty="0"/>
          </a:p>
          <a:p>
            <a:endParaRPr lang="en-US" dirty="0"/>
          </a:p>
          <a:p>
            <a:endParaRPr lang="en-US" dirty="0"/>
          </a:p>
          <a:p>
            <a:endParaRPr lang="en-US" dirty="0"/>
          </a:p>
        </p:txBody>
      </p:sp>
      <p:sp>
        <p:nvSpPr>
          <p:cNvPr id="4" name="Text Placeholder 3">
            <a:extLst>
              <a:ext uri="{FF2B5EF4-FFF2-40B4-BE49-F238E27FC236}">
                <a16:creationId xmlns:a16="http://schemas.microsoft.com/office/drawing/2014/main" id="{A5B931A3-597B-46B7-9EBF-FDD28BF40D85}"/>
              </a:ext>
            </a:extLst>
          </p:cNvPr>
          <p:cNvSpPr>
            <a:spLocks noGrp="1"/>
          </p:cNvSpPr>
          <p:nvPr>
            <p:ph type="body" sz="quarter" idx="10"/>
          </p:nvPr>
        </p:nvSpPr>
        <p:spPr/>
        <p:txBody>
          <a:bodyPr/>
          <a:lstStyle/>
          <a:p>
            <a:r>
              <a:rPr lang="en-US" dirty="0">
                <a:hlinkClick r:id="rId8"/>
              </a:rPr>
              <a:t>https://docs.microsoft.com/en-us/azure/azure-resource-manager/resource-group-template-deploy-portal</a:t>
            </a:r>
            <a:r>
              <a:rPr lang="en-US" dirty="0"/>
              <a:t> </a:t>
            </a:r>
          </a:p>
        </p:txBody>
      </p:sp>
    </p:spTree>
    <p:extLst>
      <p:ext uri="{BB962C8B-B14F-4D97-AF65-F5344CB8AC3E}">
        <p14:creationId xmlns:p14="http://schemas.microsoft.com/office/powerpoint/2010/main" val="394995225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a:t>
            </a:r>
            <a:r>
              <a:rPr lang="en-US" dirty="0" err="1"/>
              <a:t>Powershell</a:t>
            </a:r>
            <a:endParaRPr lang="en-US" dirty="0"/>
          </a:p>
        </p:txBody>
      </p:sp>
      <p:sp>
        <p:nvSpPr>
          <p:cNvPr id="3" name="Content Placeholder 2"/>
          <p:cNvSpPr>
            <a:spLocks noGrp="1"/>
          </p:cNvSpPr>
          <p:nvPr>
            <p:ph idx="1"/>
          </p:nvPr>
        </p:nvSpPr>
        <p:spPr>
          <a:xfrm>
            <a:off x="838200" y="1389606"/>
            <a:ext cx="10515600" cy="5299952"/>
          </a:xfrm>
        </p:spPr>
        <p:txBody>
          <a:bodyPr>
            <a:normAutofit/>
          </a:bodyPr>
          <a:lstStyle/>
          <a:p>
            <a:r>
              <a:rPr lang="en-US" dirty="0"/>
              <a:t>Deploy a Template from a local </a:t>
            </a:r>
            <a:r>
              <a:rPr lang="en-US" dirty="0" err="1"/>
              <a:t>json</a:t>
            </a:r>
            <a:r>
              <a:rPr lang="en-US" dirty="0"/>
              <a:t> file</a:t>
            </a:r>
          </a:p>
          <a:p>
            <a:endParaRPr lang="en-US" dirty="0"/>
          </a:p>
          <a:p>
            <a:endParaRPr lang="en-US" dirty="0"/>
          </a:p>
          <a:p>
            <a:pPr marL="0" indent="0">
              <a:buNone/>
            </a:pPr>
            <a:endParaRPr lang="en-US" sz="1000" dirty="0"/>
          </a:p>
          <a:p>
            <a:pPr marL="0" indent="0">
              <a:buNone/>
            </a:pPr>
            <a:r>
              <a:rPr lang="en-US" dirty="0"/>
              <a:t>Deploy a Template from an external source:</a:t>
            </a:r>
          </a:p>
          <a:p>
            <a:endParaRPr lang="en-US" dirty="0"/>
          </a:p>
          <a:p>
            <a:r>
              <a:rPr lang="en-US" dirty="0"/>
              <a:t>Pass in a local parameter file:</a:t>
            </a:r>
          </a:p>
          <a:p>
            <a:endParaRPr lang="en-US" dirty="0"/>
          </a:p>
          <a:p>
            <a:endParaRPr lang="en-US" sz="1000" dirty="0"/>
          </a:p>
          <a:p>
            <a:r>
              <a:rPr lang="en-US" dirty="0"/>
              <a:t>Pass in an external parameter file</a:t>
            </a:r>
          </a:p>
          <a:p>
            <a:endParaRPr lang="en-US" dirty="0"/>
          </a:p>
        </p:txBody>
      </p:sp>
      <p:pic>
        <p:nvPicPr>
          <p:cNvPr id="4" name="Picture 3"/>
          <p:cNvPicPr>
            <a:picLocks noChangeAspect="1"/>
          </p:cNvPicPr>
          <p:nvPr/>
        </p:nvPicPr>
        <p:blipFill>
          <a:blip r:embed="rId3"/>
          <a:stretch>
            <a:fillRect/>
          </a:stretch>
        </p:blipFill>
        <p:spPr>
          <a:xfrm>
            <a:off x="529730" y="1791901"/>
            <a:ext cx="10333372" cy="1305818"/>
          </a:xfrm>
          <a:prstGeom prst="rect">
            <a:avLst/>
          </a:prstGeom>
        </p:spPr>
      </p:pic>
      <p:pic>
        <p:nvPicPr>
          <p:cNvPr id="5" name="Picture 4"/>
          <p:cNvPicPr>
            <a:picLocks noChangeAspect="1"/>
          </p:cNvPicPr>
          <p:nvPr/>
        </p:nvPicPr>
        <p:blipFill>
          <a:blip r:embed="rId4"/>
          <a:stretch>
            <a:fillRect/>
          </a:stretch>
        </p:blipFill>
        <p:spPr>
          <a:xfrm>
            <a:off x="529730" y="3639097"/>
            <a:ext cx="11662270" cy="570356"/>
          </a:xfrm>
          <a:prstGeom prst="rect">
            <a:avLst/>
          </a:prstGeom>
        </p:spPr>
      </p:pic>
      <p:pic>
        <p:nvPicPr>
          <p:cNvPr id="6" name="Picture 5"/>
          <p:cNvPicPr>
            <a:picLocks noChangeAspect="1"/>
          </p:cNvPicPr>
          <p:nvPr/>
        </p:nvPicPr>
        <p:blipFill>
          <a:blip r:embed="rId5"/>
          <a:stretch>
            <a:fillRect/>
          </a:stretch>
        </p:blipFill>
        <p:spPr>
          <a:xfrm>
            <a:off x="529730" y="4660365"/>
            <a:ext cx="10972800" cy="771525"/>
          </a:xfrm>
          <a:prstGeom prst="rect">
            <a:avLst/>
          </a:prstGeom>
        </p:spPr>
      </p:pic>
      <p:pic>
        <p:nvPicPr>
          <p:cNvPr id="7" name="Picture 6"/>
          <p:cNvPicPr>
            <a:picLocks noChangeAspect="1"/>
          </p:cNvPicPr>
          <p:nvPr/>
        </p:nvPicPr>
        <p:blipFill>
          <a:blip r:embed="rId6"/>
          <a:stretch>
            <a:fillRect/>
          </a:stretch>
        </p:blipFill>
        <p:spPr>
          <a:xfrm>
            <a:off x="529730" y="5882803"/>
            <a:ext cx="11662270" cy="579768"/>
          </a:xfrm>
          <a:prstGeom prst="rect">
            <a:avLst/>
          </a:prstGeom>
        </p:spPr>
      </p:pic>
    </p:spTree>
    <p:extLst>
      <p:ext uri="{BB962C8B-B14F-4D97-AF65-F5344CB8AC3E}">
        <p14:creationId xmlns:p14="http://schemas.microsoft.com/office/powerpoint/2010/main" val="1101842998"/>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werShell</a:t>
            </a:r>
          </a:p>
        </p:txBody>
      </p:sp>
      <p:sp>
        <p:nvSpPr>
          <p:cNvPr id="3" name="Content Placeholder 2"/>
          <p:cNvSpPr>
            <a:spLocks noGrp="1"/>
          </p:cNvSpPr>
          <p:nvPr>
            <p:ph idx="1"/>
          </p:nvPr>
        </p:nvSpPr>
        <p:spPr>
          <a:xfrm>
            <a:off x="838200" y="1341121"/>
            <a:ext cx="10515600" cy="5274247"/>
          </a:xfrm>
        </p:spPr>
        <p:txBody>
          <a:bodyPr>
            <a:normAutofit fontScale="92500" lnSpcReduction="20000"/>
          </a:bodyPr>
          <a:lstStyle/>
          <a:p>
            <a:r>
              <a:rPr lang="en-US" dirty="0"/>
              <a:t>You can pass in parameters inline and with a local parameter file.</a:t>
            </a:r>
          </a:p>
          <a:p>
            <a:r>
              <a:rPr lang="en-US" dirty="0"/>
              <a:t>You CANNOT pass in parameters inline and with an external parameter file.</a:t>
            </a:r>
          </a:p>
          <a:p>
            <a:r>
              <a:rPr lang="en-US" dirty="0"/>
              <a:t>You can TEST a deployment before running it.</a:t>
            </a:r>
          </a:p>
          <a:p>
            <a:endParaRPr lang="en-US" dirty="0"/>
          </a:p>
          <a:p>
            <a:endParaRPr lang="en-US" dirty="0"/>
          </a:p>
          <a:p>
            <a:endParaRPr lang="en-US" dirty="0">
              <a:solidFill>
                <a:schemeClr val="tx1">
                  <a:lumMod val="95000"/>
                  <a:lumOff val="5000"/>
                </a:schemeClr>
              </a:solidFill>
            </a:endParaRPr>
          </a:p>
          <a:p>
            <a:endParaRPr lang="en-US" b="1" dirty="0">
              <a:solidFill>
                <a:schemeClr val="tx1">
                  <a:lumMod val="95000"/>
                  <a:lumOff val="5000"/>
                </a:schemeClr>
              </a:solidFill>
            </a:endParaRPr>
          </a:p>
          <a:p>
            <a:endParaRPr lang="en-US" b="1" dirty="0">
              <a:solidFill>
                <a:schemeClr val="tx1">
                  <a:lumMod val="95000"/>
                  <a:lumOff val="5000"/>
                </a:schemeClr>
              </a:solidFill>
            </a:endParaRPr>
          </a:p>
          <a:p>
            <a:r>
              <a:rPr lang="en-US" b="1" dirty="0">
                <a:solidFill>
                  <a:schemeClr val="tx1">
                    <a:lumMod val="95000"/>
                    <a:lumOff val="5000"/>
                  </a:schemeClr>
                </a:solidFill>
              </a:rPr>
              <a:t>Template Deployments have 2 modes: INCREMENTAL or COMPLETE</a:t>
            </a:r>
          </a:p>
          <a:p>
            <a:pPr lvl="1"/>
            <a:r>
              <a:rPr lang="en-US" b="1" dirty="0">
                <a:solidFill>
                  <a:schemeClr val="tx1">
                    <a:lumMod val="95000"/>
                    <a:lumOff val="5000"/>
                  </a:schemeClr>
                </a:solidFill>
              </a:rPr>
              <a:t>Both modes deploy resources defined in Template.</a:t>
            </a:r>
          </a:p>
          <a:p>
            <a:pPr lvl="1"/>
            <a:r>
              <a:rPr lang="en-US" b="1" dirty="0">
                <a:solidFill>
                  <a:schemeClr val="tx1">
                    <a:lumMod val="95000"/>
                    <a:lumOff val="5000"/>
                  </a:schemeClr>
                </a:solidFill>
              </a:rPr>
              <a:t>Complete Deployment DELETES resources in group not defined in Template</a:t>
            </a:r>
          </a:p>
          <a:p>
            <a:pPr lvl="1"/>
            <a:r>
              <a:rPr lang="en-US" b="1" dirty="0">
                <a:solidFill>
                  <a:schemeClr val="tx1">
                    <a:lumMod val="95000"/>
                    <a:lumOff val="5000"/>
                  </a:schemeClr>
                </a:solidFill>
              </a:rPr>
              <a:t>Incremental does not DELETE resources not defined in Template</a:t>
            </a:r>
          </a:p>
          <a:p>
            <a:pPr lvl="1"/>
            <a:r>
              <a:rPr lang="en-US" b="1" dirty="0">
                <a:solidFill>
                  <a:schemeClr val="tx1">
                    <a:lumMod val="95000"/>
                    <a:lumOff val="5000"/>
                  </a:schemeClr>
                </a:solidFill>
              </a:rPr>
              <a:t>Use “-Mode” argument to set Mode.</a:t>
            </a:r>
          </a:p>
          <a:p>
            <a:endParaRPr lang="en-US" dirty="0"/>
          </a:p>
        </p:txBody>
      </p:sp>
      <p:pic>
        <p:nvPicPr>
          <p:cNvPr id="4" name="Picture 3"/>
          <p:cNvPicPr>
            <a:picLocks noChangeAspect="1"/>
          </p:cNvPicPr>
          <p:nvPr/>
        </p:nvPicPr>
        <p:blipFill>
          <a:blip r:embed="rId3"/>
          <a:stretch>
            <a:fillRect/>
          </a:stretch>
        </p:blipFill>
        <p:spPr>
          <a:xfrm>
            <a:off x="719508" y="2666684"/>
            <a:ext cx="11171514" cy="1631102"/>
          </a:xfrm>
          <a:prstGeom prst="rect">
            <a:avLst/>
          </a:prstGeom>
        </p:spPr>
      </p:pic>
    </p:spTree>
    <p:extLst>
      <p:ext uri="{BB962C8B-B14F-4D97-AF65-F5344CB8AC3E}">
        <p14:creationId xmlns:p14="http://schemas.microsoft.com/office/powerpoint/2010/main" val="98249049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563C0D1-186F-4141-A7C6-8E9FD651B781}"/>
              </a:ext>
            </a:extLst>
          </p:cNvPr>
          <p:cNvSpPr>
            <a:spLocks noGrp="1"/>
          </p:cNvSpPr>
          <p:nvPr>
            <p:ph type="title"/>
          </p:nvPr>
        </p:nvSpPr>
        <p:spPr/>
        <p:txBody>
          <a:bodyPr>
            <a:normAutofit fontScale="90000"/>
          </a:bodyPr>
          <a:lstStyle/>
          <a:p>
            <a:r>
              <a:rPr lang="en-US" b="1" dirty="0"/>
              <a:t>Deploy resources with Resource Manager templates and Azure PowerShell</a:t>
            </a:r>
            <a:endParaRPr lang="en-US" dirty="0"/>
          </a:p>
        </p:txBody>
      </p:sp>
      <p:sp>
        <p:nvSpPr>
          <p:cNvPr id="6" name="Content Placeholder 5">
            <a:extLst>
              <a:ext uri="{FF2B5EF4-FFF2-40B4-BE49-F238E27FC236}">
                <a16:creationId xmlns:a16="http://schemas.microsoft.com/office/drawing/2014/main" id="{1AF40C29-2BAB-4F2C-8873-066BCE725627}"/>
              </a:ext>
            </a:extLst>
          </p:cNvPr>
          <p:cNvSpPr>
            <a:spLocks noGrp="1"/>
          </p:cNvSpPr>
          <p:nvPr>
            <p:ph idx="1"/>
          </p:nvPr>
        </p:nvSpPr>
        <p:spPr/>
        <p:txBody>
          <a:bodyPr/>
          <a:lstStyle/>
          <a:p>
            <a:r>
              <a:rPr lang="en-US" dirty="0">
                <a:hlinkClick r:id="rId3"/>
              </a:rPr>
              <a:t>Deploy a template from your local machine</a:t>
            </a:r>
            <a:endParaRPr lang="en-US" dirty="0"/>
          </a:p>
          <a:p>
            <a:r>
              <a:rPr lang="en-US" dirty="0">
                <a:hlinkClick r:id="rId4"/>
              </a:rPr>
              <a:t>Deploy a template from an external source</a:t>
            </a:r>
            <a:endParaRPr lang="en-US" dirty="0"/>
          </a:p>
          <a:p>
            <a:r>
              <a:rPr lang="en-US" dirty="0">
                <a:hlinkClick r:id="rId5"/>
              </a:rPr>
              <a:t>Parameter files</a:t>
            </a:r>
            <a:endParaRPr lang="en-US" dirty="0"/>
          </a:p>
          <a:p>
            <a:r>
              <a:rPr lang="en-US" dirty="0">
                <a:hlinkClick r:id="rId6"/>
              </a:rPr>
              <a:t>Test a template deployment</a:t>
            </a:r>
            <a:endParaRPr lang="en-US" dirty="0"/>
          </a:p>
          <a:p>
            <a:r>
              <a:rPr lang="en-US" dirty="0">
                <a:hlinkClick r:id="rId7"/>
              </a:rPr>
              <a:t>Incremental and complete deployments</a:t>
            </a:r>
            <a:endParaRPr lang="en-US" dirty="0"/>
          </a:p>
          <a:p>
            <a:r>
              <a:rPr lang="en-US" dirty="0">
                <a:hlinkClick r:id="rId8"/>
              </a:rPr>
              <a:t>Sample template</a:t>
            </a:r>
            <a:endParaRPr lang="en-US" dirty="0"/>
          </a:p>
          <a:p>
            <a:r>
              <a:rPr lang="en-US" dirty="0">
                <a:hlinkClick r:id="rId9"/>
              </a:rPr>
              <a:t>Next steps</a:t>
            </a:r>
            <a:endParaRPr lang="en-US" dirty="0"/>
          </a:p>
        </p:txBody>
      </p:sp>
      <p:sp>
        <p:nvSpPr>
          <p:cNvPr id="7" name="Text Placeholder 6">
            <a:extLst>
              <a:ext uri="{FF2B5EF4-FFF2-40B4-BE49-F238E27FC236}">
                <a16:creationId xmlns:a16="http://schemas.microsoft.com/office/drawing/2014/main" id="{8C9D3287-1732-4B42-B0F5-0B65757315A5}"/>
              </a:ext>
            </a:extLst>
          </p:cNvPr>
          <p:cNvSpPr>
            <a:spLocks noGrp="1"/>
          </p:cNvSpPr>
          <p:nvPr>
            <p:ph type="body" sz="quarter" idx="10"/>
          </p:nvPr>
        </p:nvSpPr>
        <p:spPr/>
        <p:txBody>
          <a:bodyPr/>
          <a:lstStyle/>
          <a:p>
            <a:r>
              <a:rPr lang="en-US" dirty="0"/>
              <a:t>https://docs.microsoft.com/en-us/azure/azure-resource-manager/resource-group-template-deploy</a:t>
            </a:r>
          </a:p>
        </p:txBody>
      </p:sp>
    </p:spTree>
    <p:extLst>
      <p:ext uri="{BB962C8B-B14F-4D97-AF65-F5344CB8AC3E}">
        <p14:creationId xmlns:p14="http://schemas.microsoft.com/office/powerpoint/2010/main" val="141383292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Regional Availability</a:t>
            </a:r>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1712225432"/>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81505"/>
            <a:ext cx="10515600" cy="1325563"/>
          </a:xfrm>
        </p:spPr>
        <p:txBody>
          <a:bodyPr>
            <a:normAutofit/>
          </a:bodyPr>
          <a:lstStyle/>
          <a:p>
            <a:r>
              <a:rPr lang="en-US" dirty="0"/>
              <a:t> Regions</a:t>
            </a:r>
          </a:p>
        </p:txBody>
      </p:sp>
      <p:sp>
        <p:nvSpPr>
          <p:cNvPr id="3" name="Content Placeholder 2"/>
          <p:cNvSpPr>
            <a:spLocks noGrp="1"/>
          </p:cNvSpPr>
          <p:nvPr>
            <p:ph idx="1"/>
          </p:nvPr>
        </p:nvSpPr>
        <p:spPr>
          <a:xfrm>
            <a:off x="381001" y="1758156"/>
            <a:ext cx="3797807" cy="4351338"/>
          </a:xfrm>
        </p:spPr>
        <p:txBody>
          <a:bodyPr>
            <a:normAutofit/>
          </a:bodyPr>
          <a:lstStyle/>
          <a:p>
            <a:r>
              <a:rPr lang="en-US" sz="2000" dirty="0"/>
              <a:t>An Azure Region is a geographic region that contains a collection of data centers. </a:t>
            </a:r>
          </a:p>
          <a:p>
            <a:pPr lvl="1">
              <a:lnSpc>
                <a:spcPct val="200000"/>
              </a:lnSpc>
            </a:pPr>
            <a:r>
              <a:rPr lang="en-US" sz="2000" dirty="0"/>
              <a:t>It’s more than one building. </a:t>
            </a:r>
          </a:p>
          <a:p>
            <a:pPr lvl="1">
              <a:lnSpc>
                <a:spcPct val="200000"/>
              </a:lnSpc>
            </a:pPr>
            <a:r>
              <a:rPr lang="en-US" sz="2000" dirty="0"/>
              <a:t>Over 40 Azure regions</a:t>
            </a:r>
          </a:p>
          <a:p>
            <a:pPr lvl="1">
              <a:lnSpc>
                <a:spcPct val="200000"/>
              </a:lnSpc>
            </a:pPr>
            <a:r>
              <a:rPr lang="en-US" sz="2000" dirty="0"/>
              <a:t>Special / Sovereign Regions</a:t>
            </a:r>
          </a:p>
          <a:p>
            <a:pPr marL="914314" lvl="2" indent="0">
              <a:buNone/>
            </a:pPr>
            <a:endParaRPr lang="en-US" dirty="0"/>
          </a:p>
          <a:p>
            <a:pPr lvl="1"/>
            <a:endParaRPr lang="en-US" sz="2000" dirty="0"/>
          </a:p>
        </p:txBody>
      </p:sp>
      <p:pic>
        <p:nvPicPr>
          <p:cNvPr id="5" name="Picture 6" descr="Map of available regions">
            <a:extLst>
              <a:ext uri="{FF2B5EF4-FFF2-40B4-BE49-F238E27FC236}">
                <a16:creationId xmlns:a16="http://schemas.microsoft.com/office/drawing/2014/main" id="{861C229C-04E0-449B-AD6A-5C9294D041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78808" y="1507068"/>
            <a:ext cx="8083378" cy="4301066"/>
          </a:xfrm>
          <a:prstGeom prst="rect">
            <a:avLst/>
          </a:prstGeom>
          <a:blipFill>
            <a:blip r:embed="rId4"/>
            <a:tile tx="0" ty="0" sx="100000" sy="100000" flip="none" algn="tl"/>
          </a:blipFill>
        </p:spPr>
      </p:pic>
    </p:spTree>
    <p:extLst>
      <p:ext uri="{BB962C8B-B14F-4D97-AF65-F5344CB8AC3E}">
        <p14:creationId xmlns:p14="http://schemas.microsoft.com/office/powerpoint/2010/main" val="38195843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EEEEEE"/>
        </a:solidFill>
        <a:effectLst/>
      </p:bgPr>
    </p:bg>
    <p:spTree>
      <p:nvGrpSpPr>
        <p:cNvPr id="1" name=""/>
        <p:cNvGrpSpPr/>
        <p:nvPr/>
      </p:nvGrpSpPr>
      <p:grpSpPr>
        <a:xfrm>
          <a:off x="0" y="0"/>
          <a:ext cx="0" cy="0"/>
          <a:chOff x="0" y="0"/>
          <a:chExt cx="0" cy="0"/>
        </a:xfrm>
      </p:grpSpPr>
      <p:sp>
        <p:nvSpPr>
          <p:cNvPr id="16" name="TextBox 15"/>
          <p:cNvSpPr txBox="1"/>
          <p:nvPr/>
        </p:nvSpPr>
        <p:spPr>
          <a:xfrm rot="16200000">
            <a:off x="-1124714" y="5382783"/>
            <a:ext cx="2723282" cy="342335"/>
          </a:xfrm>
          <a:prstGeom prst="rect">
            <a:avLst/>
          </a:prstGeom>
          <a:noFill/>
        </p:spPr>
        <p:txBody>
          <a:bodyPr wrap="none" lIns="179268" tIns="143415" rIns="179268" bIns="143415" rtlCol="0">
            <a:noAutofit/>
          </a:bodyPr>
          <a:lstStyle/>
          <a:p>
            <a:pPr defTabSz="913970">
              <a:lnSpc>
                <a:spcPct val="90000"/>
              </a:lnSpc>
              <a:spcAft>
                <a:spcPts val="588"/>
              </a:spcAft>
              <a:defRPr/>
            </a:pPr>
            <a:r>
              <a:rPr lang="de-DE" sz="2800" dirty="0">
                <a:solidFill>
                  <a:srgbClr val="FFFFFF">
                    <a:lumMod val="50000"/>
                  </a:srgbClr>
                </a:solidFill>
                <a:latin typeface="Segoe UI Light"/>
              </a:rPr>
              <a:t>http://azureplatform.azurewebsites.net/</a:t>
            </a:r>
            <a:endParaRPr lang="en-US" sz="2800" dirty="0">
              <a:solidFill>
                <a:srgbClr val="FFFFFF">
                  <a:lumMod val="50000"/>
                </a:srgbClr>
              </a:solidFill>
              <a:latin typeface="Segoe UI Light"/>
            </a:endParaRPr>
          </a:p>
        </p:txBody>
      </p:sp>
      <p:sp>
        <p:nvSpPr>
          <p:cNvPr id="17" name="TextBox 16"/>
          <p:cNvSpPr txBox="1"/>
          <p:nvPr/>
        </p:nvSpPr>
        <p:spPr>
          <a:xfrm rot="16200000">
            <a:off x="10957334" y="6152857"/>
            <a:ext cx="1755247" cy="343710"/>
          </a:xfrm>
          <a:prstGeom prst="rect">
            <a:avLst/>
          </a:prstGeom>
          <a:noFill/>
        </p:spPr>
        <p:txBody>
          <a:bodyPr wrap="none" lIns="179268" tIns="143415" rIns="179268" bIns="143415" rtlCol="0">
            <a:noAutofit/>
          </a:bodyPr>
          <a:lstStyle/>
          <a:p>
            <a:pPr algn="r" defTabSz="913970">
              <a:lnSpc>
                <a:spcPct val="90000"/>
              </a:lnSpc>
              <a:spcAft>
                <a:spcPts val="588"/>
              </a:spcAft>
              <a:defRPr/>
            </a:pPr>
            <a:r>
              <a:rPr lang="de-DE" sz="1200" dirty="0">
                <a:solidFill>
                  <a:srgbClr val="FFFFFF">
                    <a:lumMod val="50000"/>
                  </a:srgbClr>
                </a:solidFill>
                <a:latin typeface="Segoe UI Light"/>
              </a:rPr>
              <a:t>* Preview Services</a:t>
            </a:r>
            <a:endParaRPr lang="en-US" sz="1200" dirty="0">
              <a:solidFill>
                <a:srgbClr val="FFFFFF">
                  <a:lumMod val="50000"/>
                </a:srgbClr>
              </a:solidFill>
              <a:latin typeface="Segoe UI Light"/>
            </a:endParaRPr>
          </a:p>
        </p:txBody>
      </p:sp>
      <p:pic>
        <p:nvPicPr>
          <p:cNvPr id="7" name="Picture 6"/>
          <p:cNvPicPr>
            <a:picLocks noChangeAspect="1"/>
          </p:cNvPicPr>
          <p:nvPr/>
        </p:nvPicPr>
        <p:blipFill>
          <a:blip r:embed="rId3"/>
          <a:stretch>
            <a:fillRect/>
          </a:stretch>
        </p:blipFill>
        <p:spPr>
          <a:xfrm>
            <a:off x="962820" y="4385356"/>
            <a:ext cx="3019425" cy="1638300"/>
          </a:xfrm>
          <a:prstGeom prst="rect">
            <a:avLst/>
          </a:prstGeom>
        </p:spPr>
      </p:pic>
      <p:pic>
        <p:nvPicPr>
          <p:cNvPr id="8" name="Picture 7"/>
          <p:cNvPicPr>
            <a:picLocks noChangeAspect="1"/>
          </p:cNvPicPr>
          <p:nvPr/>
        </p:nvPicPr>
        <p:blipFill>
          <a:blip r:embed="rId4"/>
          <a:stretch>
            <a:fillRect/>
          </a:stretch>
        </p:blipFill>
        <p:spPr>
          <a:xfrm>
            <a:off x="971552" y="2230738"/>
            <a:ext cx="2976563" cy="2109788"/>
          </a:xfrm>
          <a:prstGeom prst="rect">
            <a:avLst/>
          </a:prstGeom>
        </p:spPr>
      </p:pic>
      <p:pic>
        <p:nvPicPr>
          <p:cNvPr id="9" name="Picture 8"/>
          <p:cNvPicPr>
            <a:picLocks noChangeAspect="1"/>
          </p:cNvPicPr>
          <p:nvPr/>
        </p:nvPicPr>
        <p:blipFill>
          <a:blip r:embed="rId5"/>
          <a:stretch>
            <a:fillRect/>
          </a:stretch>
        </p:blipFill>
        <p:spPr>
          <a:xfrm>
            <a:off x="984252" y="143137"/>
            <a:ext cx="2957513" cy="2095500"/>
          </a:xfrm>
          <a:prstGeom prst="rect">
            <a:avLst/>
          </a:prstGeom>
        </p:spPr>
      </p:pic>
      <p:pic>
        <p:nvPicPr>
          <p:cNvPr id="23" name="Picture 22"/>
          <p:cNvPicPr>
            <a:picLocks noChangeAspect="1"/>
          </p:cNvPicPr>
          <p:nvPr/>
        </p:nvPicPr>
        <p:blipFill rotWithShape="1">
          <a:blip r:embed="rId6"/>
          <a:srcRect b="7848"/>
          <a:stretch/>
        </p:blipFill>
        <p:spPr>
          <a:xfrm>
            <a:off x="969170" y="6112561"/>
            <a:ext cx="10253663" cy="697815"/>
          </a:xfrm>
          <a:prstGeom prst="rect">
            <a:avLst/>
          </a:prstGeom>
        </p:spPr>
      </p:pic>
      <p:pic>
        <p:nvPicPr>
          <p:cNvPr id="19" name="Picture 18"/>
          <p:cNvPicPr>
            <a:picLocks noChangeAspect="1"/>
          </p:cNvPicPr>
          <p:nvPr/>
        </p:nvPicPr>
        <p:blipFill>
          <a:blip r:embed="rId7"/>
          <a:stretch>
            <a:fillRect/>
          </a:stretch>
        </p:blipFill>
        <p:spPr>
          <a:xfrm>
            <a:off x="8224839" y="106241"/>
            <a:ext cx="2957513" cy="2095500"/>
          </a:xfrm>
          <a:prstGeom prst="rect">
            <a:avLst/>
          </a:prstGeom>
        </p:spPr>
      </p:pic>
      <p:pic>
        <p:nvPicPr>
          <p:cNvPr id="20" name="Picture 19"/>
          <p:cNvPicPr>
            <a:picLocks noChangeAspect="1"/>
          </p:cNvPicPr>
          <p:nvPr/>
        </p:nvPicPr>
        <p:blipFill>
          <a:blip r:embed="rId8"/>
          <a:stretch>
            <a:fillRect/>
          </a:stretch>
        </p:blipFill>
        <p:spPr>
          <a:xfrm>
            <a:off x="8231189" y="2241813"/>
            <a:ext cx="3019425" cy="1662113"/>
          </a:xfrm>
          <a:prstGeom prst="rect">
            <a:avLst/>
          </a:prstGeom>
        </p:spPr>
      </p:pic>
      <p:pic>
        <p:nvPicPr>
          <p:cNvPr id="21" name="Picture 20"/>
          <p:cNvPicPr>
            <a:picLocks noChangeAspect="1"/>
          </p:cNvPicPr>
          <p:nvPr/>
        </p:nvPicPr>
        <p:blipFill>
          <a:blip r:embed="rId9"/>
          <a:stretch>
            <a:fillRect/>
          </a:stretch>
        </p:blipFill>
        <p:spPr>
          <a:xfrm>
            <a:off x="8248451" y="3949255"/>
            <a:ext cx="2943225" cy="2114550"/>
          </a:xfrm>
          <a:prstGeom prst="rect">
            <a:avLst/>
          </a:prstGeom>
        </p:spPr>
      </p:pic>
      <p:pic>
        <p:nvPicPr>
          <p:cNvPr id="14" name="Picture 13"/>
          <p:cNvPicPr>
            <a:picLocks noChangeAspect="1"/>
          </p:cNvPicPr>
          <p:nvPr/>
        </p:nvPicPr>
        <p:blipFill>
          <a:blip r:embed="rId10"/>
          <a:stretch>
            <a:fillRect/>
          </a:stretch>
        </p:blipFill>
        <p:spPr>
          <a:xfrm>
            <a:off x="4634606" y="112266"/>
            <a:ext cx="2971800" cy="2133600"/>
          </a:xfrm>
          <a:prstGeom prst="rect">
            <a:avLst/>
          </a:prstGeom>
        </p:spPr>
      </p:pic>
      <p:pic>
        <p:nvPicPr>
          <p:cNvPr id="15" name="Picture 14"/>
          <p:cNvPicPr>
            <a:picLocks noChangeAspect="1"/>
          </p:cNvPicPr>
          <p:nvPr/>
        </p:nvPicPr>
        <p:blipFill>
          <a:blip r:embed="rId11"/>
          <a:stretch>
            <a:fillRect/>
          </a:stretch>
        </p:blipFill>
        <p:spPr>
          <a:xfrm>
            <a:off x="4639369" y="2239516"/>
            <a:ext cx="2962275" cy="1690688"/>
          </a:xfrm>
          <a:prstGeom prst="rect">
            <a:avLst/>
          </a:prstGeom>
        </p:spPr>
      </p:pic>
      <p:pic>
        <p:nvPicPr>
          <p:cNvPr id="18" name="Picture 17"/>
          <p:cNvPicPr>
            <a:picLocks noChangeAspect="1"/>
          </p:cNvPicPr>
          <p:nvPr/>
        </p:nvPicPr>
        <p:blipFill>
          <a:blip r:embed="rId12"/>
          <a:stretch>
            <a:fillRect/>
          </a:stretch>
        </p:blipFill>
        <p:spPr>
          <a:xfrm>
            <a:off x="4633019" y="3923854"/>
            <a:ext cx="2981325" cy="2138363"/>
          </a:xfrm>
          <a:prstGeom prst="rect">
            <a:avLst/>
          </a:prstGeom>
        </p:spPr>
      </p:pic>
    </p:spTree>
    <p:extLst>
      <p:ext uri="{BB962C8B-B14F-4D97-AF65-F5344CB8AC3E}">
        <p14:creationId xmlns:p14="http://schemas.microsoft.com/office/powerpoint/2010/main" val="1536675628"/>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p:spPr>
        <p:txBody>
          <a:bodyPr>
            <a:normAutofit/>
          </a:bodyPr>
          <a:lstStyle/>
          <a:p>
            <a:r>
              <a:rPr lang="en-US" dirty="0"/>
              <a:t>Regional Availability - Regions</a:t>
            </a:r>
          </a:p>
        </p:txBody>
      </p:sp>
      <p:sp>
        <p:nvSpPr>
          <p:cNvPr id="3" name="Content Placeholder 2"/>
          <p:cNvSpPr>
            <a:spLocks noGrp="1"/>
          </p:cNvSpPr>
          <p:nvPr>
            <p:ph idx="1"/>
          </p:nvPr>
        </p:nvSpPr>
        <p:spPr>
          <a:xfrm>
            <a:off x="838201" y="1825625"/>
            <a:ext cx="5015484" cy="4351338"/>
          </a:xfrm>
        </p:spPr>
        <p:txBody>
          <a:bodyPr vert="horz" lIns="91432" tIns="45715" rIns="91432" bIns="45715" rtlCol="0">
            <a:normAutofit/>
          </a:bodyPr>
          <a:lstStyle/>
          <a:p>
            <a:r>
              <a:rPr lang="en-US" sz="2000" dirty="0"/>
              <a:t>Region Pairs</a:t>
            </a:r>
          </a:p>
          <a:p>
            <a:pPr lvl="1"/>
            <a:r>
              <a:rPr lang="en-US" sz="2000" dirty="0"/>
              <a:t>In same geography (such as US, Europe or Asia)</a:t>
            </a:r>
          </a:p>
          <a:p>
            <a:pPr lvl="1"/>
            <a:r>
              <a:rPr lang="en-US" sz="2000" dirty="0"/>
              <a:t>Replicated resources are replicated across pairs</a:t>
            </a:r>
          </a:p>
          <a:p>
            <a:pPr lvl="1"/>
            <a:r>
              <a:rPr lang="en-US" sz="2000" dirty="0"/>
              <a:t>In broad geographic outage, one region in the pair is prioritized</a:t>
            </a:r>
          </a:p>
          <a:p>
            <a:pPr lvl="1"/>
            <a:r>
              <a:rPr lang="en-US" sz="2000" dirty="0"/>
              <a:t>Data resides in the same geography as its pair (except Brazil South)</a:t>
            </a:r>
          </a:p>
          <a:p>
            <a:pPr lvl="1"/>
            <a:r>
              <a:rPr lang="en-US" sz="2000" dirty="0"/>
              <a:t>Azure Storage GRS and RA-GRS replicates data from one region to its pair.</a:t>
            </a:r>
          </a:p>
          <a:p>
            <a:pPr lvl="1"/>
            <a:endParaRPr lang="en-US" sz="2000" dirty="0"/>
          </a:p>
        </p:txBody>
      </p:sp>
      <p:pic>
        <p:nvPicPr>
          <p:cNvPr id="5" name="Picture 4">
            <a:extLst>
              <a:ext uri="{FF2B5EF4-FFF2-40B4-BE49-F238E27FC236}">
                <a16:creationId xmlns:a16="http://schemas.microsoft.com/office/drawing/2014/main" id="{4A91A280-A342-494B-A0F0-3C6AA77A5130}"/>
              </a:ext>
            </a:extLst>
          </p:cNvPr>
          <p:cNvPicPr>
            <a:picLocks noChangeAspect="1"/>
          </p:cNvPicPr>
          <p:nvPr/>
        </p:nvPicPr>
        <p:blipFill>
          <a:blip r:embed="rId3"/>
          <a:stretch>
            <a:fillRect/>
          </a:stretch>
        </p:blipFill>
        <p:spPr>
          <a:xfrm>
            <a:off x="5853684" y="1690689"/>
            <a:ext cx="6838639" cy="3423709"/>
          </a:xfrm>
          <a:prstGeom prst="rect">
            <a:avLst/>
          </a:prstGeom>
        </p:spPr>
      </p:pic>
    </p:spTree>
    <p:extLst>
      <p:ext uri="{BB962C8B-B14F-4D97-AF65-F5344CB8AC3E}">
        <p14:creationId xmlns:p14="http://schemas.microsoft.com/office/powerpoint/2010/main" val="3984285571"/>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10244" name="Picture 4" descr="[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8823" y="898358"/>
            <a:ext cx="6633178" cy="560621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Regional Availability - Design</a:t>
            </a:r>
          </a:p>
        </p:txBody>
      </p:sp>
      <p:sp>
        <p:nvSpPr>
          <p:cNvPr id="3" name="Content Placeholder 2"/>
          <p:cNvSpPr>
            <a:spLocks noGrp="1"/>
          </p:cNvSpPr>
          <p:nvPr>
            <p:ph idx="1"/>
          </p:nvPr>
        </p:nvSpPr>
        <p:spPr>
          <a:xfrm>
            <a:off x="838201" y="1825625"/>
            <a:ext cx="6348663" cy="4351338"/>
          </a:xfrm>
        </p:spPr>
        <p:txBody>
          <a:bodyPr>
            <a:normAutofit fontScale="92500" lnSpcReduction="10000"/>
          </a:bodyPr>
          <a:lstStyle/>
          <a:p>
            <a:r>
              <a:rPr lang="en-US" dirty="0"/>
              <a:t>Primary/Secondary Region for Higher Availability</a:t>
            </a:r>
          </a:p>
          <a:p>
            <a:r>
              <a:rPr lang="en-US" b="1" dirty="0"/>
              <a:t>Traffic Manager</a:t>
            </a:r>
            <a:r>
              <a:rPr lang="en-US" dirty="0"/>
              <a:t> routes requests</a:t>
            </a:r>
          </a:p>
          <a:p>
            <a:r>
              <a:rPr lang="en-US" dirty="0"/>
              <a:t>Put Primary, Secondary and</a:t>
            </a:r>
            <a:br>
              <a:rPr lang="en-US" dirty="0"/>
            </a:br>
            <a:r>
              <a:rPr lang="en-US" dirty="0"/>
              <a:t>Traffic Manager is separate </a:t>
            </a:r>
            <a:br>
              <a:rPr lang="en-US" dirty="0"/>
            </a:br>
            <a:r>
              <a:rPr lang="en-US" dirty="0"/>
              <a:t>regions</a:t>
            </a:r>
          </a:p>
          <a:p>
            <a:r>
              <a:rPr lang="en-US" dirty="0"/>
              <a:t>Make sure each region’s VNET IP</a:t>
            </a:r>
            <a:br>
              <a:rPr lang="en-US" dirty="0"/>
            </a:br>
            <a:r>
              <a:rPr lang="en-US" dirty="0"/>
              <a:t>range does not overlap</a:t>
            </a:r>
          </a:p>
          <a:p>
            <a:r>
              <a:rPr lang="en-US" dirty="0"/>
              <a:t>The same ARM template can be deployed, with minor parameter changes for VNET IP address space, and Resource locations.</a:t>
            </a:r>
          </a:p>
          <a:p>
            <a:endParaRPr lang="en-US" dirty="0"/>
          </a:p>
        </p:txBody>
      </p:sp>
    </p:spTree>
    <p:extLst>
      <p:ext uri="{BB962C8B-B14F-4D97-AF65-F5344CB8AC3E}">
        <p14:creationId xmlns:p14="http://schemas.microsoft.com/office/powerpoint/2010/main" val="3982290345"/>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10244" name="Picture 4" descr="[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8823" y="898358"/>
            <a:ext cx="6633178" cy="560621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Regional Availability - Design</a:t>
            </a:r>
          </a:p>
        </p:txBody>
      </p:sp>
      <p:sp>
        <p:nvSpPr>
          <p:cNvPr id="3" name="Content Placeholder 2"/>
          <p:cNvSpPr>
            <a:spLocks noGrp="1"/>
          </p:cNvSpPr>
          <p:nvPr>
            <p:ph idx="1"/>
          </p:nvPr>
        </p:nvSpPr>
        <p:spPr>
          <a:xfrm>
            <a:off x="838201" y="1825625"/>
            <a:ext cx="6348663" cy="4351338"/>
          </a:xfrm>
        </p:spPr>
        <p:txBody>
          <a:bodyPr>
            <a:normAutofit fontScale="92500" lnSpcReduction="20000"/>
          </a:bodyPr>
          <a:lstStyle/>
          <a:p>
            <a:r>
              <a:rPr lang="en-US" dirty="0"/>
              <a:t>Configurations</a:t>
            </a:r>
          </a:p>
          <a:p>
            <a:pPr lvl="1"/>
            <a:r>
              <a:rPr lang="en-US" b="1" dirty="0">
                <a:solidFill>
                  <a:srgbClr val="FF0000"/>
                </a:solidFill>
              </a:rPr>
              <a:t>Active/passive with hot standby </a:t>
            </a:r>
            <a:r>
              <a:rPr lang="en-US" b="1" i="1" dirty="0">
                <a:solidFill>
                  <a:srgbClr val="FF0000"/>
                </a:solidFill>
              </a:rPr>
              <a:t>(rec)</a:t>
            </a:r>
          </a:p>
          <a:p>
            <a:pPr lvl="1"/>
            <a:r>
              <a:rPr lang="en-US" dirty="0"/>
              <a:t>Active/passive with cold standby</a:t>
            </a:r>
          </a:p>
          <a:p>
            <a:pPr lvl="1"/>
            <a:r>
              <a:rPr lang="en-US" dirty="0"/>
              <a:t>Active/active</a:t>
            </a:r>
          </a:p>
          <a:p>
            <a:r>
              <a:rPr lang="en-US" dirty="0"/>
              <a:t>Use Regional Pairing</a:t>
            </a:r>
          </a:p>
          <a:p>
            <a:pPr lvl="1"/>
            <a:r>
              <a:rPr lang="en-US" dirty="0"/>
              <a:t>In broad outage, one region from</a:t>
            </a:r>
            <a:br>
              <a:rPr lang="en-US" dirty="0"/>
            </a:br>
            <a:r>
              <a:rPr lang="en-US" dirty="0"/>
              <a:t>pair is prioritized</a:t>
            </a:r>
          </a:p>
          <a:p>
            <a:pPr lvl="1"/>
            <a:r>
              <a:rPr lang="en-US" dirty="0"/>
              <a:t>Data residency issues mitigated</a:t>
            </a:r>
          </a:p>
          <a:p>
            <a:r>
              <a:rPr lang="en-US" dirty="0"/>
              <a:t>Traffic Manager </a:t>
            </a:r>
          </a:p>
          <a:p>
            <a:pPr lvl="1"/>
            <a:r>
              <a:rPr lang="en-US" dirty="0"/>
              <a:t>routing = priority, </a:t>
            </a:r>
          </a:p>
          <a:p>
            <a:pPr lvl="1"/>
            <a:r>
              <a:rPr lang="en-US" dirty="0"/>
              <a:t>health probe = write a custom service that reports accurately</a:t>
            </a:r>
          </a:p>
          <a:p>
            <a:r>
              <a:rPr lang="en-US" dirty="0"/>
              <a:t>Read Reference Architecture </a:t>
            </a:r>
            <a:r>
              <a:rPr lang="en-US" dirty="0">
                <a:hlinkClick r:id="rId4"/>
              </a:rPr>
              <a:t>Here</a:t>
            </a:r>
            <a:r>
              <a:rPr lang="en-US" dirty="0"/>
              <a:t>.</a:t>
            </a:r>
          </a:p>
          <a:p>
            <a:endParaRPr lang="en-US" dirty="0"/>
          </a:p>
        </p:txBody>
      </p:sp>
      <p:sp>
        <p:nvSpPr>
          <p:cNvPr id="4" name="TextBox 3"/>
          <p:cNvSpPr txBox="1"/>
          <p:nvPr/>
        </p:nvSpPr>
        <p:spPr>
          <a:xfrm>
            <a:off x="240632" y="6270177"/>
            <a:ext cx="12143874" cy="369332"/>
          </a:xfrm>
          <a:prstGeom prst="rect">
            <a:avLst/>
          </a:prstGeom>
          <a:noFill/>
        </p:spPr>
        <p:txBody>
          <a:bodyPr wrap="square" lIns="91432" tIns="45715" rIns="91432" bIns="45715" rtlCol="0">
            <a:spAutoFit/>
          </a:bodyPr>
          <a:lstStyle/>
          <a:p>
            <a:r>
              <a:rPr lang="en-US" dirty="0">
                <a:hlinkClick r:id="rId4"/>
              </a:rPr>
              <a:t>https://docs.microsoft.com/en-us/azure/architecture/reference-architectures/virtual-machines-linux/multi-region-application</a:t>
            </a:r>
            <a:r>
              <a:rPr lang="en-US" dirty="0"/>
              <a:t> </a:t>
            </a:r>
          </a:p>
        </p:txBody>
      </p:sp>
    </p:spTree>
    <p:extLst>
      <p:ext uri="{BB962C8B-B14F-4D97-AF65-F5344CB8AC3E}">
        <p14:creationId xmlns:p14="http://schemas.microsoft.com/office/powerpoint/2010/main" val="4193400999"/>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Availability</a:t>
            </a:r>
          </a:p>
        </p:txBody>
      </p:sp>
      <p:sp>
        <p:nvSpPr>
          <p:cNvPr id="3" name="Content Placeholder 2"/>
          <p:cNvSpPr>
            <a:spLocks noGrp="1"/>
          </p:cNvSpPr>
          <p:nvPr>
            <p:ph idx="1"/>
          </p:nvPr>
        </p:nvSpPr>
        <p:spPr/>
        <p:txBody>
          <a:bodyPr>
            <a:normAutofit fontScale="85000" lnSpcReduction="20000"/>
          </a:bodyPr>
          <a:lstStyle/>
          <a:p>
            <a:r>
              <a:rPr lang="en-US" dirty="0"/>
              <a:t>Availability within a region vs. Regional Availability</a:t>
            </a:r>
          </a:p>
          <a:p>
            <a:r>
              <a:rPr lang="en-US" dirty="0"/>
              <a:t>Azure Storage makes 3 copies of data within a region (including VM disks)</a:t>
            </a:r>
          </a:p>
          <a:p>
            <a:r>
              <a:rPr lang="en-US" dirty="0"/>
              <a:t>Use Availability Sets</a:t>
            </a:r>
          </a:p>
          <a:p>
            <a:r>
              <a:rPr lang="en-US" dirty="0"/>
              <a:t>Design loosely coupled service with asynchronous communication. Use Azure Storage queues or Azure </a:t>
            </a:r>
            <a:r>
              <a:rPr lang="en-US" dirty="0" err="1"/>
              <a:t>Sevice</a:t>
            </a:r>
            <a:r>
              <a:rPr lang="en-US" dirty="0"/>
              <a:t> Bus for queue-centric workflow.</a:t>
            </a:r>
          </a:p>
          <a:p>
            <a:r>
              <a:rPr lang="en-US" dirty="0"/>
              <a:t>Fault Detection and Retry Logic within your application</a:t>
            </a:r>
          </a:p>
          <a:p>
            <a:r>
              <a:rPr lang="en-US" dirty="0"/>
              <a:t>Circuit Breaker Pattern</a:t>
            </a:r>
          </a:p>
          <a:p>
            <a:r>
              <a:rPr lang="en-US" dirty="0"/>
              <a:t>Immutable Infrastructure, Infrastructure as Code</a:t>
            </a:r>
          </a:p>
          <a:p>
            <a:r>
              <a:rPr lang="en-US" dirty="0">
                <a:hlinkClick r:id="rId3"/>
              </a:rPr>
              <a:t>https://docs.microsoft.com/en-us/azure/architecture/resiliency/high-availability-azure-applications</a:t>
            </a:r>
            <a:endParaRPr lang="en-US" dirty="0"/>
          </a:p>
          <a:p>
            <a:r>
              <a:rPr lang="en-US" dirty="0">
                <a:hlinkClick r:id="rId4"/>
              </a:rPr>
              <a:t>https://docs.microsoft.com/en-us/azure/architecture/resiliency/index#designing-for-resiliency</a:t>
            </a:r>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7730079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2764" b="4509"/>
          <a:stretch/>
        </p:blipFill>
        <p:spPr>
          <a:xfrm>
            <a:off x="0" y="0"/>
            <a:ext cx="12191999" cy="6858000"/>
          </a:xfrm>
          <a:prstGeom prst="rect">
            <a:avLst/>
          </a:prstGeom>
        </p:spPr>
      </p:pic>
    </p:spTree>
    <p:extLst>
      <p:ext uri="{BB962C8B-B14F-4D97-AF65-F5344CB8AC3E}">
        <p14:creationId xmlns:p14="http://schemas.microsoft.com/office/powerpoint/2010/main" val="3544717808"/>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8927" y="286381"/>
            <a:ext cx="11653523" cy="927940"/>
          </a:xfrm>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2764" b="4509"/>
          <a:stretch/>
        </p:blipFill>
        <p:spPr>
          <a:xfrm>
            <a:off x="0" y="0"/>
            <a:ext cx="12191999" cy="6858000"/>
          </a:xfrm>
          <a:prstGeom prst="rect">
            <a:avLst/>
          </a:prstGeom>
        </p:spPr>
      </p:pic>
      <p:sp>
        <p:nvSpPr>
          <p:cNvPr id="3" name="Rectangle 2"/>
          <p:cNvSpPr/>
          <p:nvPr/>
        </p:nvSpPr>
        <p:spPr bwMode="auto">
          <a:xfrm>
            <a:off x="4340711" y="2917366"/>
            <a:ext cx="3377901" cy="87470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4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mpute</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5" name="Rectangle 4"/>
          <p:cNvSpPr/>
          <p:nvPr/>
        </p:nvSpPr>
        <p:spPr bwMode="auto">
          <a:xfrm>
            <a:off x="1454076" y="1810349"/>
            <a:ext cx="2138978" cy="717698"/>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3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torage</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6" name="Rectangle 5"/>
          <p:cNvSpPr/>
          <p:nvPr/>
        </p:nvSpPr>
        <p:spPr bwMode="auto">
          <a:xfrm>
            <a:off x="8276216" y="4297680"/>
            <a:ext cx="2316479" cy="1088691"/>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32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Data &amp; Analytics</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8" name="Rectangle 7"/>
          <p:cNvSpPr/>
          <p:nvPr/>
        </p:nvSpPr>
        <p:spPr bwMode="auto">
          <a:xfrm>
            <a:off x="1882588" y="3584340"/>
            <a:ext cx="1850316" cy="7133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ecurity &amp; Management</a:t>
            </a:r>
            <a:endParaRPr kumimoji="0" lang="en-US" sz="12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9" name="Rectangle 8"/>
          <p:cNvSpPr/>
          <p:nvPr/>
        </p:nvSpPr>
        <p:spPr bwMode="auto">
          <a:xfrm>
            <a:off x="5394961" y="4178205"/>
            <a:ext cx="2051124" cy="56733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Networking</a:t>
            </a:r>
            <a:endPar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1" name="Rectangle 10"/>
          <p:cNvSpPr/>
          <p:nvPr/>
        </p:nvSpPr>
        <p:spPr bwMode="auto">
          <a:xfrm>
            <a:off x="7718612" y="1320356"/>
            <a:ext cx="1850316" cy="713340"/>
          </a:xfrm>
          <a:prstGeom prst="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Overview &amp; Basics</a:t>
            </a:r>
            <a:endParaRPr kumimoji="0" lang="en-US" sz="12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24784127"/>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24000" t="23855" r="20589" b="25163"/>
          <a:stretch/>
        </p:blipFill>
        <p:spPr>
          <a:xfrm>
            <a:off x="0" y="0"/>
            <a:ext cx="12210560" cy="6858000"/>
          </a:xfrm>
          <a:prstGeom prst="rect">
            <a:avLst/>
          </a:prstGeom>
        </p:spPr>
      </p:pic>
      <p:sp>
        <p:nvSpPr>
          <p:cNvPr id="5" name="Rectangle 4"/>
          <p:cNvSpPr/>
          <p:nvPr/>
        </p:nvSpPr>
        <p:spPr bwMode="auto">
          <a:xfrm>
            <a:off x="2377440" y="2503195"/>
            <a:ext cx="6277087" cy="150402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8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mpute</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41515758"/>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8A1F64-C163-4D35-9DAD-43F25536353C}"/>
              </a:ext>
            </a:extLst>
          </p:cNvPr>
          <p:cNvSpPr>
            <a:spLocks noGrp="1"/>
          </p:cNvSpPr>
          <p:nvPr>
            <p:ph type="title"/>
          </p:nvPr>
        </p:nvSpPr>
        <p:spPr/>
        <p:txBody>
          <a:bodyPr/>
          <a:lstStyle/>
          <a:p>
            <a:r>
              <a:rPr lang="en-US"/>
              <a:t>Compute</a:t>
            </a:r>
          </a:p>
        </p:txBody>
      </p:sp>
      <p:graphicFrame>
        <p:nvGraphicFramePr>
          <p:cNvPr id="6" name="Content Placeholder 5">
            <a:extLst>
              <a:ext uri="{FF2B5EF4-FFF2-40B4-BE49-F238E27FC236}">
                <a16:creationId xmlns:a16="http://schemas.microsoft.com/office/drawing/2014/main" id="{697F6F88-465C-4068-B44D-CECE3E38F253}"/>
              </a:ext>
            </a:extLst>
          </p:cNvPr>
          <p:cNvGraphicFramePr>
            <a:graphicFrameLocks noGrp="1"/>
          </p:cNvGraphicFramePr>
          <p:nvPr>
            <p:ph idx="1"/>
            <p:extLst/>
          </p:nvPr>
        </p:nvGraphicFramePr>
        <p:xfrm>
          <a:off x="838200" y="1825624"/>
          <a:ext cx="10515600" cy="42355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Arrow: Left-Right 7">
            <a:extLst>
              <a:ext uri="{FF2B5EF4-FFF2-40B4-BE49-F238E27FC236}">
                <a16:creationId xmlns:a16="http://schemas.microsoft.com/office/drawing/2014/main" id="{CB95E4A3-C6CF-46DF-9727-201D440A86AD}"/>
              </a:ext>
            </a:extLst>
          </p:cNvPr>
          <p:cNvSpPr/>
          <p:nvPr/>
        </p:nvSpPr>
        <p:spPr>
          <a:xfrm>
            <a:off x="1482436" y="3943394"/>
            <a:ext cx="9227127" cy="112683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 name="TextBox 8">
            <a:extLst>
              <a:ext uri="{FF2B5EF4-FFF2-40B4-BE49-F238E27FC236}">
                <a16:creationId xmlns:a16="http://schemas.microsoft.com/office/drawing/2014/main" id="{8E36812A-F303-4416-AEFA-93AA17B65680}"/>
              </a:ext>
            </a:extLst>
          </p:cNvPr>
          <p:cNvSpPr txBox="1"/>
          <p:nvPr/>
        </p:nvSpPr>
        <p:spPr>
          <a:xfrm>
            <a:off x="1394887" y="5070230"/>
            <a:ext cx="1503955" cy="369332"/>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mn-cs"/>
              </a:rPr>
              <a:t>SERVERS!</a:t>
            </a:r>
          </a:p>
        </p:txBody>
      </p:sp>
      <p:sp>
        <p:nvSpPr>
          <p:cNvPr id="10" name="TextBox 9">
            <a:extLst>
              <a:ext uri="{FF2B5EF4-FFF2-40B4-BE49-F238E27FC236}">
                <a16:creationId xmlns:a16="http://schemas.microsoft.com/office/drawing/2014/main" id="{10045F2F-9756-4069-9BC0-D023EF91CF1B}"/>
              </a:ext>
            </a:extLst>
          </p:cNvPr>
          <p:cNvSpPr txBox="1"/>
          <p:nvPr/>
        </p:nvSpPr>
        <p:spPr>
          <a:xfrm>
            <a:off x="9527726" y="5070230"/>
            <a:ext cx="1503955" cy="369332"/>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mn-cs"/>
              </a:rPr>
              <a:t>SERVERLESS!</a:t>
            </a:r>
          </a:p>
        </p:txBody>
      </p:sp>
      <p:sp>
        <p:nvSpPr>
          <p:cNvPr id="2" name="TextBox 1">
            <a:extLst>
              <a:ext uri="{FF2B5EF4-FFF2-40B4-BE49-F238E27FC236}">
                <a16:creationId xmlns:a16="http://schemas.microsoft.com/office/drawing/2014/main" id="{A7C1C82E-E07D-4077-AEDA-EC4BC370CEB6}"/>
              </a:ext>
            </a:extLst>
          </p:cNvPr>
          <p:cNvSpPr txBox="1"/>
          <p:nvPr/>
        </p:nvSpPr>
        <p:spPr>
          <a:xfrm>
            <a:off x="702527" y="6166624"/>
            <a:ext cx="11106614"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https://aka.ms/comparecompute</a:t>
            </a:r>
          </a:p>
        </p:txBody>
      </p:sp>
    </p:spTree>
    <p:extLst>
      <p:ext uri="{BB962C8B-B14F-4D97-AF65-F5344CB8AC3E}">
        <p14:creationId xmlns:p14="http://schemas.microsoft.com/office/powerpoint/2010/main" val="351480575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047C8CCB-F95D-4249-92DD-651249D3535A}"/>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6C74FAB7-89EE-4C74-B759-1B8D676D29EF}"/>
              </a:ext>
            </a:extLst>
          </p:cNvPr>
          <p:cNvSpPr>
            <a:spLocks noGrp="1"/>
          </p:cNvSpPr>
          <p:nvPr>
            <p:ph type="title"/>
          </p:nvPr>
        </p:nvSpPr>
        <p:spPr>
          <a:xfrm>
            <a:off x="640080" y="2074363"/>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defTabSz="914400"/>
            <a:r>
              <a:rPr lang="en-US" sz="2600" kern="1200" dirty="0">
                <a:solidFill>
                  <a:schemeClr val="bg1"/>
                </a:solidFill>
                <a:latin typeface="+mj-lt"/>
                <a:ea typeface="+mj-ea"/>
                <a:cs typeface="+mj-cs"/>
              </a:rPr>
              <a:t>Azure Doc: Compare Compute Options</a:t>
            </a:r>
          </a:p>
        </p:txBody>
      </p:sp>
      <p:sp>
        <p:nvSpPr>
          <p:cNvPr id="6" name="TextBox 5">
            <a:extLst>
              <a:ext uri="{FF2B5EF4-FFF2-40B4-BE49-F238E27FC236}">
                <a16:creationId xmlns:a16="http://schemas.microsoft.com/office/drawing/2014/main" id="{7F1A107D-A2A1-488F-8FBD-64FEEF1C35F7}"/>
              </a:ext>
            </a:extLst>
          </p:cNvPr>
          <p:cNvSpPr txBox="1"/>
          <p:nvPr/>
        </p:nvSpPr>
        <p:spPr>
          <a:xfrm>
            <a:off x="3560060" y="6261618"/>
            <a:ext cx="8631940" cy="369332"/>
          </a:xfrm>
          <a:prstGeom prst="rect">
            <a:avLst/>
          </a:prstGeom>
          <a:noFill/>
        </p:spPr>
        <p:txBody>
          <a:bodyPr wrap="square"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hlinkClick r:id="rId2"/>
              </a:rPr>
              <a:t>https://aka.ms/comparecompute</a:t>
            </a:r>
            <a:endParaRPr kumimoji="0" lang="en-US" sz="18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pic>
        <p:nvPicPr>
          <p:cNvPr id="2050" name="Picture 2" descr="C:\Users\DaveB\AppData\Local\Temp\SNAGHTML90aafb1.PNG">
            <a:extLst>
              <a:ext uri="{FF2B5EF4-FFF2-40B4-BE49-F238E27FC236}">
                <a16:creationId xmlns:a16="http://schemas.microsoft.com/office/drawing/2014/main" id="{57474C77-FAE9-4023-B937-7ADE6DB2F3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60060" y="811953"/>
            <a:ext cx="8455728" cy="52340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25739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06FDB-4FB0-4A04-B313-30F70C089010}"/>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D67568A-A0B2-471F-8030-6D66006EFB42}"/>
              </a:ext>
            </a:extLst>
          </p:cNvPr>
          <p:cNvSpPr>
            <a:spLocks noGrp="1"/>
          </p:cNvSpPr>
          <p:nvPr>
            <p:ph type="subTitle" idx="1"/>
          </p:nvPr>
        </p:nvSpPr>
        <p:spPr/>
        <p:txBody>
          <a:bodyPr/>
          <a:lstStyle/>
          <a:p>
            <a:endParaRPr lang="en-US"/>
          </a:p>
        </p:txBody>
      </p:sp>
      <p:pic>
        <p:nvPicPr>
          <p:cNvPr id="27650" name="Picture 2" descr="Related image">
            <a:extLst>
              <a:ext uri="{FF2B5EF4-FFF2-40B4-BE49-F238E27FC236}">
                <a16:creationId xmlns:a16="http://schemas.microsoft.com/office/drawing/2014/main" id="{B3355BC0-154C-4A84-826B-2B494EBB748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39721" y="458147"/>
            <a:ext cx="8705323" cy="58035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854447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 (ARM)</a:t>
            </a:r>
            <a:br>
              <a:rPr lang="en-US" dirty="0"/>
            </a:br>
            <a:endParaRPr lang="en-US" dirty="0"/>
          </a:p>
        </p:txBody>
      </p:sp>
      <p:sp>
        <p:nvSpPr>
          <p:cNvPr id="2" name="Text Placeholder 1"/>
          <p:cNvSpPr>
            <a:spLocks noGrp="1"/>
          </p:cNvSpPr>
          <p:nvPr>
            <p:ph type="body" sz="quarter" idx="10"/>
          </p:nvPr>
        </p:nvSpPr>
        <p:spPr>
          <a:xfrm>
            <a:off x="251975" y="1486472"/>
            <a:ext cx="5993429" cy="4095947"/>
          </a:xfrm>
        </p:spPr>
        <p:txBody>
          <a:bodyPr/>
          <a:lstStyle/>
          <a:p>
            <a:r>
              <a:rPr lang="en-US" sz="2400" dirty="0"/>
              <a:t>All services offered as </a:t>
            </a:r>
            <a:r>
              <a:rPr lang="en-US" sz="2400" b="1" dirty="0"/>
              <a:t>ARM resources</a:t>
            </a:r>
          </a:p>
          <a:p>
            <a:pPr marL="336114" indent="-336114">
              <a:buFont typeface="Arial" panose="020B0604020202020204" pitchFamily="34" charset="0"/>
              <a:buChar char="•"/>
            </a:pPr>
            <a:r>
              <a:rPr lang="en-US" sz="2400" dirty="0"/>
              <a:t>Consistent model for creating/managing Azure resources</a:t>
            </a:r>
          </a:p>
          <a:p>
            <a:pPr marL="336114" indent="-336114">
              <a:buFont typeface="Arial" panose="020B0604020202020204" pitchFamily="34" charset="0"/>
              <a:buChar char="•"/>
            </a:pPr>
            <a:r>
              <a:rPr lang="en-US" sz="2400" dirty="0"/>
              <a:t>Based on declarative templates</a:t>
            </a:r>
          </a:p>
          <a:p>
            <a:endParaRPr lang="en-US" sz="2400" dirty="0"/>
          </a:p>
          <a:p>
            <a:r>
              <a:rPr lang="en-US" sz="2400" dirty="0"/>
              <a:t>Resources are managed in </a:t>
            </a:r>
            <a:r>
              <a:rPr lang="en-US" sz="2400" b="1" dirty="0"/>
              <a:t>resource groups</a:t>
            </a:r>
          </a:p>
          <a:p>
            <a:pPr marL="336114" indent="-336114">
              <a:buFont typeface="Arial" panose="020B0604020202020204" pitchFamily="34" charset="0"/>
              <a:buChar char="•"/>
            </a:pPr>
            <a:r>
              <a:rPr lang="en-US" sz="2400" dirty="0"/>
              <a:t>Deployed together</a:t>
            </a:r>
          </a:p>
          <a:p>
            <a:pPr marL="336114" indent="-336114">
              <a:buFont typeface="Arial" panose="020B0604020202020204" pitchFamily="34" charset="0"/>
              <a:buChar char="•"/>
            </a:pPr>
            <a:r>
              <a:rPr lang="en-US" sz="2400" dirty="0"/>
              <a:t>Managed together</a:t>
            </a:r>
          </a:p>
          <a:p>
            <a:pPr marL="336114" indent="-336114">
              <a:buFont typeface="Arial" panose="020B0604020202020204" pitchFamily="34" charset="0"/>
              <a:buChar char="•"/>
            </a:pPr>
            <a:r>
              <a:rPr lang="en-US" sz="2400" dirty="0"/>
              <a:t>Provides RBAC support</a:t>
            </a:r>
          </a:p>
          <a:p>
            <a:endParaRPr lang="en-US" sz="2400" dirty="0"/>
          </a:p>
        </p:txBody>
      </p:sp>
      <p:pic>
        <p:nvPicPr>
          <p:cNvPr id="4" name="Picture 3"/>
          <p:cNvPicPr>
            <a:picLocks noChangeAspect="1"/>
          </p:cNvPicPr>
          <p:nvPr/>
        </p:nvPicPr>
        <p:blipFill>
          <a:blip r:embed="rId3"/>
          <a:stretch>
            <a:fillRect/>
          </a:stretch>
        </p:blipFill>
        <p:spPr>
          <a:xfrm>
            <a:off x="6023610" y="1408759"/>
            <a:ext cx="5888864" cy="4963713"/>
          </a:xfrm>
          <a:prstGeom prst="rect">
            <a:avLst/>
          </a:prstGeom>
        </p:spPr>
      </p:pic>
    </p:spTree>
    <p:extLst>
      <p:ext uri="{BB962C8B-B14F-4D97-AF65-F5344CB8AC3E}">
        <p14:creationId xmlns:p14="http://schemas.microsoft.com/office/powerpoint/2010/main" val="803547789"/>
      </p:ext>
    </p:extLst>
  </p:cSld>
  <p:clrMapOvr>
    <a:masterClrMapping/>
  </p:clrMapOvr>
  <mc:AlternateContent xmlns:mc="http://schemas.openxmlformats.org/markup-compatibility/2006" xmlns:p14="http://schemas.microsoft.com/office/powerpoint/2010/main">
    <mc:Choice Requires="p14">
      <p:transition spd="med" p14:dur="700" advTm="42650">
        <p:fade/>
      </p:transition>
    </mc:Choice>
    <mc:Fallback xmlns="">
      <p:transition spd="med" advTm="4265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animEffect transition="in" filter="fade">
                                      <p:cBhvr>
                                        <p:cTn id="11" dur="500"/>
                                        <p:tgtEl>
                                          <p:spTgt spid="2">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
                                            <p:txEl>
                                              <p:pRg st="2" end="2"/>
                                            </p:txEl>
                                          </p:spTgt>
                                        </p:tgtEl>
                                        <p:attrNameLst>
                                          <p:attrName>style.visibility</p:attrName>
                                        </p:attrNameLst>
                                      </p:cBhvr>
                                      <p:to>
                                        <p:strVal val="visible"/>
                                      </p:to>
                                    </p:set>
                                    <p:animEffect transition="in" filter="fade">
                                      <p:cBhvr>
                                        <p:cTn id="16" dur="500"/>
                                        <p:tgtEl>
                                          <p:spTgt spid="2">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
                                            <p:txEl>
                                              <p:pRg st="4" end="4"/>
                                            </p:txEl>
                                          </p:spTgt>
                                        </p:tgtEl>
                                        <p:attrNameLst>
                                          <p:attrName>style.visibility</p:attrName>
                                        </p:attrNameLst>
                                      </p:cBhvr>
                                      <p:to>
                                        <p:strVal val="visible"/>
                                      </p:to>
                                    </p:set>
                                    <p:animEffect transition="in" filter="fade">
                                      <p:cBhvr>
                                        <p:cTn id="21" dur="500"/>
                                        <p:tgtEl>
                                          <p:spTgt spid="2">
                                            <p:txEl>
                                              <p:pRg st="4" end="4"/>
                                            </p:txEl>
                                          </p:spTgt>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2">
                                            <p:txEl>
                                              <p:pRg st="5" end="5"/>
                                            </p:txEl>
                                          </p:spTgt>
                                        </p:tgtEl>
                                        <p:attrNameLst>
                                          <p:attrName>style.visibility</p:attrName>
                                        </p:attrNameLst>
                                      </p:cBhvr>
                                      <p:to>
                                        <p:strVal val="visible"/>
                                      </p:to>
                                    </p:set>
                                    <p:animEffect transition="in" filter="fade">
                                      <p:cBhvr>
                                        <p:cTn id="25" dur="500"/>
                                        <p:tgtEl>
                                          <p:spTgt spid="2">
                                            <p:txEl>
                                              <p:pRg st="5" end="5"/>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2">
                                            <p:txEl>
                                              <p:pRg st="6" end="6"/>
                                            </p:txEl>
                                          </p:spTgt>
                                        </p:tgtEl>
                                        <p:attrNameLst>
                                          <p:attrName>style.visibility</p:attrName>
                                        </p:attrNameLst>
                                      </p:cBhvr>
                                      <p:to>
                                        <p:strVal val="visible"/>
                                      </p:to>
                                    </p:set>
                                    <p:animEffect transition="in" filter="fade">
                                      <p:cBhvr>
                                        <p:cTn id="30" dur="500"/>
                                        <p:tgtEl>
                                          <p:spTgt spid="2">
                                            <p:txEl>
                                              <p:pRg st="6" end="6"/>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
                                            <p:txEl>
                                              <p:pRg st="7" end="7"/>
                                            </p:txEl>
                                          </p:spTgt>
                                        </p:tgtEl>
                                        <p:attrNameLst>
                                          <p:attrName>style.visibility</p:attrName>
                                        </p:attrNameLst>
                                      </p:cBhvr>
                                      <p:to>
                                        <p:strVal val="visible"/>
                                      </p:to>
                                    </p:set>
                                    <p:animEffect transition="in" filter="fade">
                                      <p:cBhvr>
                                        <p:cTn id="35" dur="500"/>
                                        <p:tgtEl>
                                          <p:spTgt spid="2">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1" y="1189178"/>
            <a:ext cx="11653523" cy="4188540"/>
          </a:xfrm>
        </p:spPr>
        <p:txBody>
          <a:bodyPr/>
          <a:lstStyle/>
          <a:p>
            <a:r>
              <a:rPr lang="en-US" dirty="0"/>
              <a:t>Resource</a:t>
            </a:r>
          </a:p>
          <a:p>
            <a:pPr lvl="1"/>
            <a:r>
              <a:rPr lang="en-US" dirty="0"/>
              <a:t>A manageable unit of Azure infrastructure</a:t>
            </a:r>
          </a:p>
          <a:p>
            <a:pPr lvl="1"/>
            <a:r>
              <a:rPr lang="en-US" dirty="0"/>
              <a:t>Examples: virtual machine, load balancer, storage account</a:t>
            </a:r>
          </a:p>
          <a:p>
            <a:r>
              <a:rPr lang="en-US" dirty="0"/>
              <a:t>Resource provider</a:t>
            </a:r>
          </a:p>
          <a:p>
            <a:pPr lvl="1"/>
            <a:r>
              <a:rPr lang="en-US" dirty="0"/>
              <a:t>A service that allows for creation and management of resources</a:t>
            </a:r>
          </a:p>
          <a:p>
            <a:pPr lvl="1"/>
            <a:r>
              <a:rPr lang="en-US" dirty="0"/>
              <a:t>Examples: Compute Resource Provider, Storage Resource Provider</a:t>
            </a:r>
          </a:p>
          <a:p>
            <a:r>
              <a:rPr lang="en-US" dirty="0"/>
              <a:t>Resource manager template</a:t>
            </a:r>
          </a:p>
          <a:p>
            <a:pPr lvl="1"/>
            <a:r>
              <a:rPr lang="en-US" dirty="0"/>
              <a:t>A declarative template for describing a resource group</a:t>
            </a:r>
          </a:p>
        </p:txBody>
      </p:sp>
      <p:sp>
        <p:nvSpPr>
          <p:cNvPr id="2" name="Title 1"/>
          <p:cNvSpPr>
            <a:spLocks noGrp="1"/>
          </p:cNvSpPr>
          <p:nvPr>
            <p:ph type="title"/>
          </p:nvPr>
        </p:nvSpPr>
        <p:spPr/>
        <p:txBody>
          <a:bodyPr/>
          <a:lstStyle/>
          <a:p>
            <a:r>
              <a:rPr lang="en-US" dirty="0"/>
              <a:t>Azure Resource Manager Terminology</a:t>
            </a:r>
          </a:p>
        </p:txBody>
      </p:sp>
    </p:spTree>
    <p:extLst>
      <p:ext uri="{BB962C8B-B14F-4D97-AF65-F5344CB8AC3E}">
        <p14:creationId xmlns:p14="http://schemas.microsoft.com/office/powerpoint/2010/main" val="36814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047C8CCB-F95D-4249-92DD-651249D3535A}"/>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6C74FAB7-89EE-4C74-B759-1B8D676D29EF}"/>
              </a:ext>
            </a:extLst>
          </p:cNvPr>
          <p:cNvSpPr>
            <a:spLocks noGrp="1"/>
          </p:cNvSpPr>
          <p:nvPr>
            <p:ph type="title"/>
          </p:nvPr>
        </p:nvSpPr>
        <p:spPr>
          <a:xfrm>
            <a:off x="640080" y="2074363"/>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defTabSz="914400"/>
            <a:r>
              <a:rPr lang="en-US" sz="2600" kern="1200" dirty="0">
                <a:solidFill>
                  <a:schemeClr val="bg1"/>
                </a:solidFill>
                <a:latin typeface="+mj-lt"/>
                <a:ea typeface="+mj-ea"/>
                <a:cs typeface="+mj-cs"/>
              </a:rPr>
              <a:t>Reusable ARM Templates</a:t>
            </a:r>
          </a:p>
        </p:txBody>
      </p:sp>
      <p:sp>
        <p:nvSpPr>
          <p:cNvPr id="6" name="TextBox 5">
            <a:extLst>
              <a:ext uri="{FF2B5EF4-FFF2-40B4-BE49-F238E27FC236}">
                <a16:creationId xmlns:a16="http://schemas.microsoft.com/office/drawing/2014/main" id="{7F1A107D-A2A1-488F-8FBD-64FEEF1C35F7}"/>
              </a:ext>
            </a:extLst>
          </p:cNvPr>
          <p:cNvSpPr txBox="1"/>
          <p:nvPr/>
        </p:nvSpPr>
        <p:spPr>
          <a:xfrm>
            <a:off x="4032514" y="6412230"/>
            <a:ext cx="8159486" cy="369332"/>
          </a:xfrm>
          <a:prstGeom prst="rect">
            <a:avLst/>
          </a:prstGeom>
          <a:noFill/>
        </p:spPr>
        <p:txBody>
          <a:bodyPr wrap="square" rtlCol="0">
            <a:spAutoFit/>
          </a:bodyPr>
          <a:lstStyle/>
          <a:p>
            <a:r>
              <a:rPr lang="en-US" dirty="0">
                <a:hlinkClick r:id="rId2"/>
              </a:rPr>
              <a:t>https://azure.microsoft.com/en-us/resources/templates/</a:t>
            </a:r>
            <a:endParaRPr lang="en-US" dirty="0"/>
          </a:p>
        </p:txBody>
      </p:sp>
      <p:pic>
        <p:nvPicPr>
          <p:cNvPr id="2" name="Picture 1">
            <a:extLst>
              <a:ext uri="{FF2B5EF4-FFF2-40B4-BE49-F238E27FC236}">
                <a16:creationId xmlns:a16="http://schemas.microsoft.com/office/drawing/2014/main" id="{FBDC7E51-071B-4A3E-8659-6C1532043956}"/>
              </a:ext>
            </a:extLst>
          </p:cNvPr>
          <p:cNvPicPr>
            <a:picLocks noChangeAspect="1"/>
          </p:cNvPicPr>
          <p:nvPr/>
        </p:nvPicPr>
        <p:blipFill>
          <a:blip r:embed="rId3"/>
          <a:stretch>
            <a:fillRect/>
          </a:stretch>
        </p:blipFill>
        <p:spPr>
          <a:xfrm>
            <a:off x="4032514" y="129302"/>
            <a:ext cx="7308506" cy="6206490"/>
          </a:xfrm>
          <a:prstGeom prst="rect">
            <a:avLst/>
          </a:prstGeom>
        </p:spPr>
      </p:pic>
    </p:spTree>
    <p:extLst>
      <p:ext uri="{BB962C8B-B14F-4D97-AF65-F5344CB8AC3E}">
        <p14:creationId xmlns:p14="http://schemas.microsoft.com/office/powerpoint/2010/main" val="32120104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6BCC4F-2A54-4A56-8733-3CE08E465E74}"/>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CB83BFA8-C291-431F-8FE9-59E39A88D3C0}"/>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655C7C33-59D1-4501-800B-BD3B52649C70}"/>
              </a:ext>
            </a:extLst>
          </p:cNvPr>
          <p:cNvPicPr>
            <a:picLocks noChangeAspect="1"/>
          </p:cNvPicPr>
          <p:nvPr/>
        </p:nvPicPr>
        <p:blipFill>
          <a:blip r:embed="rId2"/>
          <a:stretch>
            <a:fillRect/>
          </a:stretch>
        </p:blipFill>
        <p:spPr>
          <a:xfrm>
            <a:off x="0" y="228600"/>
            <a:ext cx="12192000" cy="6400800"/>
          </a:xfrm>
          <a:prstGeom prst="rect">
            <a:avLst/>
          </a:prstGeom>
        </p:spPr>
      </p:pic>
    </p:spTree>
    <p:extLst>
      <p:ext uri="{BB962C8B-B14F-4D97-AF65-F5344CB8AC3E}">
        <p14:creationId xmlns:p14="http://schemas.microsoft.com/office/powerpoint/2010/main" val="17627392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B3193-C3C3-411E-B6B5-5681DD3C0FAC}"/>
              </a:ext>
            </a:extLst>
          </p:cNvPr>
          <p:cNvSpPr>
            <a:spLocks noGrp="1"/>
          </p:cNvSpPr>
          <p:nvPr>
            <p:ph type="title"/>
          </p:nvPr>
        </p:nvSpPr>
        <p:spPr/>
        <p:txBody>
          <a:bodyPr/>
          <a:lstStyle/>
          <a:p>
            <a:endParaRPr lang="en-US" dirty="0"/>
          </a:p>
        </p:txBody>
      </p:sp>
      <p:sp>
        <p:nvSpPr>
          <p:cNvPr id="3" name="Content Placeholder 2">
            <a:extLst>
              <a:ext uri="{FF2B5EF4-FFF2-40B4-BE49-F238E27FC236}">
                <a16:creationId xmlns:a16="http://schemas.microsoft.com/office/drawing/2014/main" id="{8F9E7EFD-EB48-4B22-80BD-64C75C704327}"/>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364EE72F-02A3-46F4-9BA9-A78A72234841}"/>
              </a:ext>
            </a:extLst>
          </p:cNvPr>
          <p:cNvPicPr>
            <a:picLocks noChangeAspect="1"/>
          </p:cNvPicPr>
          <p:nvPr/>
        </p:nvPicPr>
        <p:blipFill>
          <a:blip r:embed="rId2"/>
          <a:stretch>
            <a:fillRect/>
          </a:stretch>
        </p:blipFill>
        <p:spPr>
          <a:xfrm>
            <a:off x="0" y="228600"/>
            <a:ext cx="12192000" cy="6400800"/>
          </a:xfrm>
          <a:prstGeom prst="rect">
            <a:avLst/>
          </a:prstGeom>
        </p:spPr>
      </p:pic>
    </p:spTree>
    <p:extLst>
      <p:ext uri="{BB962C8B-B14F-4D97-AF65-F5344CB8AC3E}">
        <p14:creationId xmlns:p14="http://schemas.microsoft.com/office/powerpoint/2010/main" val="41084938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749D96-2EE8-42A9-ACE0-C1208B5824BB}"/>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D4C03287-CAA6-4AB3-885F-21541758CB8E}"/>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20638958-CB6A-4A1A-928E-36AC4B92766A}"/>
              </a:ext>
            </a:extLst>
          </p:cNvPr>
          <p:cNvPicPr>
            <a:picLocks noChangeAspect="1"/>
          </p:cNvPicPr>
          <p:nvPr/>
        </p:nvPicPr>
        <p:blipFill>
          <a:blip r:embed="rId3"/>
          <a:stretch>
            <a:fillRect/>
          </a:stretch>
        </p:blipFill>
        <p:spPr>
          <a:xfrm>
            <a:off x="0" y="228600"/>
            <a:ext cx="12192000" cy="6400800"/>
          </a:xfrm>
          <a:prstGeom prst="rect">
            <a:avLst/>
          </a:prstGeom>
        </p:spPr>
      </p:pic>
    </p:spTree>
    <p:extLst>
      <p:ext uri="{BB962C8B-B14F-4D97-AF65-F5344CB8AC3E}">
        <p14:creationId xmlns:p14="http://schemas.microsoft.com/office/powerpoint/2010/main" val="5963948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9B042-FA30-4D37-B9EE-566ADDA0740A}"/>
              </a:ext>
            </a:extLst>
          </p:cNvPr>
          <p:cNvSpPr>
            <a:spLocks noGrp="1"/>
          </p:cNvSpPr>
          <p:nvPr>
            <p:ph type="title"/>
          </p:nvPr>
        </p:nvSpPr>
        <p:spPr/>
        <p:txBody>
          <a:bodyPr/>
          <a:lstStyle/>
          <a:p>
            <a:r>
              <a:rPr lang="en-US" dirty="0"/>
              <a:t>Reusable ARM templates</a:t>
            </a:r>
          </a:p>
        </p:txBody>
      </p:sp>
      <p:sp>
        <p:nvSpPr>
          <p:cNvPr id="3" name="Text Placeholder 2">
            <a:extLst>
              <a:ext uri="{FF2B5EF4-FFF2-40B4-BE49-F238E27FC236}">
                <a16:creationId xmlns:a16="http://schemas.microsoft.com/office/drawing/2014/main" id="{83FA67E0-9856-495D-8F5C-55E0EFC52EA7}"/>
              </a:ext>
            </a:extLst>
          </p:cNvPr>
          <p:cNvSpPr>
            <a:spLocks noGrp="1"/>
          </p:cNvSpPr>
          <p:nvPr>
            <p:ph type="body" sz="quarter" idx="10"/>
          </p:nvPr>
        </p:nvSpPr>
        <p:spPr>
          <a:xfrm>
            <a:off x="269240" y="1419032"/>
            <a:ext cx="6200270" cy="2680174"/>
          </a:xfrm>
        </p:spPr>
        <p:txBody>
          <a:bodyPr/>
          <a:lstStyle/>
          <a:p>
            <a:pPr marL="336114" indent="-336114">
              <a:buFont typeface="Arial" panose="020B0604020202020204" pitchFamily="34" charset="0"/>
              <a:buChar char="•"/>
            </a:pPr>
            <a:r>
              <a:rPr lang="en-US" sz="2400" dirty="0"/>
              <a:t>A declarative template for describing a resource group</a:t>
            </a:r>
          </a:p>
          <a:p>
            <a:pPr marL="336114" indent="-336114">
              <a:buFont typeface="Arial" panose="020B0604020202020204" pitchFamily="34" charset="0"/>
              <a:buChar char="•"/>
            </a:pPr>
            <a:r>
              <a:rPr lang="en-US" sz="2400" dirty="0"/>
              <a:t>Community offered or Build your own</a:t>
            </a:r>
          </a:p>
          <a:p>
            <a:pPr marL="336114" indent="-336114">
              <a:buFont typeface="Arial" panose="020B0604020202020204" pitchFamily="34" charset="0"/>
              <a:buChar char="•"/>
            </a:pPr>
            <a:endParaRPr lang="en-US" sz="2400" dirty="0"/>
          </a:p>
          <a:p>
            <a:pPr marL="336114" indent="-336114">
              <a:buFont typeface="Arial" panose="020B0604020202020204" pitchFamily="34" charset="0"/>
              <a:buChar char="•"/>
            </a:pPr>
            <a:r>
              <a:rPr lang="en-US" sz="2400" dirty="0"/>
              <a:t>Learn about template here: </a:t>
            </a:r>
          </a:p>
          <a:p>
            <a:r>
              <a:rPr lang="en-US" sz="2000" dirty="0">
                <a:hlinkClick r:id="rId6"/>
              </a:rPr>
              <a:t>https://azure.microsoft.com/en-us/resources/templates/</a:t>
            </a:r>
            <a:endParaRPr lang="en-US" sz="2000" dirty="0"/>
          </a:p>
        </p:txBody>
      </p:sp>
      <p:pic>
        <p:nvPicPr>
          <p:cNvPr id="4" name="Picture 3">
            <a:extLst>
              <a:ext uri="{FF2B5EF4-FFF2-40B4-BE49-F238E27FC236}">
                <a16:creationId xmlns:a16="http://schemas.microsoft.com/office/drawing/2014/main" id="{DD4236DF-7FF8-4106-98BA-1F8E5BA3E23E}"/>
              </a:ext>
            </a:extLst>
          </p:cNvPr>
          <p:cNvPicPr>
            <a:picLocks noChangeAspect="1"/>
          </p:cNvPicPr>
          <p:nvPr/>
        </p:nvPicPr>
        <p:blipFill>
          <a:blip r:embed="rId7"/>
          <a:stretch>
            <a:fillRect/>
          </a:stretch>
        </p:blipFill>
        <p:spPr>
          <a:xfrm>
            <a:off x="6469510" y="1418545"/>
            <a:ext cx="5597718" cy="5413205"/>
          </a:xfrm>
          <a:prstGeom prst="rect">
            <a:avLst/>
          </a:prstGeom>
        </p:spPr>
      </p:pic>
      <p:pic>
        <p:nvPicPr>
          <p:cNvPr id="6" name="tmp5FCF">
            <a:hlinkClick r:id="" action="ppaction://media"/>
            <a:extLst>
              <a:ext uri="{FF2B5EF4-FFF2-40B4-BE49-F238E27FC236}">
                <a16:creationId xmlns:a16="http://schemas.microsoft.com/office/drawing/2014/main" id="{500C80D0-EBE0-4767-BDD3-96A14DA1673C}"/>
              </a:ext>
            </a:extLst>
          </p:cNvPr>
          <p:cNvPicPr>
            <a:picLocks noChangeAspect="1"/>
          </p:cNvPicPr>
          <p:nvPr>
            <a:videoFile r:link="rId1"/>
            <p:custDataLst>
              <p:tags r:id="rId2"/>
            </p:custDataLst>
            <p:extLst>
              <p:ext uri="{DAA4B4D4-6D71-4841-9C94-3DE7FCFB9230}">
                <p14:media xmlns:p14="http://schemas.microsoft.com/office/powerpoint/2010/main" r:embed="rId3">
                  <p14:trim end="29.2222"/>
                </p14:media>
              </p:ext>
              <p:ext uri="{42D2F446-02D8-4167-A562-619A0277C38B}">
                <p15:isNarration xmlns:p15="http://schemas.microsoft.com/office/powerpoint/2012/main" val="1"/>
              </p:ext>
            </p:extLst>
          </p:nvPr>
        </p:nvPicPr>
        <p:blipFill>
          <a:blip r:embed="rId8"/>
          <a:stretch>
            <a:fillRect/>
          </a:stretch>
        </p:blipFill>
        <p:spPr>
          <a:xfrm>
            <a:off x="11868291" y="99617"/>
            <a:ext cx="224106" cy="224138"/>
          </a:xfrm>
          <a:prstGeom prst="rect">
            <a:avLst/>
          </a:prstGeom>
        </p:spPr>
      </p:pic>
    </p:spTree>
    <p:extLst>
      <p:ext uri="{BB962C8B-B14F-4D97-AF65-F5344CB8AC3E}">
        <p14:creationId xmlns:p14="http://schemas.microsoft.com/office/powerpoint/2010/main" val="4086061408"/>
      </p:ext>
    </p:extLst>
  </p:cSld>
  <p:clrMapOvr>
    <a:masterClrMapping/>
  </p:clrMapOvr>
  <mc:AlternateContent xmlns:mc="http://schemas.openxmlformats.org/markup-compatibility/2006" xmlns:p14="http://schemas.microsoft.com/office/powerpoint/2010/main">
    <mc:Choice Requires="p14">
      <p:transition spd="med" p14:dur="700" advTm="19312">
        <p:fade/>
      </p:transition>
    </mc:Choice>
    <mc:Fallback xmlns="">
      <p:transition spd="med" advTm="1931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1"/>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1439310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2"/>
            <a:ext cx="7401157" cy="2444081"/>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Ubuntu, Red Hat, Windows, SUSE, CoreO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DevOps Extensions with Chef and Puppet</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Multiple sizes </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undreds of items in marketplace</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cs typeface="Segoe UI Semibold" panose="020B0702040204020203" pitchFamily="34" charset="0"/>
            </a:endParaRPr>
          </a:p>
        </p:txBody>
      </p:sp>
      <p:sp>
        <p:nvSpPr>
          <p:cNvPr id="5" name="Title 1"/>
          <p:cNvSpPr txBox="1">
            <a:spLocks/>
          </p:cNvSpPr>
          <p:nvPr/>
        </p:nvSpPr>
        <p:spPr>
          <a:xfrm>
            <a:off x="256025" y="1444448"/>
            <a:ext cx="10963572" cy="1026821"/>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gradFill>
                  <a:gsLst>
                    <a:gs pos="1250">
                      <a:srgbClr val="FFFFFF"/>
                    </a:gs>
                    <a:gs pos="100000">
                      <a:srgbClr val="FFFFFF"/>
                    </a:gs>
                  </a:gsLst>
                  <a:lin ang="5400000" scaled="0"/>
                </a:gradFill>
              </a:rPr>
              <a:t>Virtual Machine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16514" y="145460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14704" y="2786535"/>
            <a:ext cx="1893128" cy="1744700"/>
          </a:xfrm>
          <a:prstGeom prst="rect">
            <a:avLst/>
          </a:prstGeom>
        </p:spPr>
      </p:pic>
    </p:spTree>
    <p:extLst>
      <p:ext uri="{BB962C8B-B14F-4D97-AF65-F5344CB8AC3E}">
        <p14:creationId xmlns:p14="http://schemas.microsoft.com/office/powerpoint/2010/main" val="25082649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2.54199E-7 L -0.05285 2.54199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82932E-6 L -0.05284 -1.82932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225998" y="0"/>
            <a:ext cx="9835580" cy="6864302"/>
          </a:xfrm>
          <a:prstGeom prst="rect">
            <a:avLst/>
          </a:prstGeom>
        </p:spPr>
      </p:pic>
    </p:spTree>
    <p:extLst>
      <p:ext uri="{BB962C8B-B14F-4D97-AF65-F5344CB8AC3E}">
        <p14:creationId xmlns:p14="http://schemas.microsoft.com/office/powerpoint/2010/main" val="11725017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06FDB-4FB0-4A04-B313-30F70C089010}"/>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D67568A-A0B2-471F-8030-6D66006EFB42}"/>
              </a:ext>
            </a:extLst>
          </p:cNvPr>
          <p:cNvSpPr>
            <a:spLocks noGrp="1"/>
          </p:cNvSpPr>
          <p:nvPr>
            <p:ph type="subTitle" idx="1"/>
          </p:nvPr>
        </p:nvSpPr>
        <p:spPr/>
        <p:txBody>
          <a:bodyPr/>
          <a:lstStyle/>
          <a:p>
            <a:endParaRPr lang="en-US"/>
          </a:p>
        </p:txBody>
      </p:sp>
      <p:pic>
        <p:nvPicPr>
          <p:cNvPr id="28674" name="Picture 2" descr="Related image">
            <a:extLst>
              <a:ext uri="{FF2B5EF4-FFF2-40B4-BE49-F238E27FC236}">
                <a16:creationId xmlns:a16="http://schemas.microsoft.com/office/drawing/2014/main" id="{83DC2FE7-E837-45A4-AB44-FA802BDC0F1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03225" y="434419"/>
            <a:ext cx="7910159" cy="59326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903506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989120" y="2344846"/>
            <a:ext cx="10515600" cy="1325563"/>
          </a:xfrm>
        </p:spPr>
        <p:txBody>
          <a:bodyPr>
            <a:noAutofit/>
          </a:bodyPr>
          <a:lstStyle/>
          <a:p>
            <a:pPr algn="ctr"/>
            <a:r>
              <a:rPr lang="en-US" sz="5400">
                <a:latin typeface="Segoe UI Light" panose="020B0502040204020203" pitchFamily="34" charset="0"/>
                <a:cs typeface="Segoe UI Light" panose="020B0502040204020203" pitchFamily="34" charset="0"/>
              </a:rPr>
              <a:t>Introducing:</a:t>
            </a:r>
            <a:br>
              <a:rPr lang="en-US" sz="5400">
                <a:latin typeface="Segoe UI Light" panose="020B0502040204020203" pitchFamily="34" charset="0"/>
                <a:cs typeface="Segoe UI Light" panose="020B0502040204020203" pitchFamily="34" charset="0"/>
              </a:rPr>
            </a:br>
            <a:r>
              <a:rPr lang="en-US" sz="5400">
                <a:latin typeface="Segoe UI Light" panose="020B0502040204020203" pitchFamily="34" charset="0"/>
                <a:cs typeface="Segoe UI Light" panose="020B0502040204020203" pitchFamily="34" charset="0"/>
              </a:rPr>
              <a:t>The                   </a:t>
            </a:r>
            <a:r>
              <a:rPr lang="en-US" sz="5400">
                <a:solidFill>
                  <a:srgbClr val="0070C0"/>
                </a:solidFill>
                <a:latin typeface="Segoe UI Light" panose="020B0502040204020203" pitchFamily="34" charset="0"/>
                <a:cs typeface="Segoe UI Light" panose="020B0502040204020203" pitchFamily="34" charset="0"/>
              </a:rPr>
              <a:t>2017</a:t>
            </a:r>
            <a:r>
              <a:rPr lang="en-US" sz="5400">
                <a:latin typeface="Segoe UI Light" panose="020B0502040204020203" pitchFamily="34" charset="0"/>
                <a:cs typeface="Segoe UI Light" panose="020B0502040204020203" pitchFamily="34" charset="0"/>
              </a:rPr>
              <a:t> VM Series…</a:t>
            </a:r>
          </a:p>
        </p:txBody>
      </p:sp>
      <p:pic>
        <p:nvPicPr>
          <p:cNvPr id="3" name="Picture 2"/>
          <p:cNvPicPr>
            <a:picLocks noChangeAspect="1"/>
          </p:cNvPicPr>
          <p:nvPr/>
        </p:nvPicPr>
        <p:blipFill rotWithShape="1">
          <a:blip r:embed="rId3"/>
          <a:srcRect l="11111" t="24747" r="10513" b="23907"/>
          <a:stretch/>
        </p:blipFill>
        <p:spPr>
          <a:xfrm>
            <a:off x="2582839" y="2909972"/>
            <a:ext cx="3445151" cy="951814"/>
          </a:xfrm>
          <a:prstGeom prst="rect">
            <a:avLst/>
          </a:prstGeom>
        </p:spPr>
      </p:pic>
    </p:spTree>
    <p:extLst>
      <p:ext uri="{BB962C8B-B14F-4D97-AF65-F5344CB8AC3E}">
        <p14:creationId xmlns:p14="http://schemas.microsoft.com/office/powerpoint/2010/main" val="28930270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2827185195"/>
              </p:ext>
            </p:extLst>
          </p:nvPr>
        </p:nvGraphicFramePr>
        <p:xfrm>
          <a:off x="366100" y="1434493"/>
          <a:ext cx="11704368" cy="4664884"/>
        </p:xfrm>
        <a:graphic>
          <a:graphicData uri="http://schemas.openxmlformats.org/drawingml/2006/table">
            <a:tbl>
              <a:tblPr firstRow="1" bandRow="1">
                <a:tableStyleId>{5C22544A-7EE6-4342-B048-85BDC9FD1C3A}</a:tableStyleId>
              </a:tblPr>
              <a:tblGrid>
                <a:gridCol w="1950728">
                  <a:extLst>
                    <a:ext uri="{9D8B030D-6E8A-4147-A177-3AD203B41FA5}">
                      <a16:colId xmlns:a16="http://schemas.microsoft.com/office/drawing/2014/main" val="3343220613"/>
                    </a:ext>
                  </a:extLst>
                </a:gridCol>
                <a:gridCol w="1950728">
                  <a:extLst>
                    <a:ext uri="{9D8B030D-6E8A-4147-A177-3AD203B41FA5}">
                      <a16:colId xmlns:a16="http://schemas.microsoft.com/office/drawing/2014/main" val="3245494395"/>
                    </a:ext>
                  </a:extLst>
                </a:gridCol>
                <a:gridCol w="1950728">
                  <a:extLst>
                    <a:ext uri="{9D8B030D-6E8A-4147-A177-3AD203B41FA5}">
                      <a16:colId xmlns:a16="http://schemas.microsoft.com/office/drawing/2014/main" val="2870826767"/>
                    </a:ext>
                  </a:extLst>
                </a:gridCol>
                <a:gridCol w="1950728">
                  <a:extLst>
                    <a:ext uri="{9D8B030D-6E8A-4147-A177-3AD203B41FA5}">
                      <a16:colId xmlns:a16="http://schemas.microsoft.com/office/drawing/2014/main" val="3052319419"/>
                    </a:ext>
                  </a:extLst>
                </a:gridCol>
                <a:gridCol w="1950728">
                  <a:extLst>
                    <a:ext uri="{9D8B030D-6E8A-4147-A177-3AD203B41FA5}">
                      <a16:colId xmlns:a16="http://schemas.microsoft.com/office/drawing/2014/main" val="4270810954"/>
                    </a:ext>
                  </a:extLst>
                </a:gridCol>
                <a:gridCol w="1950728">
                  <a:extLst>
                    <a:ext uri="{9D8B030D-6E8A-4147-A177-3AD203B41FA5}">
                      <a16:colId xmlns:a16="http://schemas.microsoft.com/office/drawing/2014/main" val="628797399"/>
                    </a:ext>
                  </a:extLst>
                </a:gridCol>
              </a:tblGrid>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1442843"/>
                  </a:ext>
                </a:extLst>
              </a:tr>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152213"/>
                  </a:ext>
                </a:extLst>
              </a:tr>
            </a:tbl>
          </a:graphicData>
        </a:graphic>
      </p:graphicFrame>
      <p:grpSp>
        <p:nvGrpSpPr>
          <p:cNvPr id="5" name="Group 4"/>
          <p:cNvGrpSpPr/>
          <p:nvPr/>
        </p:nvGrpSpPr>
        <p:grpSpPr>
          <a:xfrm>
            <a:off x="4151667" y="963481"/>
            <a:ext cx="2138692" cy="2259125"/>
            <a:chOff x="66528" y="1779460"/>
            <a:chExt cx="2182814" cy="2305406"/>
          </a:xfrm>
        </p:grpSpPr>
        <p:sp>
          <p:nvSpPr>
            <p:cNvPr id="31" name="Rectangle 30"/>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generation</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of D family VMs</a:t>
              </a:r>
            </a:p>
          </p:txBody>
        </p:sp>
        <p:grpSp>
          <p:nvGrpSpPr>
            <p:cNvPr id="95" name="Group 94"/>
            <p:cNvGrpSpPr/>
            <p:nvPr/>
          </p:nvGrpSpPr>
          <p:grpSpPr>
            <a:xfrm>
              <a:off x="567975" y="1779460"/>
              <a:ext cx="1179920" cy="1538737"/>
              <a:chOff x="406421" y="2432376"/>
              <a:chExt cx="2059118" cy="2685303"/>
            </a:xfrm>
          </p:grpSpPr>
          <p:grpSp>
            <p:nvGrpSpPr>
              <p:cNvPr id="96" name="Group 95"/>
              <p:cNvGrpSpPr/>
              <p:nvPr/>
            </p:nvGrpSpPr>
            <p:grpSpPr>
              <a:xfrm>
                <a:off x="406421" y="2432376"/>
                <a:ext cx="2059118" cy="2685303"/>
                <a:chOff x="6982264" y="1006524"/>
                <a:chExt cx="4480135" cy="5829701"/>
              </a:xfrm>
            </p:grpSpPr>
            <p:pic>
              <p:nvPicPr>
                <p:cNvPr id="98" name="Picture 97"/>
                <p:cNvPicPr>
                  <a:picLocks noChangeAspect="1"/>
                </p:cNvPicPr>
                <p:nvPr/>
              </p:nvPicPr>
              <p:blipFill>
                <a:blip r:embed="rId3"/>
                <a:stretch>
                  <a:fillRect/>
                </a:stretch>
              </p:blipFill>
              <p:spPr>
                <a:xfrm>
                  <a:off x="7199561" y="1172781"/>
                  <a:ext cx="4182166" cy="3848482"/>
                </a:xfrm>
                <a:prstGeom prst="rect">
                  <a:avLst/>
                </a:prstGeom>
              </p:spPr>
            </p:pic>
            <p:pic>
              <p:nvPicPr>
                <p:cNvPr id="99" name="Picture 98"/>
                <p:cNvPicPr>
                  <a:picLocks noChangeAspect="1"/>
                </p:cNvPicPr>
                <p:nvPr/>
              </p:nvPicPr>
              <p:blipFill>
                <a:blip r:embed="rId4"/>
                <a:stretch>
                  <a:fillRect/>
                </a:stretch>
              </p:blipFill>
              <p:spPr>
                <a:xfrm>
                  <a:off x="6982264" y="4945062"/>
                  <a:ext cx="4480135" cy="1891163"/>
                </a:xfrm>
                <a:prstGeom prst="rect">
                  <a:avLst/>
                </a:prstGeom>
              </p:spPr>
            </p:pic>
            <p:sp>
              <p:nvSpPr>
                <p:cNvPr id="10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97" name="TextBox 96"/>
              <p:cNvSpPr txBox="1"/>
              <p:nvPr/>
            </p:nvSpPr>
            <p:spPr>
              <a:xfrm>
                <a:off x="639096" y="2638279"/>
                <a:ext cx="1632155" cy="1127477"/>
              </a:xfrm>
              <a:prstGeom prst="rect">
                <a:avLst/>
              </a:prstGeom>
              <a:solidFill>
                <a:schemeClr val="bg1">
                  <a:lumMod val="50000"/>
                </a:schemeClr>
              </a:solidFill>
            </p:spPr>
            <p:txBody>
              <a:bodyPr wrap="square" lIns="0" tIns="127943" rIns="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v2</a:t>
                </a:r>
              </a:p>
            </p:txBody>
          </p:sp>
        </p:grpSp>
      </p:grpSp>
      <p:grpSp>
        <p:nvGrpSpPr>
          <p:cNvPr id="4" name="D Group"/>
          <p:cNvGrpSpPr/>
          <p:nvPr/>
        </p:nvGrpSpPr>
        <p:grpSpPr>
          <a:xfrm>
            <a:off x="2153719" y="963481"/>
            <a:ext cx="2138692" cy="2259125"/>
            <a:chOff x="166180" y="1779460"/>
            <a:chExt cx="2182814" cy="2305406"/>
          </a:xfrm>
        </p:grpSpPr>
        <p:sp>
          <p:nvSpPr>
            <p:cNvPr id="48" name="Rectangle 47"/>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SD Storage </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Fast CPUs</a:t>
              </a:r>
            </a:p>
          </p:txBody>
        </p:sp>
        <p:grpSp>
          <p:nvGrpSpPr>
            <p:cNvPr id="66" name="Group 65"/>
            <p:cNvGrpSpPr/>
            <p:nvPr/>
          </p:nvGrpSpPr>
          <p:grpSpPr>
            <a:xfrm>
              <a:off x="667627" y="1779460"/>
              <a:ext cx="1179920" cy="1538737"/>
              <a:chOff x="406421" y="2432376"/>
              <a:chExt cx="2059118" cy="2685303"/>
            </a:xfrm>
          </p:grpSpPr>
          <p:grpSp>
            <p:nvGrpSpPr>
              <p:cNvPr id="67" name="Group 66"/>
              <p:cNvGrpSpPr/>
              <p:nvPr/>
            </p:nvGrpSpPr>
            <p:grpSpPr>
              <a:xfrm>
                <a:off x="406421" y="2432376"/>
                <a:ext cx="2059118" cy="2685303"/>
                <a:chOff x="6982264" y="1006524"/>
                <a:chExt cx="4480135" cy="5829701"/>
              </a:xfrm>
            </p:grpSpPr>
            <p:pic>
              <p:nvPicPr>
                <p:cNvPr id="69" name="Picture 68"/>
                <p:cNvPicPr>
                  <a:picLocks noChangeAspect="1"/>
                </p:cNvPicPr>
                <p:nvPr/>
              </p:nvPicPr>
              <p:blipFill>
                <a:blip r:embed="rId3"/>
                <a:stretch>
                  <a:fillRect/>
                </a:stretch>
              </p:blipFill>
              <p:spPr>
                <a:xfrm>
                  <a:off x="7199561" y="1172781"/>
                  <a:ext cx="4182166" cy="3848482"/>
                </a:xfrm>
                <a:prstGeom prst="rect">
                  <a:avLst/>
                </a:prstGeom>
              </p:spPr>
            </p:pic>
            <p:pic>
              <p:nvPicPr>
                <p:cNvPr id="70" name="Picture 69"/>
                <p:cNvPicPr>
                  <a:picLocks noChangeAspect="1"/>
                </p:cNvPicPr>
                <p:nvPr/>
              </p:nvPicPr>
              <p:blipFill>
                <a:blip r:embed="rId4"/>
                <a:stretch>
                  <a:fillRect/>
                </a:stretch>
              </p:blipFill>
              <p:spPr>
                <a:xfrm>
                  <a:off x="6982264" y="4945062"/>
                  <a:ext cx="4480135" cy="1891163"/>
                </a:xfrm>
                <a:prstGeom prst="rect">
                  <a:avLst/>
                </a:prstGeom>
              </p:spPr>
            </p:pic>
            <p:sp>
              <p:nvSpPr>
                <p:cNvPr id="7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68" name="TextBox 67"/>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a:t>
                </a:r>
              </a:p>
            </p:txBody>
          </p:sp>
        </p:grpSp>
      </p:grpSp>
      <p:sp>
        <p:nvSpPr>
          <p:cNvPr id="3" name="Title 2"/>
          <p:cNvSpPr>
            <a:spLocks noGrp="1"/>
          </p:cNvSpPr>
          <p:nvPr>
            <p:ph type="title" idx="4294967295"/>
          </p:nvPr>
        </p:nvSpPr>
        <p:spPr>
          <a:xfrm>
            <a:off x="522402" y="49380"/>
            <a:ext cx="11647200" cy="480795"/>
          </a:xfrm>
        </p:spPr>
        <p:txBody>
          <a:bodyPr/>
          <a:lstStyle/>
          <a:p>
            <a:r>
              <a:rPr lang="en-US" dirty="0">
                <a:solidFill>
                  <a:schemeClr val="tx1"/>
                </a:solidFill>
              </a:rPr>
              <a:t>Azure VM Sizes</a:t>
            </a:r>
          </a:p>
        </p:txBody>
      </p:sp>
      <p:sp>
        <p:nvSpPr>
          <p:cNvPr id="34" name="Rectangle 33"/>
          <p:cNvSpPr/>
          <p:nvPr/>
        </p:nvSpPr>
        <p:spPr bwMode="auto">
          <a:xfrm>
            <a:off x="7927730" y="3419795"/>
            <a:ext cx="2138692" cy="1224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spcAft>
                <a:spcPts val="1170"/>
              </a:spcAft>
              <a:defRPr/>
            </a:pPr>
            <a:endParaRPr lang="en-US" sz="1600" kern="0" dirty="0">
              <a:solidFill>
                <a:srgbClr val="353535"/>
              </a:solidFill>
              <a:ea typeface="Segoe UI" pitchFamily="34" charset="0"/>
              <a:cs typeface="Segoe UI" pitchFamily="34" charset="0"/>
            </a:endParaRPr>
          </a:p>
        </p:txBody>
      </p:sp>
      <p:grpSp>
        <p:nvGrpSpPr>
          <p:cNvPr id="6" name="Group 5"/>
          <p:cNvGrpSpPr/>
          <p:nvPr/>
        </p:nvGrpSpPr>
        <p:grpSpPr>
          <a:xfrm>
            <a:off x="6084713" y="993261"/>
            <a:ext cx="2138692" cy="2259125"/>
            <a:chOff x="6179555" y="1779460"/>
            <a:chExt cx="2182814" cy="2305406"/>
          </a:xfrm>
        </p:grpSpPr>
        <p:sp>
          <p:nvSpPr>
            <p:cNvPr id="16" name="Rectangle 15"/>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High memory and</a:t>
              </a:r>
            </a:p>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78" name="Group 77"/>
            <p:cNvGrpSpPr/>
            <p:nvPr/>
          </p:nvGrpSpPr>
          <p:grpSpPr>
            <a:xfrm>
              <a:off x="6679492" y="1779460"/>
              <a:ext cx="1179920" cy="1538737"/>
              <a:chOff x="406421" y="2432376"/>
              <a:chExt cx="2059118" cy="2685303"/>
            </a:xfrm>
          </p:grpSpPr>
          <p:grpSp>
            <p:nvGrpSpPr>
              <p:cNvPr id="79" name="Group 78"/>
              <p:cNvGrpSpPr/>
              <p:nvPr/>
            </p:nvGrpSpPr>
            <p:grpSpPr>
              <a:xfrm>
                <a:off x="406421" y="2432376"/>
                <a:ext cx="2059118" cy="2685303"/>
                <a:chOff x="6982264" y="1006524"/>
                <a:chExt cx="4480135" cy="5829701"/>
              </a:xfrm>
            </p:grpSpPr>
            <p:pic>
              <p:nvPicPr>
                <p:cNvPr id="81" name="Picture 80"/>
                <p:cNvPicPr>
                  <a:picLocks noChangeAspect="1"/>
                </p:cNvPicPr>
                <p:nvPr/>
              </p:nvPicPr>
              <p:blipFill>
                <a:blip r:embed="rId3"/>
                <a:stretch>
                  <a:fillRect/>
                </a:stretch>
              </p:blipFill>
              <p:spPr>
                <a:xfrm>
                  <a:off x="7199561" y="1172781"/>
                  <a:ext cx="4182166" cy="3848482"/>
                </a:xfrm>
                <a:prstGeom prst="rect">
                  <a:avLst/>
                </a:prstGeom>
              </p:spPr>
            </p:pic>
            <p:pic>
              <p:nvPicPr>
                <p:cNvPr id="82" name="Picture 81"/>
                <p:cNvPicPr>
                  <a:picLocks noChangeAspect="1"/>
                </p:cNvPicPr>
                <p:nvPr/>
              </p:nvPicPr>
              <p:blipFill>
                <a:blip r:embed="rId4"/>
                <a:stretch>
                  <a:fillRect/>
                </a:stretch>
              </p:blipFill>
              <p:spPr>
                <a:xfrm>
                  <a:off x="6982264" y="4945062"/>
                  <a:ext cx="4480135" cy="1891163"/>
                </a:xfrm>
                <a:prstGeom prst="rect">
                  <a:avLst/>
                </a:prstGeom>
              </p:spPr>
            </p:pic>
            <p:sp>
              <p:nvSpPr>
                <p:cNvPr id="83"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0" name="TextBox 79"/>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G</a:t>
                </a:r>
              </a:p>
            </p:txBody>
          </p:sp>
        </p:grpSp>
      </p:grpSp>
      <p:grpSp>
        <p:nvGrpSpPr>
          <p:cNvPr id="11" name="N group 1"/>
          <p:cNvGrpSpPr/>
          <p:nvPr/>
        </p:nvGrpSpPr>
        <p:grpSpPr>
          <a:xfrm>
            <a:off x="2153719" y="3123872"/>
            <a:ext cx="2138692" cy="2259125"/>
            <a:chOff x="8250476" y="1779460"/>
            <a:chExt cx="2182814" cy="2305406"/>
          </a:xfrm>
        </p:grpSpPr>
        <p:sp>
          <p:nvSpPr>
            <p:cNvPr id="32" name="Rectangle 31"/>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K80 Compute</a:t>
              </a:r>
            </a:p>
          </p:txBody>
        </p:sp>
        <p:grpSp>
          <p:nvGrpSpPr>
            <p:cNvPr id="101" name="Group 100"/>
            <p:cNvGrpSpPr/>
            <p:nvPr/>
          </p:nvGrpSpPr>
          <p:grpSpPr>
            <a:xfrm>
              <a:off x="8747354" y="1779460"/>
              <a:ext cx="1179920" cy="1538737"/>
              <a:chOff x="406421" y="2432376"/>
              <a:chExt cx="2059118" cy="2685303"/>
            </a:xfrm>
          </p:grpSpPr>
          <p:grpSp>
            <p:nvGrpSpPr>
              <p:cNvPr id="102" name="Group 101"/>
              <p:cNvGrpSpPr/>
              <p:nvPr/>
            </p:nvGrpSpPr>
            <p:grpSpPr>
              <a:xfrm>
                <a:off x="406421" y="2432376"/>
                <a:ext cx="2059118" cy="2685303"/>
                <a:chOff x="6982264" y="1006524"/>
                <a:chExt cx="4480135" cy="5829701"/>
              </a:xfrm>
            </p:grpSpPr>
            <p:pic>
              <p:nvPicPr>
                <p:cNvPr id="104" name="Picture 103"/>
                <p:cNvPicPr>
                  <a:picLocks noChangeAspect="1"/>
                </p:cNvPicPr>
                <p:nvPr/>
              </p:nvPicPr>
              <p:blipFill>
                <a:blip r:embed="rId3"/>
                <a:stretch>
                  <a:fillRect/>
                </a:stretch>
              </p:blipFill>
              <p:spPr>
                <a:xfrm>
                  <a:off x="7199561" y="1172781"/>
                  <a:ext cx="4182166" cy="3848482"/>
                </a:xfrm>
                <a:prstGeom prst="rect">
                  <a:avLst/>
                </a:prstGeom>
              </p:spPr>
            </p:pic>
            <p:pic>
              <p:nvPicPr>
                <p:cNvPr id="105" name="Picture 104"/>
                <p:cNvPicPr>
                  <a:picLocks noChangeAspect="1"/>
                </p:cNvPicPr>
                <p:nvPr/>
              </p:nvPicPr>
              <p:blipFill>
                <a:blip r:embed="rId4"/>
                <a:stretch>
                  <a:fillRect/>
                </a:stretch>
              </p:blipFill>
              <p:spPr>
                <a:xfrm>
                  <a:off x="6982264" y="4945062"/>
                  <a:ext cx="4480135" cy="1891163"/>
                </a:xfrm>
                <a:prstGeom prst="rect">
                  <a:avLst/>
                </a:prstGeom>
              </p:spPr>
            </p:pic>
            <p:sp>
              <p:nvSpPr>
                <p:cNvPr id="10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3" name="TextBox 102"/>
              <p:cNvSpPr txBox="1"/>
              <p:nvPr/>
            </p:nvSpPr>
            <p:spPr>
              <a:xfrm>
                <a:off x="639096" y="2638280"/>
                <a:ext cx="1681062"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C</a:t>
                </a:r>
              </a:p>
            </p:txBody>
          </p:sp>
        </p:grpSp>
      </p:grpSp>
      <p:grpSp>
        <p:nvGrpSpPr>
          <p:cNvPr id="76" name="A Group"/>
          <p:cNvGrpSpPr/>
          <p:nvPr/>
        </p:nvGrpSpPr>
        <p:grpSpPr>
          <a:xfrm>
            <a:off x="292690" y="3178666"/>
            <a:ext cx="2138692" cy="2259125"/>
            <a:chOff x="2034704" y="1779460"/>
            <a:chExt cx="2182814" cy="2305406"/>
          </a:xfrm>
        </p:grpSpPr>
        <p:sp>
          <p:nvSpPr>
            <p:cNvPr id="77" name="Rectangle 76"/>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Compute Intensive</a:t>
              </a:r>
            </a:p>
          </p:txBody>
        </p:sp>
        <p:grpSp>
          <p:nvGrpSpPr>
            <p:cNvPr id="84" name="Group 83"/>
            <p:cNvGrpSpPr/>
            <p:nvPr/>
          </p:nvGrpSpPr>
          <p:grpSpPr>
            <a:xfrm>
              <a:off x="2536151" y="1779460"/>
              <a:ext cx="1179920" cy="1538737"/>
              <a:chOff x="406421" y="2432376"/>
              <a:chExt cx="2059118" cy="2685303"/>
            </a:xfrm>
          </p:grpSpPr>
          <p:grpSp>
            <p:nvGrpSpPr>
              <p:cNvPr id="85" name="Group 84"/>
              <p:cNvGrpSpPr/>
              <p:nvPr/>
            </p:nvGrpSpPr>
            <p:grpSpPr>
              <a:xfrm>
                <a:off x="406421" y="2432376"/>
                <a:ext cx="2059118" cy="2685303"/>
                <a:chOff x="6982264" y="1006524"/>
                <a:chExt cx="4480135" cy="5829701"/>
              </a:xfrm>
            </p:grpSpPr>
            <p:pic>
              <p:nvPicPr>
                <p:cNvPr id="87" name="Picture 86"/>
                <p:cNvPicPr>
                  <a:picLocks noChangeAspect="1"/>
                </p:cNvPicPr>
                <p:nvPr/>
              </p:nvPicPr>
              <p:blipFill>
                <a:blip r:embed="rId3"/>
                <a:stretch>
                  <a:fillRect/>
                </a:stretch>
              </p:blipFill>
              <p:spPr>
                <a:xfrm>
                  <a:off x="7199561" y="1172781"/>
                  <a:ext cx="4182166" cy="3848482"/>
                </a:xfrm>
                <a:prstGeom prst="rect">
                  <a:avLst/>
                </a:prstGeom>
              </p:spPr>
            </p:pic>
            <p:pic>
              <p:nvPicPr>
                <p:cNvPr id="88" name="Picture 87"/>
                <p:cNvPicPr>
                  <a:picLocks noChangeAspect="1"/>
                </p:cNvPicPr>
                <p:nvPr/>
              </p:nvPicPr>
              <p:blipFill>
                <a:blip r:embed="rId4"/>
                <a:stretch>
                  <a:fillRect/>
                </a:stretch>
              </p:blipFill>
              <p:spPr>
                <a:xfrm>
                  <a:off x="6982264" y="4945062"/>
                  <a:ext cx="4480135" cy="1891163"/>
                </a:xfrm>
                <a:prstGeom prst="rect">
                  <a:avLst/>
                </a:prstGeom>
              </p:spPr>
            </p:pic>
            <p:sp>
              <p:nvSpPr>
                <p:cNvPr id="8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6" name="TextBox 85"/>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F</a:t>
                </a:r>
              </a:p>
            </p:txBody>
          </p:sp>
        </p:grpSp>
      </p:grpSp>
      <p:grpSp>
        <p:nvGrpSpPr>
          <p:cNvPr id="72" name="A Group"/>
          <p:cNvGrpSpPr/>
          <p:nvPr/>
        </p:nvGrpSpPr>
        <p:grpSpPr>
          <a:xfrm>
            <a:off x="6108690" y="3165608"/>
            <a:ext cx="2138692" cy="2259125"/>
            <a:chOff x="2034704" y="1779460"/>
            <a:chExt cx="2182814" cy="2305406"/>
          </a:xfrm>
        </p:grpSpPr>
        <p:sp>
          <p:nvSpPr>
            <p:cNvPr id="73" name="Rectangle 72"/>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Fastest CPU</a:t>
              </a:r>
            </a:p>
            <a:p>
              <a:pPr algn="ctr" defTabSz="913228">
                <a:lnSpc>
                  <a:spcPct val="90000"/>
                </a:lnSpc>
                <a:defRPr/>
              </a:pPr>
              <a:r>
                <a:rPr lang="en-US" sz="1600" kern="0" dirty="0">
                  <a:solidFill>
                    <a:srgbClr val="353535"/>
                  </a:solidFill>
                  <a:ea typeface="Segoe UI" pitchFamily="34" charset="0"/>
                  <a:cs typeface="Segoe UI" pitchFamily="34" charset="0"/>
                </a:rPr>
                <a:t>IB Connectivity</a:t>
              </a:r>
            </a:p>
          </p:txBody>
        </p:sp>
        <p:grpSp>
          <p:nvGrpSpPr>
            <p:cNvPr id="74" name="Group 73"/>
            <p:cNvGrpSpPr/>
            <p:nvPr/>
          </p:nvGrpSpPr>
          <p:grpSpPr>
            <a:xfrm>
              <a:off x="2536151" y="1779460"/>
              <a:ext cx="1179920" cy="1538737"/>
              <a:chOff x="406421" y="2432376"/>
              <a:chExt cx="2059118" cy="2685303"/>
            </a:xfrm>
          </p:grpSpPr>
          <p:grpSp>
            <p:nvGrpSpPr>
              <p:cNvPr id="75" name="Group 74"/>
              <p:cNvGrpSpPr/>
              <p:nvPr/>
            </p:nvGrpSpPr>
            <p:grpSpPr>
              <a:xfrm>
                <a:off x="406421" y="2432376"/>
                <a:ext cx="2059118" cy="2685303"/>
                <a:chOff x="6982264" y="1006524"/>
                <a:chExt cx="4480135" cy="5829701"/>
              </a:xfrm>
            </p:grpSpPr>
            <p:pic>
              <p:nvPicPr>
                <p:cNvPr id="117" name="Picture 116"/>
                <p:cNvPicPr>
                  <a:picLocks noChangeAspect="1"/>
                </p:cNvPicPr>
                <p:nvPr/>
              </p:nvPicPr>
              <p:blipFill>
                <a:blip r:embed="rId3"/>
                <a:stretch>
                  <a:fillRect/>
                </a:stretch>
              </p:blipFill>
              <p:spPr>
                <a:xfrm>
                  <a:off x="7199561" y="1172781"/>
                  <a:ext cx="4182166" cy="3848482"/>
                </a:xfrm>
                <a:prstGeom prst="rect">
                  <a:avLst/>
                </a:prstGeom>
              </p:spPr>
            </p:pic>
            <p:pic>
              <p:nvPicPr>
                <p:cNvPr id="118" name="Picture 117"/>
                <p:cNvPicPr>
                  <a:picLocks noChangeAspect="1"/>
                </p:cNvPicPr>
                <p:nvPr/>
              </p:nvPicPr>
              <p:blipFill>
                <a:blip r:embed="rId4"/>
                <a:stretch>
                  <a:fillRect/>
                </a:stretch>
              </p:blipFill>
              <p:spPr>
                <a:xfrm>
                  <a:off x="6982264" y="4945062"/>
                  <a:ext cx="4480135" cy="1891163"/>
                </a:xfrm>
                <a:prstGeom prst="rect">
                  <a:avLst/>
                </a:prstGeom>
              </p:spPr>
            </p:pic>
            <p:sp>
              <p:nvSpPr>
                <p:cNvPr id="11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7" name="TextBox 106"/>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H</a:t>
                </a:r>
              </a:p>
            </p:txBody>
          </p:sp>
        </p:grpSp>
      </p:grpSp>
      <p:grpSp>
        <p:nvGrpSpPr>
          <p:cNvPr id="108" name="A Group"/>
          <p:cNvGrpSpPr/>
          <p:nvPr/>
        </p:nvGrpSpPr>
        <p:grpSpPr>
          <a:xfrm>
            <a:off x="8049705" y="3156628"/>
            <a:ext cx="2138692" cy="2259125"/>
            <a:chOff x="2034704" y="1779460"/>
            <a:chExt cx="2182814" cy="2305406"/>
          </a:xfrm>
        </p:grpSpPr>
        <p:sp>
          <p:nvSpPr>
            <p:cNvPr id="128" name="Rectangle 127"/>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129" name="Group 128"/>
            <p:cNvGrpSpPr/>
            <p:nvPr/>
          </p:nvGrpSpPr>
          <p:grpSpPr>
            <a:xfrm>
              <a:off x="2536151" y="1779460"/>
              <a:ext cx="1179920" cy="1538737"/>
              <a:chOff x="406421" y="2432376"/>
              <a:chExt cx="2059118" cy="2685303"/>
            </a:xfrm>
          </p:grpSpPr>
          <p:grpSp>
            <p:nvGrpSpPr>
              <p:cNvPr id="130" name="Group 129"/>
              <p:cNvGrpSpPr/>
              <p:nvPr/>
            </p:nvGrpSpPr>
            <p:grpSpPr>
              <a:xfrm>
                <a:off x="406421" y="2432376"/>
                <a:ext cx="2059118" cy="2685303"/>
                <a:chOff x="6982264" y="1006524"/>
                <a:chExt cx="4480135" cy="5829701"/>
              </a:xfrm>
            </p:grpSpPr>
            <p:pic>
              <p:nvPicPr>
                <p:cNvPr id="132" name="Picture 131"/>
                <p:cNvPicPr>
                  <a:picLocks noChangeAspect="1"/>
                </p:cNvPicPr>
                <p:nvPr/>
              </p:nvPicPr>
              <p:blipFill>
                <a:blip r:embed="rId3"/>
                <a:stretch>
                  <a:fillRect/>
                </a:stretch>
              </p:blipFill>
              <p:spPr>
                <a:xfrm>
                  <a:off x="7199561" y="1172781"/>
                  <a:ext cx="4182166" cy="3848482"/>
                </a:xfrm>
                <a:prstGeom prst="rect">
                  <a:avLst/>
                </a:prstGeom>
              </p:spPr>
            </p:pic>
            <p:pic>
              <p:nvPicPr>
                <p:cNvPr id="133" name="Picture 132"/>
                <p:cNvPicPr>
                  <a:picLocks noChangeAspect="1"/>
                </p:cNvPicPr>
                <p:nvPr/>
              </p:nvPicPr>
              <p:blipFill>
                <a:blip r:embed="rId4"/>
                <a:stretch>
                  <a:fillRect/>
                </a:stretch>
              </p:blipFill>
              <p:spPr>
                <a:xfrm>
                  <a:off x="6982264" y="4945062"/>
                  <a:ext cx="4480135" cy="1891163"/>
                </a:xfrm>
                <a:prstGeom prst="rect">
                  <a:avLst/>
                </a:prstGeom>
              </p:spPr>
            </p:pic>
            <p:sp>
              <p:nvSpPr>
                <p:cNvPr id="13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1" name="TextBox 130"/>
              <p:cNvSpPr txBox="1"/>
              <p:nvPr/>
            </p:nvSpPr>
            <p:spPr>
              <a:xfrm>
                <a:off x="609390" y="2623656"/>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L</a:t>
                </a:r>
              </a:p>
            </p:txBody>
          </p:sp>
        </p:grpSp>
      </p:grpSp>
      <p:grpSp>
        <p:nvGrpSpPr>
          <p:cNvPr id="135" name="A Group"/>
          <p:cNvGrpSpPr/>
          <p:nvPr/>
        </p:nvGrpSpPr>
        <p:grpSpPr>
          <a:xfrm>
            <a:off x="258552" y="974702"/>
            <a:ext cx="2138692" cy="2259125"/>
            <a:chOff x="2034704" y="1779460"/>
            <a:chExt cx="2182814" cy="2305406"/>
          </a:xfrm>
        </p:grpSpPr>
        <p:sp>
          <p:nvSpPr>
            <p:cNvPr id="136" name="Rectangle 135"/>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owest Price</a:t>
              </a:r>
            </a:p>
          </p:txBody>
        </p:sp>
        <p:grpSp>
          <p:nvGrpSpPr>
            <p:cNvPr id="137" name="Group 136"/>
            <p:cNvGrpSpPr/>
            <p:nvPr/>
          </p:nvGrpSpPr>
          <p:grpSpPr>
            <a:xfrm>
              <a:off x="2536151" y="1779460"/>
              <a:ext cx="1179920" cy="1538737"/>
              <a:chOff x="406421" y="2432376"/>
              <a:chExt cx="2059118" cy="2685303"/>
            </a:xfrm>
          </p:grpSpPr>
          <p:grpSp>
            <p:nvGrpSpPr>
              <p:cNvPr id="138" name="Group 137"/>
              <p:cNvGrpSpPr/>
              <p:nvPr/>
            </p:nvGrpSpPr>
            <p:grpSpPr>
              <a:xfrm>
                <a:off x="406421" y="2432376"/>
                <a:ext cx="2059118" cy="2685303"/>
                <a:chOff x="6982264" y="1006524"/>
                <a:chExt cx="4480135" cy="5829701"/>
              </a:xfrm>
            </p:grpSpPr>
            <p:pic>
              <p:nvPicPr>
                <p:cNvPr id="140" name="Picture 139"/>
                <p:cNvPicPr>
                  <a:picLocks noChangeAspect="1"/>
                </p:cNvPicPr>
                <p:nvPr/>
              </p:nvPicPr>
              <p:blipFill>
                <a:blip r:embed="rId3"/>
                <a:stretch>
                  <a:fillRect/>
                </a:stretch>
              </p:blipFill>
              <p:spPr>
                <a:xfrm>
                  <a:off x="7199561" y="1172781"/>
                  <a:ext cx="4182166" cy="3848482"/>
                </a:xfrm>
                <a:prstGeom prst="rect">
                  <a:avLst/>
                </a:prstGeom>
              </p:spPr>
            </p:pic>
            <p:pic>
              <p:nvPicPr>
                <p:cNvPr id="141" name="Picture 140"/>
                <p:cNvPicPr>
                  <a:picLocks noChangeAspect="1"/>
                </p:cNvPicPr>
                <p:nvPr/>
              </p:nvPicPr>
              <p:blipFill>
                <a:blip r:embed="rId4"/>
                <a:stretch>
                  <a:fillRect/>
                </a:stretch>
              </p:blipFill>
              <p:spPr>
                <a:xfrm>
                  <a:off x="6982264" y="4945062"/>
                  <a:ext cx="4480135" cy="1891163"/>
                </a:xfrm>
                <a:prstGeom prst="rect">
                  <a:avLst/>
                </a:prstGeom>
              </p:spPr>
            </p:pic>
            <p:sp>
              <p:nvSpPr>
                <p:cNvPr id="14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9" name="TextBox 138"/>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A</a:t>
                </a:r>
              </a:p>
            </p:txBody>
          </p:sp>
        </p:grpSp>
      </p:grpSp>
      <p:grpSp>
        <p:nvGrpSpPr>
          <p:cNvPr id="8" name="Group 7"/>
          <p:cNvGrpSpPr/>
          <p:nvPr/>
        </p:nvGrpSpPr>
        <p:grpSpPr>
          <a:xfrm>
            <a:off x="7960200" y="1041104"/>
            <a:ext cx="2138692" cy="2259125"/>
            <a:chOff x="10195154" y="1666794"/>
            <a:chExt cx="2182195" cy="2304752"/>
          </a:xfrm>
        </p:grpSpPr>
        <p:grpSp>
          <p:nvGrpSpPr>
            <p:cNvPr id="151" name="A Group"/>
            <p:cNvGrpSpPr/>
            <p:nvPr/>
          </p:nvGrpSpPr>
          <p:grpSpPr>
            <a:xfrm>
              <a:off x="10195154" y="1666794"/>
              <a:ext cx="2182195" cy="2304752"/>
              <a:chOff x="2034704" y="1779460"/>
              <a:chExt cx="2182814" cy="2305406"/>
            </a:xfrm>
          </p:grpSpPr>
          <p:sp>
            <p:nvSpPr>
              <p:cNvPr id="152" name="Rectangle 151"/>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A-Series</a:t>
                </a:r>
                <a:endParaRPr lang="en-US" sz="1600" i="1" kern="0" dirty="0">
                  <a:solidFill>
                    <a:srgbClr val="353535"/>
                  </a:solidFill>
                  <a:ea typeface="Segoe UI" pitchFamily="34" charset="0"/>
                  <a:cs typeface="Segoe UI" pitchFamily="34" charset="0"/>
                </a:endParaRPr>
              </a:p>
              <a:p>
                <a:pPr algn="ctr" defTabSz="913228">
                  <a:lnSpc>
                    <a:spcPct val="90000"/>
                  </a:lnSpc>
                  <a:defRPr/>
                </a:pPr>
                <a:endParaRPr lang="en-US" sz="1600" kern="0" dirty="0">
                  <a:solidFill>
                    <a:srgbClr val="353535"/>
                  </a:solidFill>
                  <a:ea typeface="Segoe UI" pitchFamily="34" charset="0"/>
                  <a:cs typeface="Segoe UI" pitchFamily="34" charset="0"/>
                </a:endParaRPr>
              </a:p>
            </p:txBody>
          </p:sp>
          <p:grpSp>
            <p:nvGrpSpPr>
              <p:cNvPr id="153" name="Group 152"/>
              <p:cNvGrpSpPr/>
              <p:nvPr/>
            </p:nvGrpSpPr>
            <p:grpSpPr>
              <a:xfrm>
                <a:off x="2536151" y="1779460"/>
                <a:ext cx="1179920" cy="1538737"/>
                <a:chOff x="406421" y="2432376"/>
                <a:chExt cx="2059118" cy="2685303"/>
              </a:xfrm>
            </p:grpSpPr>
            <p:grpSp>
              <p:nvGrpSpPr>
                <p:cNvPr id="154" name="Group 153"/>
                <p:cNvGrpSpPr/>
                <p:nvPr/>
              </p:nvGrpSpPr>
              <p:grpSpPr>
                <a:xfrm>
                  <a:off x="406421" y="2432376"/>
                  <a:ext cx="2059118" cy="2685303"/>
                  <a:chOff x="6982264" y="1006524"/>
                  <a:chExt cx="4480135" cy="5829701"/>
                </a:xfrm>
              </p:grpSpPr>
              <p:pic>
                <p:nvPicPr>
                  <p:cNvPr id="156" name="Picture 155"/>
                  <p:cNvPicPr>
                    <a:picLocks noChangeAspect="1"/>
                  </p:cNvPicPr>
                  <p:nvPr/>
                </p:nvPicPr>
                <p:blipFill>
                  <a:blip r:embed="rId3"/>
                  <a:stretch>
                    <a:fillRect/>
                  </a:stretch>
                </p:blipFill>
                <p:spPr>
                  <a:xfrm>
                    <a:off x="7199561" y="1172781"/>
                    <a:ext cx="4182166" cy="3848482"/>
                  </a:xfrm>
                  <a:prstGeom prst="rect">
                    <a:avLst/>
                  </a:prstGeom>
                </p:spPr>
              </p:pic>
              <p:pic>
                <p:nvPicPr>
                  <p:cNvPr id="157" name="Picture 156"/>
                  <p:cNvPicPr>
                    <a:picLocks noChangeAspect="1"/>
                  </p:cNvPicPr>
                  <p:nvPr/>
                </p:nvPicPr>
                <p:blipFill>
                  <a:blip r:embed="rId4"/>
                  <a:stretch>
                    <a:fillRect/>
                  </a:stretch>
                </p:blipFill>
                <p:spPr>
                  <a:xfrm>
                    <a:off x="6982264" y="4945062"/>
                    <a:ext cx="4480135" cy="1891163"/>
                  </a:xfrm>
                  <a:prstGeom prst="rect">
                    <a:avLst/>
                  </a:prstGeom>
                </p:spPr>
              </p:pic>
              <p:sp>
                <p:nvSpPr>
                  <p:cNvPr id="15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55" name="TextBox 154"/>
                <p:cNvSpPr txBox="1"/>
                <p:nvPr/>
              </p:nvSpPr>
              <p:spPr>
                <a:xfrm>
                  <a:off x="641800" y="2623655"/>
                  <a:ext cx="1614759" cy="1127476"/>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2700" b="1" kern="0" dirty="0">
                    <a:solidFill>
                      <a:srgbClr val="353535"/>
                    </a:solidFill>
                    <a:ea typeface="Segoe UI" pitchFamily="34" charset="0"/>
                    <a:cs typeface="Segoe UI" pitchFamily="34" charset="0"/>
                  </a:endParaRPr>
                </a:p>
              </p:txBody>
            </p:sp>
          </p:grpSp>
        </p:grpSp>
        <p:sp>
          <p:nvSpPr>
            <p:cNvPr id="2" name="Rectangle 1"/>
            <p:cNvSpPr/>
            <p:nvPr/>
          </p:nvSpPr>
          <p:spPr>
            <a:xfrm>
              <a:off x="10849958" y="1858859"/>
              <a:ext cx="870349" cy="546086"/>
            </a:xfrm>
            <a:prstGeom prst="rect">
              <a:avLst/>
            </a:prstGeom>
          </p:spPr>
          <p:txBody>
            <a:bodyPr wrap="none">
              <a:spAutoFit/>
            </a:bodyPr>
            <a:lstStyle/>
            <a:p>
              <a:pPr algn="ctr" defTabSz="913228">
                <a:lnSpc>
                  <a:spcPct val="90000"/>
                </a:lnSpc>
                <a:defRPr/>
              </a:pPr>
              <a:r>
                <a:rPr lang="en-US" sz="3100" b="1" kern="0" dirty="0">
                  <a:solidFill>
                    <a:srgbClr val="353535"/>
                  </a:solidFill>
                  <a:ea typeface="Segoe UI" pitchFamily="34" charset="0"/>
                  <a:cs typeface="Segoe UI" pitchFamily="34" charset="0"/>
                </a:rPr>
                <a:t>Av2</a:t>
              </a:r>
            </a:p>
          </p:txBody>
        </p:sp>
      </p:grpSp>
      <p:grpSp>
        <p:nvGrpSpPr>
          <p:cNvPr id="112" name="N group 1"/>
          <p:cNvGrpSpPr/>
          <p:nvPr/>
        </p:nvGrpSpPr>
        <p:grpSpPr>
          <a:xfrm>
            <a:off x="4141465" y="3147957"/>
            <a:ext cx="2138692" cy="2259125"/>
            <a:chOff x="8250476" y="1779460"/>
            <a:chExt cx="2182814" cy="2305406"/>
          </a:xfrm>
        </p:grpSpPr>
        <p:sp>
          <p:nvSpPr>
            <p:cNvPr id="113" name="Rectangle 112"/>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M60 Visualization</a:t>
              </a:r>
            </a:p>
          </p:txBody>
        </p:sp>
        <p:grpSp>
          <p:nvGrpSpPr>
            <p:cNvPr id="114" name="Group 113"/>
            <p:cNvGrpSpPr/>
            <p:nvPr/>
          </p:nvGrpSpPr>
          <p:grpSpPr>
            <a:xfrm>
              <a:off x="8747354" y="1779460"/>
              <a:ext cx="1179920" cy="1538737"/>
              <a:chOff x="406421" y="2432376"/>
              <a:chExt cx="2059118" cy="2685303"/>
            </a:xfrm>
          </p:grpSpPr>
          <p:grpSp>
            <p:nvGrpSpPr>
              <p:cNvPr id="115" name="Group 114"/>
              <p:cNvGrpSpPr/>
              <p:nvPr/>
            </p:nvGrpSpPr>
            <p:grpSpPr>
              <a:xfrm>
                <a:off x="406421" y="2432376"/>
                <a:ext cx="2059118" cy="2685303"/>
                <a:chOff x="6982264" y="1006524"/>
                <a:chExt cx="4480135" cy="5829701"/>
              </a:xfrm>
            </p:grpSpPr>
            <p:pic>
              <p:nvPicPr>
                <p:cNvPr id="120" name="Picture 119"/>
                <p:cNvPicPr>
                  <a:picLocks noChangeAspect="1"/>
                </p:cNvPicPr>
                <p:nvPr/>
              </p:nvPicPr>
              <p:blipFill>
                <a:blip r:embed="rId3"/>
                <a:stretch>
                  <a:fillRect/>
                </a:stretch>
              </p:blipFill>
              <p:spPr>
                <a:xfrm>
                  <a:off x="7199561" y="1172781"/>
                  <a:ext cx="4182166" cy="3848482"/>
                </a:xfrm>
                <a:prstGeom prst="rect">
                  <a:avLst/>
                </a:prstGeom>
              </p:spPr>
            </p:pic>
            <p:pic>
              <p:nvPicPr>
                <p:cNvPr id="121" name="Picture 120"/>
                <p:cNvPicPr>
                  <a:picLocks noChangeAspect="1"/>
                </p:cNvPicPr>
                <p:nvPr/>
              </p:nvPicPr>
              <p:blipFill>
                <a:blip r:embed="rId4"/>
                <a:stretch>
                  <a:fillRect/>
                </a:stretch>
              </p:blipFill>
              <p:spPr>
                <a:xfrm>
                  <a:off x="6982264" y="4945062"/>
                  <a:ext cx="4480135" cy="1891163"/>
                </a:xfrm>
                <a:prstGeom prst="rect">
                  <a:avLst/>
                </a:prstGeom>
              </p:spPr>
            </p:pic>
            <p:sp>
              <p:nvSpPr>
                <p:cNvPr id="12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16" name="TextBox 115"/>
              <p:cNvSpPr txBox="1"/>
              <p:nvPr/>
            </p:nvSpPr>
            <p:spPr>
              <a:xfrm>
                <a:off x="597395" y="2639095"/>
                <a:ext cx="1699998"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V</a:t>
                </a:r>
              </a:p>
            </p:txBody>
          </p:sp>
        </p:grpSp>
      </p:grpSp>
      <p:pic>
        <p:nvPicPr>
          <p:cNvPr id="13" name="Picture 12">
            <a:extLst>
              <a:ext uri="{FF2B5EF4-FFF2-40B4-BE49-F238E27FC236}">
                <a16:creationId xmlns:a16="http://schemas.microsoft.com/office/drawing/2014/main" id="{2E4B2891-5FA4-4526-B5AF-8B99BAFFEF73}"/>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3001232" y="2906011"/>
            <a:ext cx="932230" cy="908456"/>
          </a:xfrm>
          <a:prstGeom prst="rect">
            <a:avLst/>
          </a:prstGeom>
        </p:spPr>
      </p:pic>
      <p:pic>
        <p:nvPicPr>
          <p:cNvPr id="92" name="Picture 91">
            <a:extLst>
              <a:ext uri="{FF2B5EF4-FFF2-40B4-BE49-F238E27FC236}">
                <a16:creationId xmlns:a16="http://schemas.microsoft.com/office/drawing/2014/main" id="{F27A8CA4-C095-43F0-A233-01E5B6A5D0D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134078" y="2977971"/>
            <a:ext cx="932230" cy="908456"/>
          </a:xfrm>
          <a:prstGeom prst="rect">
            <a:avLst/>
          </a:prstGeom>
        </p:spPr>
      </p:pic>
      <p:pic>
        <p:nvPicPr>
          <p:cNvPr id="93" name="Picture 92">
            <a:extLst>
              <a:ext uri="{FF2B5EF4-FFF2-40B4-BE49-F238E27FC236}">
                <a16:creationId xmlns:a16="http://schemas.microsoft.com/office/drawing/2014/main" id="{D2C2889E-B285-445D-A8A7-D170EBBED0B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4995362" y="2939219"/>
            <a:ext cx="932230" cy="908456"/>
          </a:xfrm>
          <a:prstGeom prst="rect">
            <a:avLst/>
          </a:prstGeom>
        </p:spPr>
      </p:pic>
      <p:pic>
        <p:nvPicPr>
          <p:cNvPr id="94" name="Picture 93">
            <a:extLst>
              <a:ext uri="{FF2B5EF4-FFF2-40B4-BE49-F238E27FC236}">
                <a16:creationId xmlns:a16="http://schemas.microsoft.com/office/drawing/2014/main" id="{E1AF7098-5045-49DC-A495-CF5B3E567C7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6952271" y="2939219"/>
            <a:ext cx="932230" cy="908456"/>
          </a:xfrm>
          <a:prstGeom prst="rect">
            <a:avLst/>
          </a:prstGeom>
        </p:spPr>
      </p:pic>
      <p:pic>
        <p:nvPicPr>
          <p:cNvPr id="109" name="Picture 108">
            <a:extLst>
              <a:ext uri="{FF2B5EF4-FFF2-40B4-BE49-F238E27FC236}">
                <a16:creationId xmlns:a16="http://schemas.microsoft.com/office/drawing/2014/main" id="{A7346BCA-1B63-4781-9D0F-E9F1E99525A0}"/>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8915695" y="2964480"/>
            <a:ext cx="932230" cy="908456"/>
          </a:xfrm>
          <a:prstGeom prst="rect">
            <a:avLst/>
          </a:prstGeom>
        </p:spPr>
      </p:pic>
      <p:grpSp>
        <p:nvGrpSpPr>
          <p:cNvPr id="111" name="A Group">
            <a:extLst>
              <a:ext uri="{FF2B5EF4-FFF2-40B4-BE49-F238E27FC236}">
                <a16:creationId xmlns:a16="http://schemas.microsoft.com/office/drawing/2014/main" id="{6777FD0D-1D56-4FC3-A780-0AFAF0FC32F0}"/>
              </a:ext>
            </a:extLst>
          </p:cNvPr>
          <p:cNvGrpSpPr/>
          <p:nvPr/>
        </p:nvGrpSpPr>
        <p:grpSpPr>
          <a:xfrm>
            <a:off x="9822056" y="3165608"/>
            <a:ext cx="2138692" cy="2259125"/>
            <a:chOff x="2034704" y="1779460"/>
            <a:chExt cx="2182814" cy="2305406"/>
          </a:xfrm>
        </p:grpSpPr>
        <p:sp>
          <p:nvSpPr>
            <p:cNvPr id="123" name="Rectangle 122">
              <a:extLst>
                <a:ext uri="{FF2B5EF4-FFF2-40B4-BE49-F238E27FC236}">
                  <a16:creationId xmlns:a16="http://schemas.microsoft.com/office/drawing/2014/main" id="{3DAB3935-E518-4455-A0FE-EBD0356E3CA6}"/>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AP Large Instances</a:t>
              </a:r>
            </a:p>
          </p:txBody>
        </p:sp>
        <p:grpSp>
          <p:nvGrpSpPr>
            <p:cNvPr id="124" name="Group 123">
              <a:extLst>
                <a:ext uri="{FF2B5EF4-FFF2-40B4-BE49-F238E27FC236}">
                  <a16:creationId xmlns:a16="http://schemas.microsoft.com/office/drawing/2014/main" id="{A8EF2059-711F-4AF5-BC6A-1D4C1312F76E}"/>
                </a:ext>
              </a:extLst>
            </p:cNvPr>
            <p:cNvGrpSpPr/>
            <p:nvPr/>
          </p:nvGrpSpPr>
          <p:grpSpPr>
            <a:xfrm>
              <a:off x="2536151" y="1779460"/>
              <a:ext cx="1179920" cy="1538737"/>
              <a:chOff x="406421" y="2432376"/>
              <a:chExt cx="2059118" cy="2685303"/>
            </a:xfrm>
          </p:grpSpPr>
          <p:grpSp>
            <p:nvGrpSpPr>
              <p:cNvPr id="125" name="Group 124">
                <a:extLst>
                  <a:ext uri="{FF2B5EF4-FFF2-40B4-BE49-F238E27FC236}">
                    <a16:creationId xmlns:a16="http://schemas.microsoft.com/office/drawing/2014/main" id="{2F948BF3-27CF-43C1-87EE-AE56A9203C29}"/>
                  </a:ext>
                </a:extLst>
              </p:cNvPr>
              <p:cNvGrpSpPr/>
              <p:nvPr/>
            </p:nvGrpSpPr>
            <p:grpSpPr>
              <a:xfrm>
                <a:off x="406421" y="2432376"/>
                <a:ext cx="2059118" cy="2685303"/>
                <a:chOff x="6982264" y="1006524"/>
                <a:chExt cx="4480135" cy="5829701"/>
              </a:xfrm>
            </p:grpSpPr>
            <p:pic>
              <p:nvPicPr>
                <p:cNvPr id="127" name="Picture 126">
                  <a:extLst>
                    <a:ext uri="{FF2B5EF4-FFF2-40B4-BE49-F238E27FC236}">
                      <a16:creationId xmlns:a16="http://schemas.microsoft.com/office/drawing/2014/main" id="{4108DBDD-EE67-4A1B-94BA-8CA12803DE58}"/>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43" name="Picture 142">
                  <a:extLst>
                    <a:ext uri="{FF2B5EF4-FFF2-40B4-BE49-F238E27FC236}">
                      <a16:creationId xmlns:a16="http://schemas.microsoft.com/office/drawing/2014/main" id="{B405309B-9E1C-4F89-BDFC-BA2428BB595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44" name="AutoShape 3">
                  <a:extLst>
                    <a:ext uri="{FF2B5EF4-FFF2-40B4-BE49-F238E27FC236}">
                      <a16:creationId xmlns:a16="http://schemas.microsoft.com/office/drawing/2014/main" id="{F8E49329-07B8-4FC3-A065-35103DCFAB3E}"/>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26" name="TextBox 125">
                <a:extLst>
                  <a:ext uri="{FF2B5EF4-FFF2-40B4-BE49-F238E27FC236}">
                    <a16:creationId xmlns:a16="http://schemas.microsoft.com/office/drawing/2014/main" id="{9653CCF4-6C27-4546-A4C0-309F11FD9CFF}"/>
                  </a:ext>
                </a:extLst>
              </p:cNvPr>
              <p:cNvSpPr txBox="1"/>
              <p:nvPr/>
            </p:nvSpPr>
            <p:spPr>
              <a:xfrm>
                <a:off x="627280" y="2661535"/>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pic>
        <p:nvPicPr>
          <p:cNvPr id="145" name="Picture 144">
            <a:extLst>
              <a:ext uri="{FF2B5EF4-FFF2-40B4-BE49-F238E27FC236}">
                <a16:creationId xmlns:a16="http://schemas.microsoft.com/office/drawing/2014/main" id="{3DD1317A-43E1-48A2-9F96-E742A34B29D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0693742" y="2977971"/>
            <a:ext cx="932230" cy="908456"/>
          </a:xfrm>
          <a:prstGeom prst="rect">
            <a:avLst/>
          </a:prstGeom>
        </p:spPr>
      </p:pic>
      <p:sp>
        <p:nvSpPr>
          <p:cNvPr id="9" name="Rectangle 8">
            <a:extLst>
              <a:ext uri="{FF2B5EF4-FFF2-40B4-BE49-F238E27FC236}">
                <a16:creationId xmlns:a16="http://schemas.microsoft.com/office/drawing/2014/main" id="{8722BCB7-3ABF-48AE-A592-41C2BE235DBC}"/>
              </a:ext>
            </a:extLst>
          </p:cNvPr>
          <p:cNvSpPr/>
          <p:nvPr/>
        </p:nvSpPr>
        <p:spPr>
          <a:xfrm>
            <a:off x="10553137" y="3393449"/>
            <a:ext cx="70874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SAP</a:t>
            </a:r>
            <a:endParaRPr lang="en-US" sz="3500" b="1" kern="0" dirty="0">
              <a:solidFill>
                <a:srgbClr val="353535"/>
              </a:solidFill>
              <a:ea typeface="Segoe UI" pitchFamily="34" charset="0"/>
              <a:cs typeface="Segoe UI" pitchFamily="34" charset="0"/>
            </a:endParaRPr>
          </a:p>
        </p:txBody>
      </p:sp>
      <p:grpSp>
        <p:nvGrpSpPr>
          <p:cNvPr id="110" name="A Group">
            <a:extLst>
              <a:ext uri="{FF2B5EF4-FFF2-40B4-BE49-F238E27FC236}">
                <a16:creationId xmlns:a16="http://schemas.microsoft.com/office/drawing/2014/main" id="{A354850B-67A3-4C54-9A9C-54093B36FCE2}"/>
              </a:ext>
            </a:extLst>
          </p:cNvPr>
          <p:cNvGrpSpPr/>
          <p:nvPr/>
        </p:nvGrpSpPr>
        <p:grpSpPr>
          <a:xfrm>
            <a:off x="6038176" y="5175062"/>
            <a:ext cx="1792595" cy="1865319"/>
            <a:chOff x="2060423" y="1779460"/>
            <a:chExt cx="2182814" cy="2205487"/>
          </a:xfrm>
        </p:grpSpPr>
        <p:sp>
          <p:nvSpPr>
            <p:cNvPr id="146" name="Rectangle 145">
              <a:extLst>
                <a:ext uri="{FF2B5EF4-FFF2-40B4-BE49-F238E27FC236}">
                  <a16:creationId xmlns:a16="http://schemas.microsoft.com/office/drawing/2014/main" id="{FAE775FC-413D-4F1E-8499-BCAC0E7F14DE}"/>
                </a:ext>
              </a:extLst>
            </p:cNvPr>
            <p:cNvSpPr/>
            <p:nvPr/>
          </p:nvSpPr>
          <p:spPr bwMode="auto">
            <a:xfrm>
              <a:off x="2060423" y="3318197"/>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Deep Learning</a:t>
              </a:r>
            </a:p>
            <a:p>
              <a:pPr algn="ctr" defTabSz="913228">
                <a:lnSpc>
                  <a:spcPct val="90000"/>
                </a:lnSpc>
                <a:defRPr/>
              </a:pPr>
              <a:r>
                <a:rPr lang="en-US" sz="1400" kern="0" dirty="0">
                  <a:solidFill>
                    <a:srgbClr val="353535"/>
                  </a:solidFill>
                  <a:ea typeface="Segoe UI" pitchFamily="34" charset="0"/>
                  <a:cs typeface="Segoe UI" pitchFamily="34" charset="0"/>
                </a:rPr>
                <a:t>NVIDIA P40s</a:t>
              </a:r>
            </a:p>
          </p:txBody>
        </p:sp>
        <p:grpSp>
          <p:nvGrpSpPr>
            <p:cNvPr id="147" name="Group 146">
              <a:extLst>
                <a:ext uri="{FF2B5EF4-FFF2-40B4-BE49-F238E27FC236}">
                  <a16:creationId xmlns:a16="http://schemas.microsoft.com/office/drawing/2014/main" id="{E9EE41B7-69AA-4DB0-9E6E-92C49EF37FEC}"/>
                </a:ext>
              </a:extLst>
            </p:cNvPr>
            <p:cNvGrpSpPr/>
            <p:nvPr/>
          </p:nvGrpSpPr>
          <p:grpSpPr>
            <a:xfrm>
              <a:off x="2536151" y="1779460"/>
              <a:ext cx="1179920" cy="1538737"/>
              <a:chOff x="406421" y="2432376"/>
              <a:chExt cx="2059118" cy="2685303"/>
            </a:xfrm>
          </p:grpSpPr>
          <p:grpSp>
            <p:nvGrpSpPr>
              <p:cNvPr id="148" name="Group 147">
                <a:extLst>
                  <a:ext uri="{FF2B5EF4-FFF2-40B4-BE49-F238E27FC236}">
                    <a16:creationId xmlns:a16="http://schemas.microsoft.com/office/drawing/2014/main" id="{CE34E571-CA37-4994-8E9A-511B67405F3F}"/>
                  </a:ext>
                </a:extLst>
              </p:cNvPr>
              <p:cNvGrpSpPr/>
              <p:nvPr/>
            </p:nvGrpSpPr>
            <p:grpSpPr>
              <a:xfrm>
                <a:off x="406421" y="2432376"/>
                <a:ext cx="2059118" cy="2685303"/>
                <a:chOff x="6982264" y="1006524"/>
                <a:chExt cx="4480135" cy="5829701"/>
              </a:xfrm>
            </p:grpSpPr>
            <p:pic>
              <p:nvPicPr>
                <p:cNvPr id="150" name="Picture 149">
                  <a:extLst>
                    <a:ext uri="{FF2B5EF4-FFF2-40B4-BE49-F238E27FC236}">
                      <a16:creationId xmlns:a16="http://schemas.microsoft.com/office/drawing/2014/main" id="{660C517B-46FC-4C62-981F-634814CB9D3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59" name="Picture 158">
                  <a:extLst>
                    <a:ext uri="{FF2B5EF4-FFF2-40B4-BE49-F238E27FC236}">
                      <a16:creationId xmlns:a16="http://schemas.microsoft.com/office/drawing/2014/main" id="{FE64EED7-F838-4491-A938-0E050B956F2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60" name="AutoShape 3">
                  <a:extLst>
                    <a:ext uri="{FF2B5EF4-FFF2-40B4-BE49-F238E27FC236}">
                      <a16:creationId xmlns:a16="http://schemas.microsoft.com/office/drawing/2014/main" id="{8E9B5DD2-C593-42A5-91B8-25B62744BADA}"/>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49" name="TextBox 148">
                <a:extLst>
                  <a:ext uri="{FF2B5EF4-FFF2-40B4-BE49-F238E27FC236}">
                    <a16:creationId xmlns:a16="http://schemas.microsoft.com/office/drawing/2014/main" id="{E84B345B-4530-43AF-875F-7A65A07F1C91}"/>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61" name="Rectangle 160">
            <a:extLst>
              <a:ext uri="{FF2B5EF4-FFF2-40B4-BE49-F238E27FC236}">
                <a16:creationId xmlns:a16="http://schemas.microsoft.com/office/drawing/2014/main" id="{B80DB136-102F-4FAD-A477-743FFBE1A4D2}"/>
              </a:ext>
            </a:extLst>
          </p:cNvPr>
          <p:cNvSpPr/>
          <p:nvPr/>
        </p:nvSpPr>
        <p:spPr>
          <a:xfrm>
            <a:off x="6644695" y="5339544"/>
            <a:ext cx="620595"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ND</a:t>
            </a:r>
          </a:p>
        </p:txBody>
      </p:sp>
      <p:grpSp>
        <p:nvGrpSpPr>
          <p:cNvPr id="165" name="A Group">
            <a:extLst>
              <a:ext uri="{FF2B5EF4-FFF2-40B4-BE49-F238E27FC236}">
                <a16:creationId xmlns:a16="http://schemas.microsoft.com/office/drawing/2014/main" id="{D1581A13-430C-41DA-BEEA-9923DF494487}"/>
              </a:ext>
            </a:extLst>
          </p:cNvPr>
          <p:cNvGrpSpPr/>
          <p:nvPr/>
        </p:nvGrpSpPr>
        <p:grpSpPr>
          <a:xfrm>
            <a:off x="7479362" y="5164331"/>
            <a:ext cx="1874845" cy="1872913"/>
            <a:chOff x="2024777" y="1779460"/>
            <a:chExt cx="2182814" cy="2202730"/>
          </a:xfrm>
        </p:grpSpPr>
        <p:sp>
          <p:nvSpPr>
            <p:cNvPr id="166" name="Rectangle 165">
              <a:extLst>
                <a:ext uri="{FF2B5EF4-FFF2-40B4-BE49-F238E27FC236}">
                  <a16:creationId xmlns:a16="http://schemas.microsoft.com/office/drawing/2014/main" id="{5D340C5C-2247-4C95-BBF6-EC9CAE222C61}"/>
                </a:ext>
              </a:extLst>
            </p:cNvPr>
            <p:cNvSpPr/>
            <p:nvPr/>
          </p:nvSpPr>
          <p:spPr bwMode="auto">
            <a:xfrm>
              <a:off x="2024777" y="331544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 of NC</a:t>
              </a:r>
            </a:p>
            <a:p>
              <a:pPr algn="ctr" defTabSz="913228">
                <a:lnSpc>
                  <a:spcPct val="90000"/>
                </a:lnSpc>
                <a:defRPr/>
              </a:pPr>
              <a:r>
                <a:rPr lang="en-US" sz="1400" kern="0" dirty="0">
                  <a:solidFill>
                    <a:srgbClr val="353535"/>
                  </a:solidFill>
                  <a:ea typeface="Segoe UI" pitchFamily="34" charset="0"/>
                  <a:cs typeface="Segoe UI" pitchFamily="34" charset="0"/>
                </a:rPr>
                <a:t>NVIDIA P100s</a:t>
              </a:r>
            </a:p>
          </p:txBody>
        </p:sp>
        <p:grpSp>
          <p:nvGrpSpPr>
            <p:cNvPr id="167" name="Group 166">
              <a:extLst>
                <a:ext uri="{FF2B5EF4-FFF2-40B4-BE49-F238E27FC236}">
                  <a16:creationId xmlns:a16="http://schemas.microsoft.com/office/drawing/2014/main" id="{E2C4B43B-8307-4EF0-8890-D0DAD664DD8A}"/>
                </a:ext>
              </a:extLst>
            </p:cNvPr>
            <p:cNvGrpSpPr/>
            <p:nvPr/>
          </p:nvGrpSpPr>
          <p:grpSpPr>
            <a:xfrm>
              <a:off x="2536151" y="1779460"/>
              <a:ext cx="1179920" cy="1538737"/>
              <a:chOff x="406421" y="2432376"/>
              <a:chExt cx="2059118" cy="2685303"/>
            </a:xfrm>
          </p:grpSpPr>
          <p:grpSp>
            <p:nvGrpSpPr>
              <p:cNvPr id="168" name="Group 167">
                <a:extLst>
                  <a:ext uri="{FF2B5EF4-FFF2-40B4-BE49-F238E27FC236}">
                    <a16:creationId xmlns:a16="http://schemas.microsoft.com/office/drawing/2014/main" id="{4009C327-3975-49F4-B752-98A962FEF6ED}"/>
                  </a:ext>
                </a:extLst>
              </p:cNvPr>
              <p:cNvGrpSpPr/>
              <p:nvPr/>
            </p:nvGrpSpPr>
            <p:grpSpPr>
              <a:xfrm>
                <a:off x="406421" y="2432376"/>
                <a:ext cx="2059118" cy="2685303"/>
                <a:chOff x="6982264" y="1006524"/>
                <a:chExt cx="4480135" cy="5829701"/>
              </a:xfrm>
            </p:grpSpPr>
            <p:pic>
              <p:nvPicPr>
                <p:cNvPr id="170" name="Picture 169">
                  <a:extLst>
                    <a:ext uri="{FF2B5EF4-FFF2-40B4-BE49-F238E27FC236}">
                      <a16:creationId xmlns:a16="http://schemas.microsoft.com/office/drawing/2014/main" id="{8CB0315C-B1D3-44DC-990F-45C8AD7C15DD}"/>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71" name="Picture 170">
                  <a:extLst>
                    <a:ext uri="{FF2B5EF4-FFF2-40B4-BE49-F238E27FC236}">
                      <a16:creationId xmlns:a16="http://schemas.microsoft.com/office/drawing/2014/main" id="{F2D52C1B-91A8-4579-AB72-27789A2DC3CE}"/>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72" name="AutoShape 3">
                  <a:extLst>
                    <a:ext uri="{FF2B5EF4-FFF2-40B4-BE49-F238E27FC236}">
                      <a16:creationId xmlns:a16="http://schemas.microsoft.com/office/drawing/2014/main" id="{C97A2691-D831-421F-97BB-2F4C184D461C}"/>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69" name="TextBox 168">
                <a:extLst>
                  <a:ext uri="{FF2B5EF4-FFF2-40B4-BE49-F238E27FC236}">
                    <a16:creationId xmlns:a16="http://schemas.microsoft.com/office/drawing/2014/main" id="{6E1C8DD9-DD6D-47A6-8B55-952448522D74}"/>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73" name="Rectangle 172">
            <a:extLst>
              <a:ext uri="{FF2B5EF4-FFF2-40B4-BE49-F238E27FC236}">
                <a16:creationId xmlns:a16="http://schemas.microsoft.com/office/drawing/2014/main" id="{1012C846-09CD-4C64-ACE9-E8CA344C104B}"/>
              </a:ext>
            </a:extLst>
          </p:cNvPr>
          <p:cNvSpPr/>
          <p:nvPr/>
        </p:nvSpPr>
        <p:spPr>
          <a:xfrm>
            <a:off x="8021314" y="5393383"/>
            <a:ext cx="785681" cy="369332"/>
          </a:xfrm>
          <a:prstGeom prst="rect">
            <a:avLst/>
          </a:prstGeom>
        </p:spPr>
        <p:txBody>
          <a:bodyPr wrap="none" lIns="89623" tIns="44810" rIns="89623" bIns="44810">
            <a:spAutoFit/>
          </a:bodyPr>
          <a:lstStyle/>
          <a:p>
            <a:pPr algn="ctr" defTabSz="913228">
              <a:lnSpc>
                <a:spcPct val="90000"/>
              </a:lnSpc>
              <a:defRPr/>
            </a:pPr>
            <a:r>
              <a:rPr lang="en-US" sz="2000" b="1" kern="0" dirty="0">
                <a:solidFill>
                  <a:srgbClr val="353535"/>
                </a:solidFill>
                <a:ea typeface="Segoe UI" pitchFamily="34" charset="0"/>
                <a:cs typeface="Segoe UI" pitchFamily="34" charset="0"/>
              </a:rPr>
              <a:t>NCv2</a:t>
            </a:r>
          </a:p>
        </p:txBody>
      </p:sp>
      <p:grpSp>
        <p:nvGrpSpPr>
          <p:cNvPr id="177" name="A Group">
            <a:extLst>
              <a:ext uri="{FF2B5EF4-FFF2-40B4-BE49-F238E27FC236}">
                <a16:creationId xmlns:a16="http://schemas.microsoft.com/office/drawing/2014/main" id="{7E5CADDE-BB07-4B12-A1D1-96EDC631F9A8}"/>
              </a:ext>
            </a:extLst>
          </p:cNvPr>
          <p:cNvGrpSpPr/>
          <p:nvPr/>
        </p:nvGrpSpPr>
        <p:grpSpPr>
          <a:xfrm>
            <a:off x="9070498" y="5161875"/>
            <a:ext cx="1920089" cy="1870834"/>
            <a:chOff x="2034704" y="1779460"/>
            <a:chExt cx="2182814" cy="2305406"/>
          </a:xfrm>
        </p:grpSpPr>
        <p:sp>
          <p:nvSpPr>
            <p:cNvPr id="178" name="Rectangle 177">
              <a:extLst>
                <a:ext uri="{FF2B5EF4-FFF2-40B4-BE49-F238E27FC236}">
                  <a16:creationId xmlns:a16="http://schemas.microsoft.com/office/drawing/2014/main" id="{E265D2C2-5529-4336-854F-0281D0EE570C}"/>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eration of D family</a:t>
              </a:r>
            </a:p>
          </p:txBody>
        </p:sp>
        <p:grpSp>
          <p:nvGrpSpPr>
            <p:cNvPr id="179" name="Group 178">
              <a:extLst>
                <a:ext uri="{FF2B5EF4-FFF2-40B4-BE49-F238E27FC236}">
                  <a16:creationId xmlns:a16="http://schemas.microsoft.com/office/drawing/2014/main" id="{4FA0C020-99EF-4607-8BCD-4D0A4315837D}"/>
                </a:ext>
              </a:extLst>
            </p:cNvPr>
            <p:cNvGrpSpPr/>
            <p:nvPr/>
          </p:nvGrpSpPr>
          <p:grpSpPr>
            <a:xfrm>
              <a:off x="2536151" y="1779460"/>
              <a:ext cx="1179920" cy="1538737"/>
              <a:chOff x="406421" y="2432376"/>
              <a:chExt cx="2059118" cy="2685303"/>
            </a:xfrm>
          </p:grpSpPr>
          <p:grpSp>
            <p:nvGrpSpPr>
              <p:cNvPr id="180" name="Group 179">
                <a:extLst>
                  <a:ext uri="{FF2B5EF4-FFF2-40B4-BE49-F238E27FC236}">
                    <a16:creationId xmlns:a16="http://schemas.microsoft.com/office/drawing/2014/main" id="{0A342B29-AB10-4E21-BE61-92C2B2A5C5A0}"/>
                  </a:ext>
                </a:extLst>
              </p:cNvPr>
              <p:cNvGrpSpPr/>
              <p:nvPr/>
            </p:nvGrpSpPr>
            <p:grpSpPr>
              <a:xfrm>
                <a:off x="406421" y="2432376"/>
                <a:ext cx="2059118" cy="2685303"/>
                <a:chOff x="6982264" y="1006524"/>
                <a:chExt cx="4480135" cy="5829701"/>
              </a:xfrm>
            </p:grpSpPr>
            <p:pic>
              <p:nvPicPr>
                <p:cNvPr id="182" name="Picture 181">
                  <a:extLst>
                    <a:ext uri="{FF2B5EF4-FFF2-40B4-BE49-F238E27FC236}">
                      <a16:creationId xmlns:a16="http://schemas.microsoft.com/office/drawing/2014/main" id="{EEB1E2C2-3F15-4180-B16E-0226FA99EA4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83" name="Picture 182">
                  <a:extLst>
                    <a:ext uri="{FF2B5EF4-FFF2-40B4-BE49-F238E27FC236}">
                      <a16:creationId xmlns:a16="http://schemas.microsoft.com/office/drawing/2014/main" id="{D99144EA-4032-4815-A57C-FDE6F87ECDCB}"/>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84" name="AutoShape 3">
                  <a:extLst>
                    <a:ext uri="{FF2B5EF4-FFF2-40B4-BE49-F238E27FC236}">
                      <a16:creationId xmlns:a16="http://schemas.microsoft.com/office/drawing/2014/main" id="{582A499A-33F9-4402-BD10-513749E8306D}"/>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81" name="TextBox 180">
                <a:extLst>
                  <a:ext uri="{FF2B5EF4-FFF2-40B4-BE49-F238E27FC236}">
                    <a16:creationId xmlns:a16="http://schemas.microsoft.com/office/drawing/2014/main" id="{15A659C5-1B4F-4937-90D0-7F1D2C7576A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85" name="Rectangle 184">
            <a:extLst>
              <a:ext uri="{FF2B5EF4-FFF2-40B4-BE49-F238E27FC236}">
                <a16:creationId xmlns:a16="http://schemas.microsoft.com/office/drawing/2014/main" id="{205320AC-7A62-4C91-B68E-BC5F1472B684}"/>
              </a:ext>
            </a:extLst>
          </p:cNvPr>
          <p:cNvSpPr/>
          <p:nvPr/>
        </p:nvSpPr>
        <p:spPr>
          <a:xfrm>
            <a:off x="9715253" y="5317482"/>
            <a:ext cx="70233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Dv3</a:t>
            </a:r>
          </a:p>
        </p:txBody>
      </p:sp>
      <p:grpSp>
        <p:nvGrpSpPr>
          <p:cNvPr id="189" name="A Group">
            <a:extLst>
              <a:ext uri="{FF2B5EF4-FFF2-40B4-BE49-F238E27FC236}">
                <a16:creationId xmlns:a16="http://schemas.microsoft.com/office/drawing/2014/main" id="{228889B2-4FC6-483A-8F0E-E6C928348304}"/>
              </a:ext>
            </a:extLst>
          </p:cNvPr>
          <p:cNvGrpSpPr/>
          <p:nvPr/>
        </p:nvGrpSpPr>
        <p:grpSpPr>
          <a:xfrm>
            <a:off x="10666815" y="5197483"/>
            <a:ext cx="1934507" cy="1859324"/>
            <a:chOff x="2135046" y="1779460"/>
            <a:chExt cx="2182814" cy="2297176"/>
          </a:xfrm>
        </p:grpSpPr>
        <p:sp>
          <p:nvSpPr>
            <p:cNvPr id="190" name="Rectangle 189">
              <a:extLst>
                <a:ext uri="{FF2B5EF4-FFF2-40B4-BE49-F238E27FC236}">
                  <a16:creationId xmlns:a16="http://schemas.microsoft.com/office/drawing/2014/main" id="{671F0A3E-339A-40B2-A668-0843D3478B64}"/>
                </a:ext>
              </a:extLst>
            </p:cNvPr>
            <p:cNvSpPr/>
            <p:nvPr/>
          </p:nvSpPr>
          <p:spPr bwMode="auto">
            <a:xfrm>
              <a:off x="2135046" y="340988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High memory</a:t>
              </a:r>
            </a:p>
          </p:txBody>
        </p:sp>
        <p:grpSp>
          <p:nvGrpSpPr>
            <p:cNvPr id="191" name="Group 190">
              <a:extLst>
                <a:ext uri="{FF2B5EF4-FFF2-40B4-BE49-F238E27FC236}">
                  <a16:creationId xmlns:a16="http://schemas.microsoft.com/office/drawing/2014/main" id="{6437900E-D98C-4DC3-833E-D0E8989E37C7}"/>
                </a:ext>
              </a:extLst>
            </p:cNvPr>
            <p:cNvGrpSpPr/>
            <p:nvPr/>
          </p:nvGrpSpPr>
          <p:grpSpPr>
            <a:xfrm>
              <a:off x="2536151" y="1779460"/>
              <a:ext cx="1179920" cy="1538737"/>
              <a:chOff x="406421" y="2432376"/>
              <a:chExt cx="2059118" cy="2685303"/>
            </a:xfrm>
          </p:grpSpPr>
          <p:grpSp>
            <p:nvGrpSpPr>
              <p:cNvPr id="192" name="Group 191">
                <a:extLst>
                  <a:ext uri="{FF2B5EF4-FFF2-40B4-BE49-F238E27FC236}">
                    <a16:creationId xmlns:a16="http://schemas.microsoft.com/office/drawing/2014/main" id="{081F2E48-883E-4C37-92EF-24CFA08AA742}"/>
                  </a:ext>
                </a:extLst>
              </p:cNvPr>
              <p:cNvGrpSpPr/>
              <p:nvPr/>
            </p:nvGrpSpPr>
            <p:grpSpPr>
              <a:xfrm>
                <a:off x="406421" y="2432376"/>
                <a:ext cx="2059118" cy="2685303"/>
                <a:chOff x="6982264" y="1006524"/>
                <a:chExt cx="4480135" cy="5829701"/>
              </a:xfrm>
            </p:grpSpPr>
            <p:pic>
              <p:nvPicPr>
                <p:cNvPr id="194" name="Picture 193">
                  <a:extLst>
                    <a:ext uri="{FF2B5EF4-FFF2-40B4-BE49-F238E27FC236}">
                      <a16:creationId xmlns:a16="http://schemas.microsoft.com/office/drawing/2014/main" id="{DE66D229-6A59-4916-ACC6-B282DEDE93B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95" name="Picture 194">
                  <a:extLst>
                    <a:ext uri="{FF2B5EF4-FFF2-40B4-BE49-F238E27FC236}">
                      <a16:creationId xmlns:a16="http://schemas.microsoft.com/office/drawing/2014/main" id="{308D59FF-9CF7-47CA-B811-22435B7A5216}"/>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96" name="AutoShape 3">
                  <a:extLst>
                    <a:ext uri="{FF2B5EF4-FFF2-40B4-BE49-F238E27FC236}">
                      <a16:creationId xmlns:a16="http://schemas.microsoft.com/office/drawing/2014/main" id="{981D5ADF-BE67-4A5C-A13B-ED50ADDF4F78}"/>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93" name="TextBox 192">
                <a:extLst>
                  <a:ext uri="{FF2B5EF4-FFF2-40B4-BE49-F238E27FC236}">
                    <a16:creationId xmlns:a16="http://schemas.microsoft.com/office/drawing/2014/main" id="{5551403B-9A09-4E94-8A5E-E5B2AF69E0C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97" name="Rectangle 196">
            <a:extLst>
              <a:ext uri="{FF2B5EF4-FFF2-40B4-BE49-F238E27FC236}">
                <a16:creationId xmlns:a16="http://schemas.microsoft.com/office/drawing/2014/main" id="{A1AD9680-1628-42AB-A175-DE9868AF0A64}"/>
              </a:ext>
            </a:extLst>
          </p:cNvPr>
          <p:cNvSpPr/>
          <p:nvPr/>
        </p:nvSpPr>
        <p:spPr>
          <a:xfrm>
            <a:off x="11259602" y="5348598"/>
            <a:ext cx="646240"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Ev3</a:t>
            </a:r>
          </a:p>
        </p:txBody>
      </p:sp>
      <p:sp>
        <p:nvSpPr>
          <p:cNvPr id="164" name="12-Point Star 847">
            <a:extLst>
              <a:ext uri="{FF2B5EF4-FFF2-40B4-BE49-F238E27FC236}">
                <a16:creationId xmlns:a16="http://schemas.microsoft.com/office/drawing/2014/main" id="{82BC57A4-088C-459D-8215-FDAEF8EC76A1}"/>
              </a:ext>
            </a:extLst>
          </p:cNvPr>
          <p:cNvSpPr/>
          <p:nvPr/>
        </p:nvSpPr>
        <p:spPr bwMode="auto">
          <a:xfrm rot="1374897">
            <a:off x="7188847" y="5173134"/>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4" name="12-Point Star 847">
            <a:extLst>
              <a:ext uri="{FF2B5EF4-FFF2-40B4-BE49-F238E27FC236}">
                <a16:creationId xmlns:a16="http://schemas.microsoft.com/office/drawing/2014/main" id="{AC3CD948-7FD8-46CC-AF3A-CAF54B7CD6C8}"/>
              </a:ext>
            </a:extLst>
          </p:cNvPr>
          <p:cNvSpPr/>
          <p:nvPr/>
        </p:nvSpPr>
        <p:spPr bwMode="auto">
          <a:xfrm rot="1374897">
            <a:off x="8686470" y="5143342"/>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5" name="12-Point Star 847">
            <a:extLst>
              <a:ext uri="{FF2B5EF4-FFF2-40B4-BE49-F238E27FC236}">
                <a16:creationId xmlns:a16="http://schemas.microsoft.com/office/drawing/2014/main" id="{7B406480-B2D8-4074-8E8E-E93B8F7482AF}"/>
              </a:ext>
            </a:extLst>
          </p:cNvPr>
          <p:cNvSpPr/>
          <p:nvPr/>
        </p:nvSpPr>
        <p:spPr bwMode="auto">
          <a:xfrm rot="1374897">
            <a:off x="10291936" y="508052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6" name="12-Point Star 847">
            <a:extLst>
              <a:ext uri="{FF2B5EF4-FFF2-40B4-BE49-F238E27FC236}">
                <a16:creationId xmlns:a16="http://schemas.microsoft.com/office/drawing/2014/main" id="{307ABBCB-0220-43C1-9091-2C9A3E230582}"/>
              </a:ext>
            </a:extLst>
          </p:cNvPr>
          <p:cNvSpPr/>
          <p:nvPr/>
        </p:nvSpPr>
        <p:spPr bwMode="auto">
          <a:xfrm rot="1374897">
            <a:off x="11747429" y="505053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Tree>
    <p:extLst>
      <p:ext uri="{BB962C8B-B14F-4D97-AF65-F5344CB8AC3E}">
        <p14:creationId xmlns:p14="http://schemas.microsoft.com/office/powerpoint/2010/main" val="384385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61"/>
                                        </p:tgtEl>
                                        <p:attrNameLst>
                                          <p:attrName>style.visibility</p:attrName>
                                        </p:attrNameLst>
                                      </p:cBhvr>
                                      <p:to>
                                        <p:strVal val="visible"/>
                                      </p:to>
                                    </p:set>
                                    <p:animEffect transition="in" filter="fade">
                                      <p:cBhvr>
                                        <p:cTn id="7" dur="1000"/>
                                        <p:tgtEl>
                                          <p:spTgt spid="161"/>
                                        </p:tgtEl>
                                      </p:cBhvr>
                                    </p:animEffect>
                                    <p:anim calcmode="lin" valueType="num">
                                      <p:cBhvr>
                                        <p:cTn id="8" dur="1000" fill="hold"/>
                                        <p:tgtEl>
                                          <p:spTgt spid="161"/>
                                        </p:tgtEl>
                                        <p:attrNameLst>
                                          <p:attrName>ppt_x</p:attrName>
                                        </p:attrNameLst>
                                      </p:cBhvr>
                                      <p:tavLst>
                                        <p:tav tm="0">
                                          <p:val>
                                            <p:strVal val="#ppt_x"/>
                                          </p:val>
                                        </p:tav>
                                        <p:tav tm="100000">
                                          <p:val>
                                            <p:strVal val="#ppt_x"/>
                                          </p:val>
                                        </p:tav>
                                      </p:tavLst>
                                    </p:anim>
                                    <p:anim calcmode="lin" valueType="num">
                                      <p:cBhvr>
                                        <p:cTn id="9" dur="1000" fill="hold"/>
                                        <p:tgtEl>
                                          <p:spTgt spid="16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1000"/>
                                        <p:tgtEl>
                                          <p:spTgt spid="110"/>
                                        </p:tgtEl>
                                      </p:cBhvr>
                                    </p:animEffect>
                                    <p:anim calcmode="lin" valueType="num">
                                      <p:cBhvr>
                                        <p:cTn id="13" dur="1000" fill="hold"/>
                                        <p:tgtEl>
                                          <p:spTgt spid="110"/>
                                        </p:tgtEl>
                                        <p:attrNameLst>
                                          <p:attrName>ppt_x</p:attrName>
                                        </p:attrNameLst>
                                      </p:cBhvr>
                                      <p:tavLst>
                                        <p:tav tm="0">
                                          <p:val>
                                            <p:strVal val="#ppt_x"/>
                                          </p:val>
                                        </p:tav>
                                        <p:tav tm="100000">
                                          <p:val>
                                            <p:strVal val="#ppt_x"/>
                                          </p:val>
                                        </p:tav>
                                      </p:tavLst>
                                    </p:anim>
                                    <p:anim calcmode="lin" valueType="num">
                                      <p:cBhvr>
                                        <p:cTn id="14" dur="1000" fill="hold"/>
                                        <p:tgtEl>
                                          <p:spTgt spid="110"/>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173"/>
                                        </p:tgtEl>
                                        <p:attrNameLst>
                                          <p:attrName>style.visibility</p:attrName>
                                        </p:attrNameLst>
                                      </p:cBhvr>
                                      <p:to>
                                        <p:strVal val="visible"/>
                                      </p:to>
                                    </p:set>
                                    <p:animEffect transition="in" filter="fade">
                                      <p:cBhvr>
                                        <p:cTn id="18" dur="1000"/>
                                        <p:tgtEl>
                                          <p:spTgt spid="173"/>
                                        </p:tgtEl>
                                      </p:cBhvr>
                                    </p:animEffect>
                                    <p:anim calcmode="lin" valueType="num">
                                      <p:cBhvr>
                                        <p:cTn id="19" dur="1000" fill="hold"/>
                                        <p:tgtEl>
                                          <p:spTgt spid="173"/>
                                        </p:tgtEl>
                                        <p:attrNameLst>
                                          <p:attrName>ppt_x</p:attrName>
                                        </p:attrNameLst>
                                      </p:cBhvr>
                                      <p:tavLst>
                                        <p:tav tm="0">
                                          <p:val>
                                            <p:strVal val="#ppt_x"/>
                                          </p:val>
                                        </p:tav>
                                        <p:tav tm="100000">
                                          <p:val>
                                            <p:strVal val="#ppt_x"/>
                                          </p:val>
                                        </p:tav>
                                      </p:tavLst>
                                    </p:anim>
                                    <p:anim calcmode="lin" valueType="num">
                                      <p:cBhvr>
                                        <p:cTn id="20" dur="1000" fill="hold"/>
                                        <p:tgtEl>
                                          <p:spTgt spid="173"/>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165"/>
                                        </p:tgtEl>
                                        <p:attrNameLst>
                                          <p:attrName>style.visibility</p:attrName>
                                        </p:attrNameLst>
                                      </p:cBhvr>
                                      <p:to>
                                        <p:strVal val="visible"/>
                                      </p:to>
                                    </p:set>
                                    <p:animEffect transition="in" filter="fade">
                                      <p:cBhvr>
                                        <p:cTn id="23" dur="1000"/>
                                        <p:tgtEl>
                                          <p:spTgt spid="165"/>
                                        </p:tgtEl>
                                      </p:cBhvr>
                                    </p:animEffect>
                                    <p:anim calcmode="lin" valueType="num">
                                      <p:cBhvr>
                                        <p:cTn id="24" dur="1000" fill="hold"/>
                                        <p:tgtEl>
                                          <p:spTgt spid="165"/>
                                        </p:tgtEl>
                                        <p:attrNameLst>
                                          <p:attrName>ppt_x</p:attrName>
                                        </p:attrNameLst>
                                      </p:cBhvr>
                                      <p:tavLst>
                                        <p:tav tm="0">
                                          <p:val>
                                            <p:strVal val="#ppt_x"/>
                                          </p:val>
                                        </p:tav>
                                        <p:tav tm="100000">
                                          <p:val>
                                            <p:strVal val="#ppt_x"/>
                                          </p:val>
                                        </p:tav>
                                      </p:tavLst>
                                    </p:anim>
                                    <p:anim calcmode="lin" valueType="num">
                                      <p:cBhvr>
                                        <p:cTn id="25" dur="1000" fill="hold"/>
                                        <p:tgtEl>
                                          <p:spTgt spid="165"/>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grpId="0" nodeType="afterEffect">
                                  <p:stCondLst>
                                    <p:cond delay="0"/>
                                  </p:stCondLst>
                                  <p:childTnLst>
                                    <p:set>
                                      <p:cBhvr>
                                        <p:cTn id="28" dur="1" fill="hold">
                                          <p:stCondLst>
                                            <p:cond delay="0"/>
                                          </p:stCondLst>
                                        </p:cTn>
                                        <p:tgtEl>
                                          <p:spTgt spid="185"/>
                                        </p:tgtEl>
                                        <p:attrNameLst>
                                          <p:attrName>style.visibility</p:attrName>
                                        </p:attrNameLst>
                                      </p:cBhvr>
                                      <p:to>
                                        <p:strVal val="visible"/>
                                      </p:to>
                                    </p:set>
                                    <p:animEffect transition="in" filter="fade">
                                      <p:cBhvr>
                                        <p:cTn id="29" dur="1000"/>
                                        <p:tgtEl>
                                          <p:spTgt spid="185"/>
                                        </p:tgtEl>
                                      </p:cBhvr>
                                    </p:animEffect>
                                    <p:anim calcmode="lin" valueType="num">
                                      <p:cBhvr>
                                        <p:cTn id="30" dur="1000" fill="hold"/>
                                        <p:tgtEl>
                                          <p:spTgt spid="185"/>
                                        </p:tgtEl>
                                        <p:attrNameLst>
                                          <p:attrName>ppt_x</p:attrName>
                                        </p:attrNameLst>
                                      </p:cBhvr>
                                      <p:tavLst>
                                        <p:tav tm="0">
                                          <p:val>
                                            <p:strVal val="#ppt_x"/>
                                          </p:val>
                                        </p:tav>
                                        <p:tav tm="100000">
                                          <p:val>
                                            <p:strVal val="#ppt_x"/>
                                          </p:val>
                                        </p:tav>
                                      </p:tavLst>
                                    </p:anim>
                                    <p:anim calcmode="lin" valueType="num">
                                      <p:cBhvr>
                                        <p:cTn id="31" dur="1000" fill="hold"/>
                                        <p:tgtEl>
                                          <p:spTgt spid="185"/>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177"/>
                                        </p:tgtEl>
                                        <p:attrNameLst>
                                          <p:attrName>style.visibility</p:attrName>
                                        </p:attrNameLst>
                                      </p:cBhvr>
                                      <p:to>
                                        <p:strVal val="visible"/>
                                      </p:to>
                                    </p:set>
                                    <p:animEffect transition="in" filter="fade">
                                      <p:cBhvr>
                                        <p:cTn id="34" dur="1000"/>
                                        <p:tgtEl>
                                          <p:spTgt spid="177"/>
                                        </p:tgtEl>
                                      </p:cBhvr>
                                    </p:animEffect>
                                    <p:anim calcmode="lin" valueType="num">
                                      <p:cBhvr>
                                        <p:cTn id="35" dur="1000" fill="hold"/>
                                        <p:tgtEl>
                                          <p:spTgt spid="177"/>
                                        </p:tgtEl>
                                        <p:attrNameLst>
                                          <p:attrName>ppt_x</p:attrName>
                                        </p:attrNameLst>
                                      </p:cBhvr>
                                      <p:tavLst>
                                        <p:tav tm="0">
                                          <p:val>
                                            <p:strVal val="#ppt_x"/>
                                          </p:val>
                                        </p:tav>
                                        <p:tav tm="100000">
                                          <p:val>
                                            <p:strVal val="#ppt_x"/>
                                          </p:val>
                                        </p:tav>
                                      </p:tavLst>
                                    </p:anim>
                                    <p:anim calcmode="lin" valueType="num">
                                      <p:cBhvr>
                                        <p:cTn id="36" dur="1000" fill="hold"/>
                                        <p:tgtEl>
                                          <p:spTgt spid="177"/>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grpId="0" nodeType="afterEffect">
                                  <p:stCondLst>
                                    <p:cond delay="0"/>
                                  </p:stCondLst>
                                  <p:childTnLst>
                                    <p:set>
                                      <p:cBhvr>
                                        <p:cTn id="39" dur="1" fill="hold">
                                          <p:stCondLst>
                                            <p:cond delay="0"/>
                                          </p:stCondLst>
                                        </p:cTn>
                                        <p:tgtEl>
                                          <p:spTgt spid="197"/>
                                        </p:tgtEl>
                                        <p:attrNameLst>
                                          <p:attrName>style.visibility</p:attrName>
                                        </p:attrNameLst>
                                      </p:cBhvr>
                                      <p:to>
                                        <p:strVal val="visible"/>
                                      </p:to>
                                    </p:set>
                                    <p:animEffect transition="in" filter="fade">
                                      <p:cBhvr>
                                        <p:cTn id="40" dur="1000"/>
                                        <p:tgtEl>
                                          <p:spTgt spid="197"/>
                                        </p:tgtEl>
                                      </p:cBhvr>
                                    </p:animEffect>
                                    <p:anim calcmode="lin" valueType="num">
                                      <p:cBhvr>
                                        <p:cTn id="41" dur="1000" fill="hold"/>
                                        <p:tgtEl>
                                          <p:spTgt spid="197"/>
                                        </p:tgtEl>
                                        <p:attrNameLst>
                                          <p:attrName>ppt_x</p:attrName>
                                        </p:attrNameLst>
                                      </p:cBhvr>
                                      <p:tavLst>
                                        <p:tav tm="0">
                                          <p:val>
                                            <p:strVal val="#ppt_x"/>
                                          </p:val>
                                        </p:tav>
                                        <p:tav tm="100000">
                                          <p:val>
                                            <p:strVal val="#ppt_x"/>
                                          </p:val>
                                        </p:tav>
                                      </p:tavLst>
                                    </p:anim>
                                    <p:anim calcmode="lin" valueType="num">
                                      <p:cBhvr>
                                        <p:cTn id="42" dur="1000" fill="hold"/>
                                        <p:tgtEl>
                                          <p:spTgt spid="197"/>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189"/>
                                        </p:tgtEl>
                                        <p:attrNameLst>
                                          <p:attrName>style.visibility</p:attrName>
                                        </p:attrNameLst>
                                      </p:cBhvr>
                                      <p:to>
                                        <p:strVal val="visible"/>
                                      </p:to>
                                    </p:set>
                                    <p:animEffect transition="in" filter="fade">
                                      <p:cBhvr>
                                        <p:cTn id="45" dur="1000"/>
                                        <p:tgtEl>
                                          <p:spTgt spid="189"/>
                                        </p:tgtEl>
                                      </p:cBhvr>
                                    </p:animEffect>
                                    <p:anim calcmode="lin" valueType="num">
                                      <p:cBhvr>
                                        <p:cTn id="46" dur="1000" fill="hold"/>
                                        <p:tgtEl>
                                          <p:spTgt spid="189"/>
                                        </p:tgtEl>
                                        <p:attrNameLst>
                                          <p:attrName>ppt_x</p:attrName>
                                        </p:attrNameLst>
                                      </p:cBhvr>
                                      <p:tavLst>
                                        <p:tav tm="0">
                                          <p:val>
                                            <p:strVal val="#ppt_x"/>
                                          </p:val>
                                        </p:tav>
                                        <p:tav tm="100000">
                                          <p:val>
                                            <p:strVal val="#ppt_x"/>
                                          </p:val>
                                        </p:tav>
                                      </p:tavLst>
                                    </p:anim>
                                    <p:anim calcmode="lin" valueType="num">
                                      <p:cBhvr>
                                        <p:cTn id="47" dur="1000" fill="hold"/>
                                        <p:tgtEl>
                                          <p:spTgt spid="18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 grpId="0"/>
      <p:bldP spid="173" grpId="0"/>
      <p:bldP spid="185" grpId="0"/>
      <p:bldP spid="197" grpId="0"/>
    </p:bldLst>
  </p:timing>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87868" y="0"/>
            <a:ext cx="8100527" cy="754548"/>
          </a:xfrm>
        </p:spPr>
        <p:txBody>
          <a:bodyPr/>
          <a:lstStyle/>
          <a:p>
            <a:r>
              <a:rPr lang="en-US" dirty="0"/>
              <a:t>VM Sizes</a:t>
            </a:r>
          </a:p>
        </p:txBody>
      </p:sp>
      <p:graphicFrame>
        <p:nvGraphicFramePr>
          <p:cNvPr id="4" name="Table 3">
            <a:extLst>
              <a:ext uri="{FF2B5EF4-FFF2-40B4-BE49-F238E27FC236}">
                <a16:creationId xmlns:a16="http://schemas.microsoft.com/office/drawing/2014/main" id="{747EE562-9AD7-487C-BCE7-60F01F833E81}"/>
              </a:ext>
            </a:extLst>
          </p:cNvPr>
          <p:cNvGraphicFramePr>
            <a:graphicFrameLocks noGrp="1"/>
          </p:cNvGraphicFramePr>
          <p:nvPr>
            <p:extLst/>
          </p:nvPr>
        </p:nvGraphicFramePr>
        <p:xfrm>
          <a:off x="130629" y="680025"/>
          <a:ext cx="11887200" cy="6177976"/>
        </p:xfrm>
        <a:graphic>
          <a:graphicData uri="http://schemas.openxmlformats.org/drawingml/2006/table">
            <a:tbl>
              <a:tblPr/>
              <a:tblGrid>
                <a:gridCol w="3962400">
                  <a:extLst>
                    <a:ext uri="{9D8B030D-6E8A-4147-A177-3AD203B41FA5}">
                      <a16:colId xmlns:a16="http://schemas.microsoft.com/office/drawing/2014/main" val="858233951"/>
                    </a:ext>
                  </a:extLst>
                </a:gridCol>
                <a:gridCol w="3962400">
                  <a:extLst>
                    <a:ext uri="{9D8B030D-6E8A-4147-A177-3AD203B41FA5}">
                      <a16:colId xmlns:a16="http://schemas.microsoft.com/office/drawing/2014/main" val="342652519"/>
                    </a:ext>
                  </a:extLst>
                </a:gridCol>
                <a:gridCol w="3962400">
                  <a:extLst>
                    <a:ext uri="{9D8B030D-6E8A-4147-A177-3AD203B41FA5}">
                      <a16:colId xmlns:a16="http://schemas.microsoft.com/office/drawing/2014/main" val="1063036495"/>
                    </a:ext>
                  </a:extLst>
                </a:gridCol>
              </a:tblGrid>
              <a:tr h="333928">
                <a:tc>
                  <a:txBody>
                    <a:bodyPr/>
                    <a:lstStyle/>
                    <a:p>
                      <a:pPr algn="l" fontAlgn="b"/>
                      <a:r>
                        <a:rPr lang="en-US" sz="1800" b="0">
                          <a:effectLst/>
                          <a:latin typeface="segoe-ui_semibold"/>
                        </a:rPr>
                        <a:t>Type</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Sizes</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Description</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098278488"/>
                  </a:ext>
                </a:extLst>
              </a:tr>
              <a:tr h="1156888">
                <a:tc>
                  <a:txBody>
                    <a:bodyPr/>
                    <a:lstStyle/>
                    <a:p>
                      <a:pPr fontAlgn="t"/>
                      <a:r>
                        <a:rPr lang="en-US" sz="1800" u="none" strike="noStrike" dirty="0">
                          <a:solidFill>
                            <a:srgbClr val="0078D7"/>
                          </a:solidFill>
                          <a:effectLst/>
                          <a:hlinkClick r:id="rId3"/>
                        </a:rPr>
                        <a:t>General purpos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B (Preview), Dsv3, Dv3, DSv2, Dv2, DS, D, Av2, A0-7</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Balanced CPU-to-memory ratio. Ideal for testing and development, small to medium databases, and low to medium traffic web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735691220"/>
                  </a:ext>
                </a:extLst>
              </a:tr>
              <a:tr h="1156888">
                <a:tc>
                  <a:txBody>
                    <a:bodyPr/>
                    <a:lstStyle/>
                    <a:p>
                      <a:pPr fontAlgn="t"/>
                      <a:r>
                        <a:rPr lang="en-US" sz="1800" u="none" strike="noStrike">
                          <a:solidFill>
                            <a:srgbClr val="0078D7"/>
                          </a:solidFill>
                          <a:effectLst/>
                          <a:hlinkClick r:id="rId4"/>
                        </a:rPr>
                        <a:t>Comput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Fs, F</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CPU-to-memory ratio. Good for medium traffic web servers, network appliances, batch processes, and application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282892451"/>
                  </a:ext>
                </a:extLst>
              </a:tr>
              <a:tr h="882568">
                <a:tc>
                  <a:txBody>
                    <a:bodyPr/>
                    <a:lstStyle/>
                    <a:p>
                      <a:pPr fontAlgn="t"/>
                      <a:r>
                        <a:rPr lang="en-US" sz="1800" u="none" strike="noStrike" dirty="0">
                          <a:solidFill>
                            <a:srgbClr val="0078D7"/>
                          </a:solidFill>
                          <a:effectLst/>
                          <a:hlinkClick r:id="rId5"/>
                        </a:rPr>
                        <a:t>Memory optimized</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Esv3, Ev3, M, GS, G, DSv2, DS, Dv2, D</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memory-to-CPU ratio. Great for relational database servers, medium to large caches, and in-memory analytic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44092519"/>
                  </a:ext>
                </a:extLst>
              </a:tr>
              <a:tr h="608248">
                <a:tc>
                  <a:txBody>
                    <a:bodyPr/>
                    <a:lstStyle/>
                    <a:p>
                      <a:pPr fontAlgn="t"/>
                      <a:r>
                        <a:rPr lang="en-US" sz="1800" u="none" strike="noStrike">
                          <a:solidFill>
                            <a:srgbClr val="0078D7"/>
                          </a:solidFill>
                          <a:effectLst/>
                          <a:hlinkClick r:id="rId6"/>
                        </a:rPr>
                        <a:t>Storag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L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disk throughput and IO. Ideal for Big Data, SQL, and NoSQL database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01929339"/>
                  </a:ext>
                </a:extLst>
              </a:tr>
              <a:tr h="1156888">
                <a:tc>
                  <a:txBody>
                    <a:bodyPr/>
                    <a:lstStyle/>
                    <a:p>
                      <a:pPr fontAlgn="t"/>
                      <a:r>
                        <a:rPr lang="en-US" sz="1800" u="none" strike="noStrike">
                          <a:solidFill>
                            <a:srgbClr val="0078D7"/>
                          </a:solidFill>
                          <a:effectLst/>
                          <a:hlinkClick r:id="rId7"/>
                        </a:rPr>
                        <a:t>GPU</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NV, NC</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Specialized virtual machines targeted for heavy graphic rendering and video editing. Available with single or multiple GPU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20128798"/>
                  </a:ext>
                </a:extLst>
              </a:tr>
              <a:tr h="882568">
                <a:tc>
                  <a:txBody>
                    <a:bodyPr/>
                    <a:lstStyle/>
                    <a:p>
                      <a:pPr fontAlgn="t"/>
                      <a:r>
                        <a:rPr lang="en-US" sz="1800" u="none" strike="noStrike" dirty="0">
                          <a:solidFill>
                            <a:srgbClr val="0078D7"/>
                          </a:solidFill>
                          <a:effectLst/>
                          <a:hlinkClick r:id="rId8"/>
                        </a:rPr>
                        <a:t>High performance comput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H, A8-11</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Our fastest and most powerful CPU virtual machines with optional high-throughput network interfaces (RDMA).</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78635098"/>
                  </a:ext>
                </a:extLst>
              </a:tr>
            </a:tbl>
          </a:graphicData>
        </a:graphic>
      </p:graphicFrame>
    </p:spTree>
    <p:extLst>
      <p:ext uri="{BB962C8B-B14F-4D97-AF65-F5344CB8AC3E}">
        <p14:creationId xmlns:p14="http://schemas.microsoft.com/office/powerpoint/2010/main" val="31873841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D053F-E818-4E51-A224-18DFCA89348F}"/>
              </a:ext>
            </a:extLst>
          </p:cNvPr>
          <p:cNvSpPr>
            <a:spLocks noGrp="1"/>
          </p:cNvSpPr>
          <p:nvPr>
            <p:ph type="title"/>
          </p:nvPr>
        </p:nvSpPr>
        <p:spPr/>
        <p:txBody>
          <a:bodyPr/>
          <a:lstStyle/>
          <a:p>
            <a:r>
              <a:rPr lang="en-US" dirty="0"/>
              <a:t>VM Azure Compute Unit (ACU) </a:t>
            </a:r>
          </a:p>
        </p:txBody>
      </p:sp>
      <p:sp>
        <p:nvSpPr>
          <p:cNvPr id="3" name="Content Placeholder 2">
            <a:extLst>
              <a:ext uri="{FF2B5EF4-FFF2-40B4-BE49-F238E27FC236}">
                <a16:creationId xmlns:a16="http://schemas.microsoft.com/office/drawing/2014/main" id="{4B10BDA0-45B2-4562-9ED5-44591285E6B1}"/>
              </a:ext>
            </a:extLst>
          </p:cNvPr>
          <p:cNvSpPr>
            <a:spLocks noGrp="1"/>
          </p:cNvSpPr>
          <p:nvPr>
            <p:ph idx="1"/>
          </p:nvPr>
        </p:nvSpPr>
        <p:spPr>
          <a:xfrm>
            <a:off x="838201" y="1825625"/>
            <a:ext cx="6012873" cy="4351338"/>
          </a:xfrm>
        </p:spPr>
        <p:txBody>
          <a:bodyPr>
            <a:normAutofit/>
          </a:bodyPr>
          <a:lstStyle/>
          <a:p>
            <a:r>
              <a:rPr lang="en-US" dirty="0"/>
              <a:t>Provide a way of comparing compute (CPU) performance across Azure SKUs</a:t>
            </a:r>
          </a:p>
          <a:p>
            <a:endParaRPr lang="en-US" dirty="0"/>
          </a:p>
          <a:p>
            <a:r>
              <a:rPr lang="en-US" dirty="0"/>
              <a:t>Not all Azure Cores are created equal</a:t>
            </a:r>
          </a:p>
          <a:p>
            <a:pPr lvl="1"/>
            <a:r>
              <a:rPr lang="en-US" sz="2800" dirty="0"/>
              <a:t>A1 Core !=  F1 Core</a:t>
            </a:r>
          </a:p>
          <a:p>
            <a:pPr lvl="1"/>
            <a:endParaRPr lang="en-US" sz="2800" dirty="0"/>
          </a:p>
          <a:p>
            <a:r>
              <a:rPr lang="en-US" dirty="0"/>
              <a:t>Compare compute (CPU) performance across SKUs.</a:t>
            </a:r>
          </a:p>
          <a:p>
            <a:endParaRPr lang="en-US" dirty="0"/>
          </a:p>
        </p:txBody>
      </p:sp>
      <p:graphicFrame>
        <p:nvGraphicFramePr>
          <p:cNvPr id="5" name="Table 4">
            <a:extLst>
              <a:ext uri="{FF2B5EF4-FFF2-40B4-BE49-F238E27FC236}">
                <a16:creationId xmlns:a16="http://schemas.microsoft.com/office/drawing/2014/main" id="{FE6736CD-D823-4B97-AA13-97525358B77E}"/>
              </a:ext>
            </a:extLst>
          </p:cNvPr>
          <p:cNvGraphicFramePr>
            <a:graphicFrameLocks noGrp="1"/>
          </p:cNvGraphicFramePr>
          <p:nvPr/>
        </p:nvGraphicFramePr>
        <p:xfrm>
          <a:off x="8161863" y="0"/>
          <a:ext cx="3860802" cy="6847692"/>
        </p:xfrm>
        <a:graphic>
          <a:graphicData uri="http://schemas.openxmlformats.org/drawingml/2006/table">
            <a:tbl>
              <a:tblPr/>
              <a:tblGrid>
                <a:gridCol w="1930401">
                  <a:extLst>
                    <a:ext uri="{9D8B030D-6E8A-4147-A177-3AD203B41FA5}">
                      <a16:colId xmlns:a16="http://schemas.microsoft.com/office/drawing/2014/main" val="3760414888"/>
                    </a:ext>
                  </a:extLst>
                </a:gridCol>
                <a:gridCol w="1930401">
                  <a:extLst>
                    <a:ext uri="{9D8B030D-6E8A-4147-A177-3AD203B41FA5}">
                      <a16:colId xmlns:a16="http://schemas.microsoft.com/office/drawing/2014/main" val="3047188101"/>
                    </a:ext>
                  </a:extLst>
                </a:gridCol>
              </a:tblGrid>
              <a:tr h="333744">
                <a:tc>
                  <a:txBody>
                    <a:bodyPr/>
                    <a:lstStyle/>
                    <a:p>
                      <a:pPr algn="l" fontAlgn="b"/>
                      <a:r>
                        <a:rPr lang="en-US" sz="1400" b="0">
                          <a:effectLst/>
                          <a:latin typeface="segoe-ui_semibold"/>
                        </a:rPr>
                        <a:t>SKU Family</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600" b="0">
                          <a:effectLst/>
                          <a:latin typeface="segoe-ui_semibold"/>
                        </a:rPr>
                        <a:t>ACU \ vCPU</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929862205"/>
                  </a:ext>
                </a:extLst>
              </a:tr>
              <a:tr h="310188">
                <a:tc>
                  <a:txBody>
                    <a:bodyPr/>
                    <a:lstStyle/>
                    <a:p>
                      <a:pPr fontAlgn="t"/>
                      <a:r>
                        <a:rPr lang="en-US" sz="1200" u="none" strike="noStrike">
                          <a:solidFill>
                            <a:srgbClr val="0078D7"/>
                          </a:solidFill>
                          <a:effectLst/>
                          <a:hlinkClick r:id="rId3"/>
                        </a:rPr>
                        <a:t>A0</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61227235"/>
                  </a:ext>
                </a:extLst>
              </a:tr>
              <a:tr h="310188">
                <a:tc>
                  <a:txBody>
                    <a:bodyPr/>
                    <a:lstStyle/>
                    <a:p>
                      <a:pPr fontAlgn="t"/>
                      <a:r>
                        <a:rPr lang="en-US" sz="1200" u="none" strike="noStrike">
                          <a:solidFill>
                            <a:srgbClr val="0078D7"/>
                          </a:solidFill>
                          <a:effectLst/>
                          <a:hlinkClick r:id="rId3"/>
                        </a:rPr>
                        <a:t>A1-A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819591394"/>
                  </a:ext>
                </a:extLst>
              </a:tr>
              <a:tr h="310188">
                <a:tc>
                  <a:txBody>
                    <a:bodyPr/>
                    <a:lstStyle/>
                    <a:p>
                      <a:pPr fontAlgn="t"/>
                      <a:r>
                        <a:rPr lang="en-US" sz="1200" u="none" strike="noStrike">
                          <a:solidFill>
                            <a:srgbClr val="0078D7"/>
                          </a:solidFill>
                          <a:effectLst/>
                          <a:hlinkClick r:id="rId3"/>
                        </a:rPr>
                        <a:t>A5-A7</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618272852"/>
                  </a:ext>
                </a:extLst>
              </a:tr>
              <a:tr h="310188">
                <a:tc>
                  <a:txBody>
                    <a:bodyPr/>
                    <a:lstStyle/>
                    <a:p>
                      <a:pPr fontAlgn="t"/>
                      <a:r>
                        <a:rPr lang="en-US" sz="1200" u="none" strike="noStrike">
                          <a:solidFill>
                            <a:srgbClr val="0078D7"/>
                          </a:solidFill>
                          <a:effectLst/>
                          <a:hlinkClick r:id="rId3"/>
                        </a:rPr>
                        <a:t>A1_v2-A8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157334764"/>
                  </a:ext>
                </a:extLst>
              </a:tr>
              <a:tr h="310188">
                <a:tc>
                  <a:txBody>
                    <a:bodyPr/>
                    <a:lstStyle/>
                    <a:p>
                      <a:pPr fontAlgn="t"/>
                      <a:r>
                        <a:rPr lang="en-US" sz="1200" u="none" strike="noStrike">
                          <a:solidFill>
                            <a:srgbClr val="0078D7"/>
                          </a:solidFill>
                          <a:effectLst/>
                          <a:hlinkClick r:id="rId3"/>
                        </a:rPr>
                        <a:t>A2m_v2-A8m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4145811071"/>
                  </a:ext>
                </a:extLst>
              </a:tr>
              <a:tr h="310188">
                <a:tc>
                  <a:txBody>
                    <a:bodyPr/>
                    <a:lstStyle/>
                    <a:p>
                      <a:pPr fontAlgn="t"/>
                      <a:r>
                        <a:rPr lang="en-US" sz="1200" u="none" strike="noStrike">
                          <a:solidFill>
                            <a:srgbClr val="0078D7"/>
                          </a:solidFill>
                          <a:effectLst/>
                          <a:hlinkClick r:id="rId4"/>
                        </a:rPr>
                        <a:t>A8-A11</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25*</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0218846"/>
                  </a:ext>
                </a:extLst>
              </a:tr>
              <a:tr h="310188">
                <a:tc>
                  <a:txBody>
                    <a:bodyPr/>
                    <a:lstStyle/>
                    <a:p>
                      <a:pPr fontAlgn="t"/>
                      <a:r>
                        <a:rPr lang="en-US" sz="1200" u="none" strike="noStrike">
                          <a:solidFill>
                            <a:srgbClr val="0078D7"/>
                          </a:solidFill>
                          <a:effectLst/>
                          <a:hlinkClick r:id="rId3"/>
                        </a:rPr>
                        <a:t>D1-D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70848740"/>
                  </a:ext>
                </a:extLst>
              </a:tr>
              <a:tr h="310188">
                <a:tc>
                  <a:txBody>
                    <a:bodyPr/>
                    <a:lstStyle/>
                    <a:p>
                      <a:pPr fontAlgn="t"/>
                      <a:r>
                        <a:rPr lang="en-US" sz="1200" u="none" strike="noStrike">
                          <a:solidFill>
                            <a:srgbClr val="0078D7"/>
                          </a:solidFill>
                          <a:effectLst/>
                          <a:hlinkClick r:id="rId3"/>
                        </a:rPr>
                        <a:t>D1_v2-D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 - 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242909392"/>
                  </a:ext>
                </a:extLst>
              </a:tr>
              <a:tr h="310188">
                <a:tc>
                  <a:txBody>
                    <a:bodyPr/>
                    <a:lstStyle/>
                    <a:p>
                      <a:pPr fontAlgn="t"/>
                      <a:r>
                        <a:rPr lang="en-US" sz="1200" u="none" strike="noStrike">
                          <a:solidFill>
                            <a:srgbClr val="0078D7"/>
                          </a:solidFill>
                          <a:effectLst/>
                          <a:hlinkClick r:id="rId5"/>
                        </a:rPr>
                        <a:t>DS1-DS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85304562"/>
                  </a:ext>
                </a:extLst>
              </a:tr>
              <a:tr h="310188">
                <a:tc>
                  <a:txBody>
                    <a:bodyPr/>
                    <a:lstStyle/>
                    <a:p>
                      <a:pPr fontAlgn="t"/>
                      <a:r>
                        <a:rPr lang="en-US" sz="1200" u="none" strike="noStrike">
                          <a:solidFill>
                            <a:srgbClr val="0078D7"/>
                          </a:solidFill>
                          <a:effectLst/>
                          <a:hlinkClick r:id="rId5"/>
                        </a:rPr>
                        <a:t>DS1_v2-DS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250443017"/>
                  </a:ext>
                </a:extLst>
              </a:tr>
              <a:tr h="310188">
                <a:tc>
                  <a:txBody>
                    <a:bodyPr/>
                    <a:lstStyle/>
                    <a:p>
                      <a:pPr fontAlgn="t"/>
                      <a:r>
                        <a:rPr lang="en-US" sz="1200" u="none" strike="noStrike">
                          <a:solidFill>
                            <a:srgbClr val="0078D7"/>
                          </a:solidFill>
                          <a:effectLst/>
                          <a:hlinkClick r:id="rId6"/>
                        </a:rPr>
                        <a:t>D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976023990"/>
                  </a:ext>
                </a:extLst>
              </a:tr>
              <a:tr h="310188">
                <a:tc>
                  <a:txBody>
                    <a:bodyPr/>
                    <a:lstStyle/>
                    <a:p>
                      <a:pPr fontAlgn="t"/>
                      <a:r>
                        <a:rPr lang="en-US" sz="1200" u="none" strike="noStrike">
                          <a:solidFill>
                            <a:srgbClr val="0078D7"/>
                          </a:solidFill>
                          <a:effectLst/>
                          <a:hlinkClick r:id="rId6"/>
                        </a:rPr>
                        <a:t>D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418823559"/>
                  </a:ext>
                </a:extLst>
              </a:tr>
              <a:tr h="310188">
                <a:tc>
                  <a:txBody>
                    <a:bodyPr/>
                    <a:lstStyle/>
                    <a:p>
                      <a:pPr fontAlgn="t"/>
                      <a:r>
                        <a:rPr lang="en-US" sz="1200" u="none" strike="noStrike">
                          <a:solidFill>
                            <a:srgbClr val="0078D7"/>
                          </a:solidFill>
                          <a:effectLst/>
                          <a:hlinkClick r:id="rId5"/>
                        </a:rPr>
                        <a:t>E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519813855"/>
                  </a:ext>
                </a:extLst>
              </a:tr>
              <a:tr h="310188">
                <a:tc>
                  <a:txBody>
                    <a:bodyPr/>
                    <a:lstStyle/>
                    <a:p>
                      <a:pPr fontAlgn="t"/>
                      <a:r>
                        <a:rPr lang="en-US" sz="1200" u="none" strike="noStrike">
                          <a:solidFill>
                            <a:srgbClr val="0078D7"/>
                          </a:solidFill>
                          <a:effectLst/>
                          <a:hlinkClick r:id="rId5"/>
                        </a:rPr>
                        <a:t>E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2349547"/>
                  </a:ext>
                </a:extLst>
              </a:tr>
              <a:tr h="310188">
                <a:tc>
                  <a:txBody>
                    <a:bodyPr/>
                    <a:lstStyle/>
                    <a:p>
                      <a:pPr fontAlgn="t"/>
                      <a:r>
                        <a:rPr lang="en-US" sz="1200" u="none" strike="noStrike">
                          <a:solidFill>
                            <a:srgbClr val="0078D7"/>
                          </a:solidFill>
                          <a:effectLst/>
                          <a:hlinkClick r:id="rId7"/>
                        </a:rPr>
                        <a:t>F1-F16</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49126399"/>
                  </a:ext>
                </a:extLst>
              </a:tr>
              <a:tr h="310188">
                <a:tc>
                  <a:txBody>
                    <a:bodyPr/>
                    <a:lstStyle/>
                    <a:p>
                      <a:pPr fontAlgn="t"/>
                      <a:r>
                        <a:rPr lang="en-US" sz="1200" u="none" strike="noStrike" dirty="0">
                          <a:solidFill>
                            <a:srgbClr val="0078D7"/>
                          </a:solidFill>
                          <a:effectLst/>
                          <a:hlinkClick r:id="rId7"/>
                        </a:rPr>
                        <a:t>F1s-F16s</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66092191"/>
                  </a:ext>
                </a:extLst>
              </a:tr>
              <a:tr h="310188">
                <a:tc>
                  <a:txBody>
                    <a:bodyPr/>
                    <a:lstStyle/>
                    <a:p>
                      <a:pPr fontAlgn="t"/>
                      <a:r>
                        <a:rPr lang="en-US" sz="1200" u="none" strike="noStrike">
                          <a:solidFill>
                            <a:srgbClr val="0078D7"/>
                          </a:solidFill>
                          <a:effectLst/>
                          <a:hlinkClick r:id="rId5"/>
                        </a:rPr>
                        <a:t>G1-G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66723753"/>
                  </a:ext>
                </a:extLst>
              </a:tr>
              <a:tr h="310188">
                <a:tc>
                  <a:txBody>
                    <a:bodyPr/>
                    <a:lstStyle/>
                    <a:p>
                      <a:pPr fontAlgn="t"/>
                      <a:r>
                        <a:rPr lang="en-US" sz="1200" u="none" strike="noStrike">
                          <a:solidFill>
                            <a:srgbClr val="0078D7"/>
                          </a:solidFill>
                          <a:effectLst/>
                          <a:hlinkClick r:id="rId5"/>
                        </a:rPr>
                        <a:t>GS1-GS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3384167"/>
                  </a:ext>
                </a:extLst>
              </a:tr>
              <a:tr h="310188">
                <a:tc>
                  <a:txBody>
                    <a:bodyPr/>
                    <a:lstStyle/>
                    <a:p>
                      <a:pPr fontAlgn="t"/>
                      <a:r>
                        <a:rPr lang="en-US" sz="1200" u="none" strike="noStrike">
                          <a:solidFill>
                            <a:srgbClr val="0078D7"/>
                          </a:solidFill>
                          <a:effectLst/>
                          <a:hlinkClick r:id="rId4"/>
                        </a:rPr>
                        <a:t>H</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90 - 3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22549969"/>
                  </a:ext>
                </a:extLst>
              </a:tr>
              <a:tr h="310188">
                <a:tc>
                  <a:txBody>
                    <a:bodyPr/>
                    <a:lstStyle/>
                    <a:p>
                      <a:pPr fontAlgn="t"/>
                      <a:r>
                        <a:rPr lang="en-US" sz="1200" u="none" strike="noStrike">
                          <a:solidFill>
                            <a:srgbClr val="0078D7"/>
                          </a:solidFill>
                          <a:effectLst/>
                          <a:hlinkClick r:id="rId8"/>
                        </a:rPr>
                        <a:t>L4s-L32s</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42390848"/>
                  </a:ext>
                </a:extLst>
              </a:tr>
              <a:tr h="310188">
                <a:tc>
                  <a:txBody>
                    <a:bodyPr/>
                    <a:lstStyle/>
                    <a:p>
                      <a:pPr fontAlgn="t"/>
                      <a:r>
                        <a:rPr lang="en-US" sz="1200" u="none" strike="noStrike" dirty="0">
                          <a:solidFill>
                            <a:srgbClr val="0078D7"/>
                          </a:solidFill>
                          <a:effectLst/>
                          <a:hlinkClick r:id="rId5"/>
                        </a:rPr>
                        <a:t>M</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8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0095606"/>
                  </a:ext>
                </a:extLst>
              </a:tr>
            </a:tbl>
          </a:graphicData>
        </a:graphic>
      </p:graphicFrame>
    </p:spTree>
    <p:extLst>
      <p:ext uri="{BB962C8B-B14F-4D97-AF65-F5344CB8AC3E}">
        <p14:creationId xmlns:p14="http://schemas.microsoft.com/office/powerpoint/2010/main" val="35957516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664797"/>
          </a:xfrm>
        </p:spPr>
        <p:txBody>
          <a:bodyPr/>
          <a:lstStyle/>
          <a:p>
            <a:pPr algn="ctr"/>
            <a:r>
              <a:rPr lang="en-US" sz="4800"/>
              <a:t>The Fundamental Element of Azur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5190" y="985733"/>
            <a:ext cx="10058400" cy="5657850"/>
          </a:xfrm>
          <a:prstGeom prst="rect">
            <a:avLst/>
          </a:prstGeom>
        </p:spPr>
      </p:pic>
    </p:spTree>
    <p:extLst>
      <p:ext uri="{BB962C8B-B14F-4D97-AF65-F5344CB8AC3E}">
        <p14:creationId xmlns:p14="http://schemas.microsoft.com/office/powerpoint/2010/main" val="309763318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664797"/>
          </a:xfrm>
        </p:spPr>
        <p:txBody>
          <a:bodyPr/>
          <a:lstStyle/>
          <a:p>
            <a:pPr algn="ctr"/>
            <a:r>
              <a:rPr lang="en-US" sz="4800"/>
              <a:t>The Fundamental Element of Azur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5190" y="985733"/>
            <a:ext cx="10058400" cy="5657850"/>
          </a:xfrm>
          <a:prstGeom prst="rect">
            <a:avLst/>
          </a:prstGeom>
        </p:spPr>
      </p:pic>
      <p:sp>
        <p:nvSpPr>
          <p:cNvPr id="3" name="Rectangle 2"/>
          <p:cNvSpPr/>
          <p:nvPr/>
        </p:nvSpPr>
        <p:spPr bwMode="auto">
          <a:xfrm>
            <a:off x="4314548" y="2095130"/>
            <a:ext cx="3178205" cy="3275860"/>
          </a:xfrm>
          <a:prstGeom prst="rect">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9600" b="0" i="0" u="none" strike="noStrike" kern="1200" cap="none" spc="0" normalizeH="0" baseline="0" noProof="0">
                <a:ln>
                  <a:noFill/>
                </a:ln>
                <a:solidFill>
                  <a:srgbClr val="292929"/>
                </a:solidFill>
                <a:effectLst/>
                <a:uLnTx/>
                <a:uFillTx/>
                <a:latin typeface="Segoe UI"/>
                <a:ea typeface="+mn-ea"/>
                <a:cs typeface="+mn-cs"/>
              </a:rPr>
              <a:t>St</a:t>
            </a:r>
            <a:endParaRPr kumimoji="0" lang="en-US" sz="2200" b="0" i="0" u="none" strike="noStrike" kern="1200" cap="none" spc="0" normalizeH="0" baseline="0" noProof="0">
              <a:ln>
                <a:noFill/>
              </a:ln>
              <a:solidFill>
                <a:srgbClr val="292929"/>
              </a:solidFill>
              <a:effectLst/>
              <a:uLnTx/>
              <a:uFillTx/>
              <a:latin typeface="Segoe UI"/>
              <a:ea typeface="+mn-ea"/>
              <a:cs typeface="+mn-cs"/>
            </a:endParaRPr>
          </a:p>
        </p:txBody>
      </p:sp>
      <p:sp>
        <p:nvSpPr>
          <p:cNvPr id="5" name="TextBox 4"/>
          <p:cNvSpPr txBox="1"/>
          <p:nvPr/>
        </p:nvSpPr>
        <p:spPr>
          <a:xfrm>
            <a:off x="4740676" y="4296792"/>
            <a:ext cx="2317072" cy="3877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Storage</a:t>
            </a:r>
          </a:p>
        </p:txBody>
      </p:sp>
      <p:sp>
        <p:nvSpPr>
          <p:cNvPr id="7" name="TextBox 6"/>
          <p:cNvSpPr txBox="1"/>
          <p:nvPr/>
        </p:nvSpPr>
        <p:spPr>
          <a:xfrm>
            <a:off x="4447713" y="2290439"/>
            <a:ext cx="532660" cy="443198"/>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32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1</a:t>
            </a:r>
          </a:p>
        </p:txBody>
      </p:sp>
    </p:spTree>
    <p:extLst>
      <p:ext uri="{BB962C8B-B14F-4D97-AF65-F5344CB8AC3E}">
        <p14:creationId xmlns:p14="http://schemas.microsoft.com/office/powerpoint/2010/main" val="366710055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85951" y="0"/>
            <a:ext cx="10515600" cy="1325563"/>
          </a:xfrm>
        </p:spPr>
        <p:txBody>
          <a:bodyPr/>
          <a:lstStyle/>
          <a:p>
            <a:r>
              <a:rPr lang="en-US" dirty="0"/>
              <a:t>VM Disks</a:t>
            </a:r>
          </a:p>
        </p:txBody>
      </p:sp>
      <p:sp>
        <p:nvSpPr>
          <p:cNvPr id="3" name="Content Placeholder 2"/>
          <p:cNvSpPr>
            <a:spLocks noGrp="1"/>
          </p:cNvSpPr>
          <p:nvPr>
            <p:ph idx="1"/>
          </p:nvPr>
        </p:nvSpPr>
        <p:spPr>
          <a:xfrm>
            <a:off x="838199" y="1277006"/>
            <a:ext cx="10767849" cy="5221329"/>
          </a:xfrm>
        </p:spPr>
        <p:txBody>
          <a:bodyPr numCol="2">
            <a:normAutofit/>
          </a:bodyPr>
          <a:lstStyle/>
          <a:p>
            <a:r>
              <a:rPr lang="en-US" dirty="0"/>
              <a:t>OS Disk (attached via SATA)</a:t>
            </a:r>
          </a:p>
          <a:p>
            <a:pPr lvl="1"/>
            <a:r>
              <a:rPr lang="en-US" dirty="0"/>
              <a:t>VHD based</a:t>
            </a:r>
          </a:p>
          <a:p>
            <a:pPr lvl="1"/>
            <a:r>
              <a:rPr lang="en-US" dirty="0"/>
              <a:t>Persists</a:t>
            </a:r>
          </a:p>
          <a:p>
            <a:pPr lvl="1"/>
            <a:r>
              <a:rPr lang="en-US" dirty="0"/>
              <a:t>Separate storage cost</a:t>
            </a:r>
          </a:p>
          <a:p>
            <a:r>
              <a:rPr lang="en-US" dirty="0"/>
              <a:t>Temporary Disk</a:t>
            </a:r>
          </a:p>
          <a:p>
            <a:pPr lvl="1"/>
            <a:r>
              <a:rPr lang="en-US" dirty="0"/>
              <a:t>Doesn’t persist - SSD</a:t>
            </a:r>
          </a:p>
          <a:p>
            <a:pPr lvl="1"/>
            <a:r>
              <a:rPr lang="en-US" dirty="0"/>
              <a:t>No Separate storage cost</a:t>
            </a:r>
          </a:p>
          <a:p>
            <a:r>
              <a:rPr lang="en-US" dirty="0"/>
              <a:t>Data Disk (SCSI)</a:t>
            </a:r>
          </a:p>
          <a:p>
            <a:pPr lvl="1"/>
            <a:r>
              <a:rPr lang="en-US" dirty="0"/>
              <a:t>VHD based</a:t>
            </a:r>
          </a:p>
          <a:p>
            <a:pPr lvl="1"/>
            <a:r>
              <a:rPr lang="en-US" dirty="0"/>
              <a:t>Persists</a:t>
            </a:r>
          </a:p>
          <a:p>
            <a:pPr lvl="1"/>
            <a:r>
              <a:rPr lang="en-US" dirty="0"/>
              <a:t>Separate storage cost</a:t>
            </a:r>
          </a:p>
          <a:p>
            <a:pPr lvl="1"/>
            <a:r>
              <a:rPr lang="en-US" dirty="0"/>
              <a:t>Current Max Data Disk Size: 4,095 GB</a:t>
            </a:r>
          </a:p>
          <a:p>
            <a:pPr marL="0" indent="0">
              <a:buNone/>
            </a:pPr>
            <a:endParaRPr lang="en-US" dirty="0"/>
          </a:p>
          <a:p>
            <a:pPr lvl="1"/>
            <a:endParaRPr lang="en-US" dirty="0"/>
          </a:p>
          <a:p>
            <a:pPr lvl="1"/>
            <a:endParaRPr lang="en-US" dirty="0"/>
          </a:p>
          <a:p>
            <a:pPr marL="0" indent="0">
              <a:buNone/>
            </a:pPr>
            <a:endParaRPr lang="en-US" dirty="0"/>
          </a:p>
          <a:p>
            <a:pPr lvl="1"/>
            <a:endParaRPr lang="en-US" dirty="0"/>
          </a:p>
          <a:p>
            <a:pPr lvl="1"/>
            <a:endParaRPr lang="en-US" dirty="0"/>
          </a:p>
        </p:txBody>
      </p:sp>
    </p:spTree>
    <p:extLst>
      <p:ext uri="{BB962C8B-B14F-4D97-AF65-F5344CB8AC3E}">
        <p14:creationId xmlns:p14="http://schemas.microsoft.com/office/powerpoint/2010/main" val="2867879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3">
                                            <p:txEl>
                                              <p:pRg st="9" end="9"/>
                                            </p:txEl>
                                          </p:spTgt>
                                        </p:tgtEl>
                                        <p:attrNameLst>
                                          <p:attrName>style.visibility</p:attrName>
                                        </p:attrNameLst>
                                      </p:cBhvr>
                                      <p:to>
                                        <p:strVal val="visible"/>
                                      </p:to>
                                    </p:set>
                                    <p:animEffect transition="in" filter="fade">
                                      <p:cBhvr>
                                        <p:cTn id="38" dur="500"/>
                                        <p:tgtEl>
                                          <p:spTgt spid="3">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animEffect transition="in" filter="fade">
                                      <p:cBhvr>
                                        <p:cTn id="41" dur="500"/>
                                        <p:tgtEl>
                                          <p:spTgt spid="3">
                                            <p:txEl>
                                              <p:pRg st="10" end="10"/>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3">
                                            <p:txEl>
                                              <p:pRg st="11" end="11"/>
                                            </p:txEl>
                                          </p:spTgt>
                                        </p:tgtEl>
                                        <p:attrNameLst>
                                          <p:attrName>style.visibility</p:attrName>
                                        </p:attrNameLst>
                                      </p:cBhvr>
                                      <p:to>
                                        <p:strVal val="visible"/>
                                      </p:to>
                                    </p:set>
                                    <p:animEffect transition="in" filter="fade">
                                      <p:cBhvr>
                                        <p:cTn id="44"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0EFA9DE9-2C4C-485B-B204-7F07D07D02C6}"/>
              </a:ext>
            </a:extLst>
          </p:cNvPr>
          <p:cNvGraphicFramePr>
            <a:graphicFrameLocks noGrp="1"/>
          </p:cNvGraphicFramePr>
          <p:nvPr>
            <p:ph idx="1"/>
            <p:extLst/>
          </p:nvPr>
        </p:nvGraphicFramePr>
        <p:xfrm>
          <a:off x="236482" y="0"/>
          <a:ext cx="11682249" cy="6856002"/>
        </p:xfrm>
        <a:graphic>
          <a:graphicData uri="http://schemas.openxmlformats.org/drawingml/2006/table">
            <a:tbl>
              <a:tblPr/>
              <a:tblGrid>
                <a:gridCol w="3894083">
                  <a:extLst>
                    <a:ext uri="{9D8B030D-6E8A-4147-A177-3AD203B41FA5}">
                      <a16:colId xmlns:a16="http://schemas.microsoft.com/office/drawing/2014/main" val="2338558242"/>
                    </a:ext>
                  </a:extLst>
                </a:gridCol>
                <a:gridCol w="3894083">
                  <a:extLst>
                    <a:ext uri="{9D8B030D-6E8A-4147-A177-3AD203B41FA5}">
                      <a16:colId xmlns:a16="http://schemas.microsoft.com/office/drawing/2014/main" val="4087647339"/>
                    </a:ext>
                  </a:extLst>
                </a:gridCol>
                <a:gridCol w="3894083">
                  <a:extLst>
                    <a:ext uri="{9D8B030D-6E8A-4147-A177-3AD203B41FA5}">
                      <a16:colId xmlns:a16="http://schemas.microsoft.com/office/drawing/2014/main" val="4162674754"/>
                    </a:ext>
                  </a:extLst>
                </a:gridCol>
              </a:tblGrid>
              <a:tr h="927058">
                <a:tc>
                  <a:txBody>
                    <a:bodyPr/>
                    <a:lstStyle/>
                    <a:p>
                      <a:pPr algn="l" fontAlgn="b"/>
                      <a:endParaRPr lang="en-US" sz="1800" b="1" dirty="0">
                        <a:effectLst/>
                        <a:latin typeface="segoe-ui_semibold"/>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dirty="0">
                        <a:effectLst/>
                        <a:latin typeface="segoe-ui_semibold"/>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dirty="0">
                          <a:effectLst/>
                          <a:latin typeface="segoe-ui_semibold"/>
                        </a:rPr>
                        <a:t>Azure Premium Disk</a:t>
                      </a:r>
                    </a:p>
                    <a:p>
                      <a:pPr marL="0" algn="l" defTabSz="914400" rtl="0" eaLnBrk="1" fontAlgn="b" latinLnBrk="0" hangingPunct="1"/>
                      <a:endParaRPr lang="en-US" sz="1800" b="1" kern="1200" dirty="0">
                        <a:solidFill>
                          <a:schemeClr val="tx1"/>
                        </a:solidFill>
                        <a:effectLst/>
                        <a:latin typeface="segoe-ui_semibold"/>
                        <a:ea typeface="+mn-ea"/>
                        <a:cs typeface="+mn-cs"/>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kern="1200" dirty="0">
                        <a:solidFill>
                          <a:schemeClr val="tx1"/>
                        </a:solidFill>
                        <a:effectLst/>
                        <a:latin typeface="segoe-ui_semibold"/>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segoe-ui_semibold"/>
                          <a:ea typeface="+mn-ea"/>
                          <a:cs typeface="+mn-cs"/>
                        </a:rPr>
                        <a:t>Azure Standard Disk</a:t>
                      </a:r>
                    </a:p>
                  </a:txBody>
                  <a:tcPr marL="41640" marR="41640" marT="20820" marB="20820">
                    <a:lnL w="12700" cap="flat" cmpd="sng" algn="ctr">
                      <a:solidFill>
                        <a:srgbClr val="E3E3E3"/>
                      </a:solidFill>
                      <a:prstDash val="solid"/>
                      <a:round/>
                      <a:headEnd type="none" w="med" len="med"/>
                      <a:tailEnd type="none" w="med" len="med"/>
                    </a:lnL>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725414650"/>
                  </a:ext>
                </a:extLst>
              </a:tr>
              <a:tr h="408898">
                <a:tc>
                  <a:txBody>
                    <a:bodyPr/>
                    <a:lstStyle/>
                    <a:p>
                      <a:pPr fontAlgn="t"/>
                      <a:r>
                        <a:rPr lang="en-US" sz="2000" b="1" dirty="0">
                          <a:effectLst/>
                        </a:rPr>
                        <a:t>Disk Typ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olid State Drives (SS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ard Disk Drives (HD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370704021"/>
                  </a:ext>
                </a:extLst>
              </a:tr>
              <a:tr h="1101030">
                <a:tc>
                  <a:txBody>
                    <a:bodyPr/>
                    <a:lstStyle/>
                    <a:p>
                      <a:pPr fontAlgn="t"/>
                      <a:r>
                        <a:rPr lang="en-US" sz="2000" b="1" dirty="0">
                          <a:effectLst/>
                        </a:rPr>
                        <a:t>Overview</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SD-based high-performance, low-latency disk support for VMs running IO-intens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DD-based cost effective disk support for Dev/Test VM scenario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434320552"/>
                  </a:ext>
                </a:extLst>
              </a:tr>
              <a:tr h="652738">
                <a:tc>
                  <a:txBody>
                    <a:bodyPr/>
                    <a:lstStyle/>
                    <a:p>
                      <a:pPr fontAlgn="t"/>
                      <a:r>
                        <a:rPr lang="en-US" sz="2000" b="1" dirty="0">
                          <a:effectLst/>
                        </a:rPr>
                        <a:t>Scenario</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roduction and performance sensit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Dev/Test, non-critical,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Infrequent acces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908402776"/>
                  </a:ext>
                </a:extLst>
              </a:tr>
              <a:tr h="2948482">
                <a:tc>
                  <a:txBody>
                    <a:bodyPr/>
                    <a:lstStyle/>
                    <a:p>
                      <a:pPr fontAlgn="t"/>
                      <a:r>
                        <a:rPr lang="en-US" sz="2000" b="1" dirty="0">
                          <a:effectLst/>
                        </a:rPr>
                        <a:t>Disk Siz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4: 32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6: 64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10: 12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20: 512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30: 1024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Unmanaged Disks: 1 GB – 4 TB (4095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Managed Disks:</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 3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6: 6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10: 128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20: 51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30: 102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710144733"/>
                  </a:ext>
                </a:extLst>
              </a:tr>
              <a:tr h="408898">
                <a:tc>
                  <a:txBody>
                    <a:bodyPr/>
                    <a:lstStyle/>
                    <a:p>
                      <a:pPr fontAlgn="t"/>
                      <a:r>
                        <a:rPr lang="en-US" sz="2000" b="1" dirty="0">
                          <a:effectLst/>
                        </a:rPr>
                        <a:t>Max Throughput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250 MB/s </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800">
                          <a:effectLst/>
                        </a:rPr>
                        <a:t>60 MB/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247555544"/>
                  </a:ext>
                </a:extLst>
              </a:tr>
              <a:tr h="408898">
                <a:tc>
                  <a:txBody>
                    <a:bodyPr/>
                    <a:lstStyle/>
                    <a:p>
                      <a:pPr fontAlgn="t"/>
                      <a:r>
                        <a:rPr lang="en-US" sz="2000" b="1" dirty="0">
                          <a:effectLst/>
                        </a:rPr>
                        <a:t>Max IOPS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7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fontAlgn="t"/>
                      <a:r>
                        <a:rPr lang="en-US" sz="1800" dirty="0">
                          <a:effectLst/>
                        </a:rPr>
                        <a:t>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3138701546"/>
                  </a:ext>
                </a:extLst>
              </a:tr>
            </a:tbl>
          </a:graphicData>
        </a:graphic>
      </p:graphicFrame>
    </p:spTree>
    <p:extLst>
      <p:ext uri="{BB962C8B-B14F-4D97-AF65-F5344CB8AC3E}">
        <p14:creationId xmlns:p14="http://schemas.microsoft.com/office/powerpoint/2010/main" val="20637848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Recommendations</a:t>
            </a:r>
          </a:p>
        </p:txBody>
      </p:sp>
      <p:sp>
        <p:nvSpPr>
          <p:cNvPr id="3" name="Content Placeholder 2"/>
          <p:cNvSpPr>
            <a:spLocks noGrp="1"/>
          </p:cNvSpPr>
          <p:nvPr>
            <p:ph idx="1"/>
          </p:nvPr>
        </p:nvSpPr>
        <p:spPr/>
        <p:txBody>
          <a:bodyPr>
            <a:normAutofit fontScale="85000" lnSpcReduction="10000"/>
          </a:bodyPr>
          <a:lstStyle/>
          <a:p>
            <a:r>
              <a:rPr lang="en-US" b="1" dirty="0">
                <a:solidFill>
                  <a:schemeClr val="tx1">
                    <a:lumMod val="95000"/>
                    <a:lumOff val="5000"/>
                  </a:schemeClr>
                </a:solidFill>
              </a:rPr>
              <a:t>Premium Storage for Production Workloads (Storage SLAs)</a:t>
            </a:r>
          </a:p>
          <a:p>
            <a:r>
              <a:rPr lang="en-US" b="1" dirty="0">
                <a:solidFill>
                  <a:schemeClr val="tx1">
                    <a:lumMod val="95000"/>
                    <a:lumOff val="5000"/>
                  </a:schemeClr>
                </a:solidFill>
              </a:rPr>
              <a:t>Choose a VM Size that works with premium storage for production</a:t>
            </a:r>
          </a:p>
          <a:p>
            <a:r>
              <a:rPr lang="en-US" b="1" dirty="0">
                <a:solidFill>
                  <a:schemeClr val="tx1">
                    <a:lumMod val="95000"/>
                    <a:lumOff val="5000"/>
                  </a:schemeClr>
                </a:solidFill>
              </a:rPr>
              <a:t>Use Managed Disks over Unmanaged Disks</a:t>
            </a:r>
          </a:p>
          <a:p>
            <a:r>
              <a:rPr lang="en-US" dirty="0">
                <a:solidFill>
                  <a:schemeClr val="tx1">
                    <a:lumMod val="95000"/>
                    <a:lumOff val="5000"/>
                  </a:schemeClr>
                </a:solidFill>
              </a:rPr>
              <a:t>Scaling Up/Down is just resizing the VM</a:t>
            </a:r>
          </a:p>
          <a:p>
            <a:r>
              <a:rPr lang="en-US" b="1" dirty="0">
                <a:solidFill>
                  <a:schemeClr val="tx1">
                    <a:lumMod val="95000"/>
                    <a:lumOff val="5000"/>
                  </a:schemeClr>
                </a:solidFill>
              </a:rPr>
              <a:t>Scaling In/Out – the VMs should be in an availability set</a:t>
            </a:r>
          </a:p>
          <a:p>
            <a:r>
              <a:rPr lang="en-US" dirty="0">
                <a:solidFill>
                  <a:schemeClr val="tx1">
                    <a:lumMod val="95000"/>
                    <a:lumOff val="5000"/>
                  </a:schemeClr>
                </a:solidFill>
              </a:rPr>
              <a:t>Use VM reboot logs to determine if VM was rebooted by planned maintenance</a:t>
            </a:r>
          </a:p>
          <a:p>
            <a:r>
              <a:rPr lang="en-US" dirty="0">
                <a:solidFill>
                  <a:schemeClr val="tx1">
                    <a:lumMod val="95000"/>
                    <a:lumOff val="5000"/>
                  </a:schemeClr>
                </a:solidFill>
              </a:rPr>
              <a:t>Use snapshots to prevent accidental data loss</a:t>
            </a:r>
          </a:p>
          <a:p>
            <a:r>
              <a:rPr lang="en-US" dirty="0">
                <a:solidFill>
                  <a:schemeClr val="tx1">
                    <a:lumMod val="95000"/>
                    <a:lumOff val="5000"/>
                  </a:schemeClr>
                </a:solidFill>
              </a:rPr>
              <a:t>Enable VM diagnostics for production (includes boot diagnostics)</a:t>
            </a:r>
          </a:p>
          <a:p>
            <a:r>
              <a:rPr lang="en-US" b="1" dirty="0">
                <a:solidFill>
                  <a:schemeClr val="tx1">
                    <a:lumMod val="95000"/>
                    <a:lumOff val="5000"/>
                  </a:schemeClr>
                </a:solidFill>
              </a:rPr>
              <a:t>Stopped</a:t>
            </a:r>
            <a:r>
              <a:rPr lang="en-US" dirty="0">
                <a:solidFill>
                  <a:schemeClr val="tx1">
                    <a:lumMod val="95000"/>
                    <a:lumOff val="5000"/>
                  </a:schemeClr>
                </a:solidFill>
              </a:rPr>
              <a:t> VMs are still charged for use. VMs need to be </a:t>
            </a:r>
            <a:r>
              <a:rPr lang="en-US" b="1" dirty="0">
                <a:solidFill>
                  <a:schemeClr val="tx1">
                    <a:lumMod val="95000"/>
                    <a:lumOff val="5000"/>
                  </a:schemeClr>
                </a:solidFill>
              </a:rPr>
              <a:t>deallocated</a:t>
            </a:r>
            <a:r>
              <a:rPr lang="en-US" dirty="0">
                <a:solidFill>
                  <a:schemeClr val="tx1">
                    <a:lumMod val="95000"/>
                    <a:lumOff val="5000"/>
                  </a:schemeClr>
                </a:solidFill>
              </a:rPr>
              <a:t> to stop charges. </a:t>
            </a:r>
            <a:r>
              <a:rPr lang="en-US" b="1" dirty="0">
                <a:solidFill>
                  <a:schemeClr val="tx1">
                    <a:lumMod val="95000"/>
                    <a:lumOff val="5000"/>
                  </a:schemeClr>
                </a:solidFill>
              </a:rPr>
              <a:t>Stopping through OS does not deallocate! Stop with portal or CLI.</a:t>
            </a:r>
          </a:p>
          <a:p>
            <a:endParaRPr lang="en-US" dirty="0"/>
          </a:p>
          <a:p>
            <a:endParaRPr lang="en-US" dirty="0"/>
          </a:p>
          <a:p>
            <a:endParaRPr lang="en-US" dirty="0"/>
          </a:p>
        </p:txBody>
      </p:sp>
    </p:spTree>
    <p:extLst>
      <p:ext uri="{BB962C8B-B14F-4D97-AF65-F5344CB8AC3E}">
        <p14:creationId xmlns:p14="http://schemas.microsoft.com/office/powerpoint/2010/main" val="315494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fade">
                                      <p:cBhvr>
                                        <p:cTn id="47"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gh Availability &amp; Disaster Recovery</a:t>
            </a:r>
            <a:br>
              <a:rPr lang="en-US"/>
            </a:br>
            <a:r>
              <a:rPr lang="en-US" sz="2800">
                <a:solidFill>
                  <a:schemeClr val="accent1"/>
                </a:solidFill>
              </a:rPr>
              <a:t>in Azure</a:t>
            </a:r>
            <a:endParaRPr lang="en-US">
              <a:solidFill>
                <a:schemeClr val="accent1"/>
              </a:solidFill>
            </a:endParaRPr>
          </a:p>
        </p:txBody>
      </p:sp>
      <p:sp>
        <p:nvSpPr>
          <p:cNvPr id="3" name="Content Placeholder 2"/>
          <p:cNvSpPr>
            <a:spLocks noGrp="1"/>
          </p:cNvSpPr>
          <p:nvPr>
            <p:ph idx="1"/>
          </p:nvPr>
        </p:nvSpPr>
        <p:spPr/>
        <p:txBody>
          <a:bodyPr/>
          <a:lstStyle/>
          <a:p>
            <a:r>
              <a:rPr lang="en-US" dirty="0"/>
              <a:t>High Availability</a:t>
            </a:r>
          </a:p>
          <a:p>
            <a:pPr lvl="1"/>
            <a:r>
              <a:rPr lang="en-US" dirty="0"/>
              <a:t>Availability within a single Azure region or datacenter*</a:t>
            </a:r>
          </a:p>
          <a:p>
            <a:pPr lvl="1"/>
            <a:r>
              <a:rPr lang="en-US" dirty="0"/>
              <a:t>Expectation is little or no downtime (99.x % uptime)</a:t>
            </a:r>
          </a:p>
          <a:p>
            <a:r>
              <a:rPr lang="en-US" dirty="0"/>
              <a:t>Disaster Recovery</a:t>
            </a:r>
          </a:p>
          <a:p>
            <a:pPr lvl="1"/>
            <a:r>
              <a:rPr lang="en-US" dirty="0"/>
              <a:t>Recover into a secondary datacenter if outage in primary datacenter</a:t>
            </a:r>
          </a:p>
          <a:p>
            <a:pPr lvl="1"/>
            <a:r>
              <a:rPr lang="en-US" dirty="0"/>
              <a:t>Acceptable downtime has a greater range</a:t>
            </a:r>
          </a:p>
          <a:p>
            <a:pPr lvl="1"/>
            <a:r>
              <a:rPr lang="en-US" dirty="0"/>
              <a:t>Quantified by Recovery Time Objective (RTO) &amp; </a:t>
            </a:r>
            <a:br>
              <a:rPr lang="en-US" dirty="0"/>
            </a:br>
            <a:r>
              <a:rPr lang="en-US" dirty="0"/>
              <a:t>Recovery Point Objective (RPO)</a:t>
            </a:r>
          </a:p>
        </p:txBody>
      </p:sp>
    </p:spTree>
    <p:custDataLst>
      <p:tags r:id="rId1"/>
    </p:custDataLst>
    <p:extLst>
      <p:ext uri="{BB962C8B-B14F-4D97-AF65-F5344CB8AC3E}">
        <p14:creationId xmlns:p14="http://schemas.microsoft.com/office/powerpoint/2010/main" val="3292078493"/>
      </p:ext>
    </p:extLst>
  </p:cSld>
  <p:clrMapOvr>
    <a:masterClrMapping/>
  </p:clrMapOvr>
  <mc:AlternateContent xmlns:mc="http://schemas.openxmlformats.org/markup-compatibility/2006" xmlns:p14="http://schemas.microsoft.com/office/powerpoint/2010/main">
    <mc:Choice Requires="p14">
      <p:transition spd="slow" p14:dur="2000" advClick="0" advTm="105569"/>
    </mc:Choice>
    <mc:Fallback xmlns="">
      <p:transition spd="slow" advClick="0" advTm="105569"/>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06FDB-4FB0-4A04-B313-30F70C089010}"/>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D67568A-A0B2-471F-8030-6D66006EFB42}"/>
              </a:ext>
            </a:extLst>
          </p:cNvPr>
          <p:cNvSpPr>
            <a:spLocks noGrp="1"/>
          </p:cNvSpPr>
          <p:nvPr>
            <p:ph type="subTitle" idx="1"/>
          </p:nvPr>
        </p:nvSpPr>
        <p:spPr/>
        <p:txBody>
          <a:bodyPr/>
          <a:lstStyle/>
          <a:p>
            <a:endParaRPr lang="en-US"/>
          </a:p>
        </p:txBody>
      </p:sp>
      <p:pic>
        <p:nvPicPr>
          <p:cNvPr id="29698" name="Picture 2" descr="Related image">
            <a:extLst>
              <a:ext uri="{FF2B5EF4-FFF2-40B4-BE49-F238E27FC236}">
                <a16:creationId xmlns:a16="http://schemas.microsoft.com/office/drawing/2014/main" id="{5361F1F0-3F0F-4CFF-9955-F35A05C0E33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81708" y="545068"/>
            <a:ext cx="9214025" cy="57587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663392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fining Disaster Recovery</a:t>
            </a:r>
            <a:br>
              <a:rPr lang="en-US"/>
            </a:br>
            <a:r>
              <a:rPr lang="en-US" sz="2800">
                <a:solidFill>
                  <a:srgbClr val="0070C0"/>
                </a:solidFill>
              </a:rPr>
              <a:t>within Azure</a:t>
            </a:r>
            <a:endParaRPr lang="en-US">
              <a:solidFill>
                <a:srgbClr val="0070C0"/>
              </a:solidFill>
            </a:endParaRPr>
          </a:p>
        </p:txBody>
      </p:sp>
      <p:sp>
        <p:nvSpPr>
          <p:cNvPr id="3" name="Content Placeholder 2"/>
          <p:cNvSpPr>
            <a:spLocks noGrp="1"/>
          </p:cNvSpPr>
          <p:nvPr>
            <p:ph idx="1"/>
          </p:nvPr>
        </p:nvSpPr>
        <p:spPr/>
        <p:txBody>
          <a:bodyPr>
            <a:normAutofit/>
          </a:bodyPr>
          <a:lstStyle/>
          <a:p>
            <a:r>
              <a:rPr lang="en-US" dirty="0"/>
              <a:t>Disaster recovery is being able to recover your application into another Azure datacenter</a:t>
            </a:r>
          </a:p>
          <a:p>
            <a:r>
              <a:rPr lang="en-US" dirty="0"/>
              <a:t>Keywords:</a:t>
            </a:r>
          </a:p>
          <a:p>
            <a:pPr lvl="1"/>
            <a:r>
              <a:rPr lang="en-US" dirty="0"/>
              <a:t>RTO: Recovery Time Objective</a:t>
            </a:r>
          </a:p>
          <a:p>
            <a:pPr lvl="1"/>
            <a:r>
              <a:rPr lang="en-US" dirty="0"/>
              <a:t>RPO: Recovery Point Objective</a:t>
            </a:r>
          </a:p>
          <a:p>
            <a:r>
              <a:rPr lang="en-US" dirty="0"/>
              <a:t>Options range from:</a:t>
            </a:r>
          </a:p>
          <a:p>
            <a:pPr lvl="1"/>
            <a:r>
              <a:rPr lang="en-US" dirty="0"/>
              <a:t>Complete active/active deployment in multiple datacenters</a:t>
            </a:r>
          </a:p>
          <a:p>
            <a:pPr lvl="1"/>
            <a:r>
              <a:rPr lang="en-US" dirty="0"/>
              <a:t>Active/Passive deployment in multiple datacenters</a:t>
            </a:r>
          </a:p>
          <a:p>
            <a:pPr lvl="1"/>
            <a:r>
              <a:rPr lang="en-US" dirty="0"/>
              <a:t>Active deployment in one datacenter, with backups stored in 2</a:t>
            </a:r>
            <a:r>
              <a:rPr lang="en-US" baseline="30000" dirty="0"/>
              <a:t>nd</a:t>
            </a:r>
            <a:r>
              <a:rPr lang="en-US" dirty="0"/>
              <a:t> datacenter</a:t>
            </a:r>
          </a:p>
        </p:txBody>
      </p:sp>
    </p:spTree>
    <p:extLst>
      <p:ext uri="{BB962C8B-B14F-4D97-AF65-F5344CB8AC3E}">
        <p14:creationId xmlns:p14="http://schemas.microsoft.com/office/powerpoint/2010/main" val="343717508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800">
                <a:solidFill>
                  <a:srgbClr val="0070C0"/>
                </a:solidFill>
              </a:rPr>
              <a:t>Single VM</a:t>
            </a:r>
            <a:endParaRPr lang="en-US">
              <a:solidFill>
                <a:srgbClr val="0070C0"/>
              </a:solidFill>
            </a:endParaRPr>
          </a:p>
        </p:txBody>
      </p:sp>
      <p:sp>
        <p:nvSpPr>
          <p:cNvPr id="3" name="Content Placeholder 2"/>
          <p:cNvSpPr>
            <a:spLocks noGrp="1"/>
          </p:cNvSpPr>
          <p:nvPr>
            <p:ph idx="1"/>
          </p:nvPr>
        </p:nvSpPr>
        <p:spPr>
          <a:xfrm>
            <a:off x="613457" y="1825625"/>
            <a:ext cx="11088547" cy="4351338"/>
          </a:xfrm>
        </p:spPr>
        <p:txBody>
          <a:bodyPr>
            <a:noAutofit/>
          </a:bodyPr>
          <a:lstStyle/>
          <a:p>
            <a:pPr marL="0" indent="0">
              <a:buNone/>
            </a:pPr>
            <a:r>
              <a:rPr lang="en-US" sz="3200"/>
              <a:t>Azure SLA guarantees no data loss, 99.9% uptime SLA*</a:t>
            </a:r>
          </a:p>
          <a:p>
            <a:pPr lvl="1"/>
            <a:r>
              <a:rPr lang="en-US" sz="2800"/>
              <a:t>Subject to </a:t>
            </a:r>
            <a:r>
              <a:rPr lang="en-US" sz="2800" i="1"/>
              <a:t>un-planned maintenance </a:t>
            </a:r>
            <a:r>
              <a:rPr lang="en-US" sz="2800"/>
              <a:t>events due to physical failures</a:t>
            </a:r>
          </a:p>
          <a:p>
            <a:pPr lvl="2"/>
            <a:r>
              <a:rPr lang="en-US" sz="2400"/>
              <a:t>If VM becomes unavailable, Azure migrates VM and restarts in another host </a:t>
            </a:r>
          </a:p>
          <a:p>
            <a:pPr lvl="2"/>
            <a:r>
              <a:rPr lang="en-US" sz="2400"/>
              <a:t>~10-15 minutes to complete this process</a:t>
            </a:r>
          </a:p>
        </p:txBody>
      </p:sp>
    </p:spTree>
    <p:extLst>
      <p:ext uri="{BB962C8B-B14F-4D97-AF65-F5344CB8AC3E}">
        <p14:creationId xmlns:p14="http://schemas.microsoft.com/office/powerpoint/2010/main" val="425146522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800">
                <a:solidFill>
                  <a:srgbClr val="0070C0"/>
                </a:solidFill>
              </a:rPr>
              <a:t>Single VM</a:t>
            </a:r>
            <a:endParaRPr lang="en-US">
              <a:solidFill>
                <a:srgbClr val="0070C0"/>
              </a:solidFill>
            </a:endParaRPr>
          </a:p>
        </p:txBody>
      </p:sp>
      <p:sp>
        <p:nvSpPr>
          <p:cNvPr id="3" name="Content Placeholder 2"/>
          <p:cNvSpPr>
            <a:spLocks noGrp="1"/>
          </p:cNvSpPr>
          <p:nvPr>
            <p:ph idx="1"/>
          </p:nvPr>
        </p:nvSpPr>
        <p:spPr>
          <a:xfrm>
            <a:off x="613457" y="1825625"/>
            <a:ext cx="11088547" cy="4351338"/>
          </a:xfrm>
        </p:spPr>
        <p:txBody>
          <a:bodyPr>
            <a:noAutofit/>
          </a:bodyPr>
          <a:lstStyle/>
          <a:p>
            <a:pPr marL="0" indent="0">
              <a:buNone/>
            </a:pPr>
            <a:r>
              <a:rPr lang="en-US" sz="3200" dirty="0"/>
              <a:t>Azure SLA guarantees no data loss, 99.9% uptime SLA*</a:t>
            </a:r>
          </a:p>
          <a:p>
            <a:pPr lvl="1"/>
            <a:r>
              <a:rPr lang="en-US" sz="2800" dirty="0"/>
              <a:t>Subject to </a:t>
            </a:r>
            <a:r>
              <a:rPr lang="en-US" sz="2800" i="1" dirty="0"/>
              <a:t>un-planned maintenance </a:t>
            </a:r>
            <a:r>
              <a:rPr lang="en-US" sz="2800" dirty="0"/>
              <a:t>events due to physical failures</a:t>
            </a:r>
          </a:p>
          <a:p>
            <a:pPr lvl="2"/>
            <a:r>
              <a:rPr lang="en-US" sz="2400" dirty="0"/>
              <a:t>If VM becomes unavailable, Azure migrates VM and restarts in another host </a:t>
            </a:r>
          </a:p>
          <a:p>
            <a:pPr lvl="2"/>
            <a:r>
              <a:rPr lang="en-US" sz="2400" dirty="0"/>
              <a:t>~10-15 minutes to complete this process</a:t>
            </a:r>
          </a:p>
          <a:p>
            <a:pPr lvl="1"/>
            <a:r>
              <a:rPr lang="en-US" sz="2800" dirty="0"/>
              <a:t>Subject to </a:t>
            </a:r>
            <a:r>
              <a:rPr lang="en-US" sz="2800" i="1" dirty="0"/>
              <a:t>planned maintenance </a:t>
            </a:r>
            <a:r>
              <a:rPr lang="en-US" sz="2800" dirty="0"/>
              <a:t>events due to host OS servicing</a:t>
            </a:r>
          </a:p>
          <a:p>
            <a:pPr lvl="2"/>
            <a:r>
              <a:rPr lang="en-US" sz="2400" dirty="0"/>
              <a:t>All VMs on host are shut down. </a:t>
            </a:r>
          </a:p>
          <a:p>
            <a:pPr lvl="2"/>
            <a:r>
              <a:rPr lang="en-US" sz="2400" dirty="0"/>
              <a:t>Host OS is serviced and rebooted</a:t>
            </a:r>
          </a:p>
          <a:p>
            <a:pPr lvl="2"/>
            <a:r>
              <a:rPr lang="en-US" sz="2400" dirty="0"/>
              <a:t>All VMs on host are restarted</a:t>
            </a:r>
          </a:p>
          <a:p>
            <a:pPr lvl="2"/>
            <a:r>
              <a:rPr lang="en-US" sz="2400" dirty="0"/>
              <a:t>~10-15 minutes to complete this process</a:t>
            </a:r>
          </a:p>
          <a:p>
            <a:pPr lvl="1"/>
            <a:r>
              <a:rPr lang="en-US" sz="2800" dirty="0"/>
              <a:t>Subject to in-memory </a:t>
            </a:r>
            <a:r>
              <a:rPr lang="en-US" sz="2800" i="1" dirty="0"/>
              <a:t>planned maintenance</a:t>
            </a:r>
            <a:r>
              <a:rPr lang="en-US" sz="2800" dirty="0"/>
              <a:t> events</a:t>
            </a:r>
          </a:p>
          <a:p>
            <a:pPr lvl="2"/>
            <a:r>
              <a:rPr lang="en-US" sz="2400" dirty="0"/>
              <a:t>All VMs on host are paused, Host patched, VMs un-paused. 30 seconds downtime</a:t>
            </a:r>
          </a:p>
        </p:txBody>
      </p:sp>
    </p:spTree>
    <p:extLst>
      <p:ext uri="{BB962C8B-B14F-4D97-AF65-F5344CB8AC3E}">
        <p14:creationId xmlns:p14="http://schemas.microsoft.com/office/powerpoint/2010/main" val="3220867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xEl>
                                              <p:pRg st="9" end="9"/>
                                            </p:txEl>
                                          </p:spTgt>
                                        </p:tgtEl>
                                        <p:attrNameLst>
                                          <p:attrName>style.visibility</p:attrName>
                                        </p:attrNameLst>
                                      </p:cBhvr>
                                      <p:to>
                                        <p:strVal val="visible"/>
                                      </p:to>
                                    </p:set>
                                    <p:animEffect transition="in" filter="fade">
                                      <p:cBhvr>
                                        <p:cTn id="40" dur="500"/>
                                        <p:tgtEl>
                                          <p:spTgt spid="3">
                                            <p:txEl>
                                              <p:pRg st="9" end="9"/>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
                                            <p:txEl>
                                              <p:pRg st="10" end="10"/>
                                            </p:txEl>
                                          </p:spTgt>
                                        </p:tgtEl>
                                        <p:attrNameLst>
                                          <p:attrName>style.visibility</p:attrName>
                                        </p:attrNameLst>
                                      </p:cBhvr>
                                      <p:to>
                                        <p:strVal val="visible"/>
                                      </p:to>
                                    </p:set>
                                    <p:animEffect transition="in" filter="fade">
                                      <p:cBhvr>
                                        <p:cTn id="43"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Defining High Availability</a:t>
            </a:r>
            <a:br>
              <a:rPr lang="en-US"/>
            </a:br>
            <a:r>
              <a:rPr lang="en-US" sz="2800">
                <a:solidFill>
                  <a:srgbClr val="0070C0"/>
                </a:solidFill>
              </a:rPr>
              <a:t>2 or more Azure VMs</a:t>
            </a:r>
            <a:endParaRPr lang="en-US">
              <a:solidFill>
                <a:srgbClr val="0070C0"/>
              </a:solidFill>
            </a:endParaRPr>
          </a:p>
        </p:txBody>
      </p:sp>
      <p:sp>
        <p:nvSpPr>
          <p:cNvPr id="4" name="Text Placeholder 2"/>
          <p:cNvSpPr>
            <a:spLocks noGrp="1"/>
          </p:cNvSpPr>
          <p:nvPr>
            <p:ph type="body" sz="quarter" idx="10"/>
          </p:nvPr>
        </p:nvSpPr>
        <p:spPr>
          <a:xfrm>
            <a:off x="269238" y="1385805"/>
            <a:ext cx="11653523" cy="4930208"/>
          </a:xfrm>
        </p:spPr>
        <p:txBody>
          <a:bodyPr/>
          <a:lstStyle/>
          <a:p>
            <a:pPr marL="457200" lvl="2" indent="-457200">
              <a:buFont typeface="Arial" panose="020B0604020202020204" pitchFamily="34" charset="0"/>
              <a:buChar char="•"/>
            </a:pPr>
            <a:r>
              <a:rPr lang="en-US" sz="2800" dirty="0">
                <a:latin typeface="Segoe UI Light" panose="020B0502040204020203" pitchFamily="34" charset="0"/>
                <a:cs typeface="Segoe UI Light" panose="020B0502040204020203" pitchFamily="34" charset="0"/>
              </a:rPr>
              <a:t>Multiple VMs can be configured in an “availability set”</a:t>
            </a:r>
          </a:p>
          <a:p>
            <a:pPr marL="457200" lvl="2" indent="-457200">
              <a:buFont typeface="Arial" panose="020B0604020202020204" pitchFamily="34" charset="0"/>
              <a:buChar char="•"/>
            </a:pPr>
            <a:r>
              <a:rPr lang="en-US" sz="2800" dirty="0">
                <a:latin typeface="Segoe UI Light" panose="020B0502040204020203" pitchFamily="34" charset="0"/>
                <a:cs typeface="Segoe UI Light" panose="020B0502040204020203" pitchFamily="34" charset="0"/>
              </a:rPr>
              <a:t>Workload is load balanced across the VMs</a:t>
            </a:r>
          </a:p>
          <a:p>
            <a:pPr marL="168013" lvl="2"/>
            <a:endParaRPr lang="en-US" sz="1765" dirty="0">
              <a:latin typeface="Segoe UI Light" panose="020B0502040204020203" pitchFamily="34" charset="0"/>
              <a:cs typeface="Segoe UI Light" panose="020B0502040204020203" pitchFamily="34" charset="0"/>
            </a:endParaRPr>
          </a:p>
          <a:p>
            <a:pPr marL="336145" lvl="2" indent="-336145"/>
            <a:r>
              <a:rPr lang="en-US" sz="2800" dirty="0">
                <a:latin typeface="Segoe UI Light" panose="020B0502040204020203" pitchFamily="34" charset="0"/>
                <a:cs typeface="Segoe UI Light" panose="020B0502040204020203" pitchFamily="34" charset="0"/>
              </a:rPr>
              <a:t>Azure SLA: 2 (or more) VMs in Availability Set:</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99.95% (&lt;22 min downtime p/month)</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Includes</a:t>
            </a:r>
          </a:p>
          <a:p>
            <a:pPr marL="644129" lvl="3" indent="-252019">
              <a:buFont typeface="Arial" pitchFamily="34" charset="0"/>
              <a:buChar char="•"/>
            </a:pPr>
            <a:r>
              <a:rPr lang="en-US" sz="2400" dirty="0">
                <a:solidFill>
                  <a:schemeClr val="tx1"/>
                </a:solidFill>
                <a:latin typeface="Segoe UI Light" panose="020B0502040204020203" pitchFamily="34" charset="0"/>
                <a:cs typeface="Segoe UI Light" panose="020B0502040204020203" pitchFamily="34" charset="0"/>
              </a:rPr>
              <a:t>Planned downtime due to host OS servicing</a:t>
            </a:r>
          </a:p>
          <a:p>
            <a:pPr marL="644129" lvl="3" indent="-252019">
              <a:buFont typeface="Arial" pitchFamily="34" charset="0"/>
              <a:buChar char="•"/>
            </a:pPr>
            <a:r>
              <a:rPr lang="en-US" sz="2400" dirty="0">
                <a:solidFill>
                  <a:schemeClr val="tx1"/>
                </a:solidFill>
                <a:latin typeface="Segoe UI Light" panose="020B0502040204020203" pitchFamily="34" charset="0"/>
                <a:cs typeface="Segoe UI Light" panose="020B0502040204020203" pitchFamily="34" charset="0"/>
              </a:rPr>
              <a:t>Unplanned downtime due to physical failures</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Doesn’t include servicing of guest OS </a:t>
            </a:r>
            <a:br>
              <a:rPr lang="en-US" sz="2400" dirty="0">
                <a:latin typeface="Segoe UI Light" panose="020B0502040204020203" pitchFamily="34" charset="0"/>
                <a:cs typeface="Segoe UI Light" panose="020B0502040204020203" pitchFamily="34" charset="0"/>
              </a:rPr>
            </a:br>
            <a:r>
              <a:rPr lang="en-US" sz="2400" dirty="0">
                <a:latin typeface="Segoe UI Light" panose="020B0502040204020203" pitchFamily="34" charset="0"/>
                <a:cs typeface="Segoe UI Light" panose="020B0502040204020203" pitchFamily="34" charset="0"/>
              </a:rPr>
              <a:t>or software inside (e.g. SQL)</a:t>
            </a:r>
          </a:p>
          <a:p>
            <a:pPr marL="420032" lvl="2" indent="-252019">
              <a:buFont typeface="Arial" pitchFamily="34" charset="0"/>
              <a:buChar char="•"/>
            </a:pPr>
            <a:endParaRPr lang="en-US" sz="1765" dirty="0"/>
          </a:p>
        </p:txBody>
      </p:sp>
      <p:pic>
        <p:nvPicPr>
          <p:cNvPr id="22" name="Content Placeholder 4">
            <a:extLst>
              <a:ext uri="{FF2B5EF4-FFF2-40B4-BE49-F238E27FC236}">
                <a16:creationId xmlns:a16="http://schemas.microsoft.com/office/drawing/2014/main" id="{D4FC786A-3954-470D-9AE3-DC4F00F73CA6}"/>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l="13962" r="15310"/>
          <a:stretch/>
        </p:blipFill>
        <p:spPr>
          <a:xfrm>
            <a:off x="7305893" y="2548991"/>
            <a:ext cx="4726963" cy="4024679"/>
          </a:xfrm>
        </p:spPr>
      </p:pic>
    </p:spTree>
    <p:extLst>
      <p:ext uri="{BB962C8B-B14F-4D97-AF65-F5344CB8AC3E}">
        <p14:creationId xmlns:p14="http://schemas.microsoft.com/office/powerpoint/2010/main" val="1860429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b="1"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idx="1"/>
          </p:nvPr>
        </p:nvSpPr>
        <p:spPr>
          <a:xfrm>
            <a:off x="838199" y="1825625"/>
            <a:ext cx="5555805" cy="4351338"/>
          </a:xfrm>
        </p:spPr>
        <p:txBody>
          <a:bodyPr>
            <a:normAutofit/>
          </a:bodyPr>
          <a:lstStyle/>
          <a:p>
            <a:r>
              <a:rPr lang="en-US" dirty="0"/>
              <a:t>Availability Sets are for Unplanned &amp; Planned Maintenance</a:t>
            </a:r>
          </a:p>
          <a:p>
            <a:pPr lvl="1"/>
            <a:r>
              <a:rPr lang="en-US" dirty="0"/>
              <a:t>Fault Domains (2 default, some regions allow 3)</a:t>
            </a:r>
          </a:p>
          <a:p>
            <a:pPr lvl="1"/>
            <a:r>
              <a:rPr lang="en-US" dirty="0"/>
              <a:t>Upgrade Domains (5 default, 1-20 allowed)</a:t>
            </a:r>
          </a:p>
          <a:p>
            <a:pPr marL="457157" lvl="1" indent="0">
              <a:buNone/>
            </a:pPr>
            <a:endParaRPr lang="en-US" dirty="0"/>
          </a:p>
          <a:p>
            <a:r>
              <a:rPr lang="en-US" dirty="0"/>
              <a:t>Front with Load Balancer, App Gateway</a:t>
            </a:r>
          </a:p>
        </p:txBody>
      </p:sp>
      <p:pic>
        <p:nvPicPr>
          <p:cNvPr id="6" name="Picture 5">
            <a:extLst>
              <a:ext uri="{FF2B5EF4-FFF2-40B4-BE49-F238E27FC236}">
                <a16:creationId xmlns:a16="http://schemas.microsoft.com/office/drawing/2014/main" id="{DE11F4EB-5484-4C07-81D8-97B77A3E023F}"/>
              </a:ext>
            </a:extLst>
          </p:cNvPr>
          <p:cNvPicPr>
            <a:picLocks noChangeAspect="1"/>
          </p:cNvPicPr>
          <p:nvPr/>
        </p:nvPicPr>
        <p:blipFill>
          <a:blip r:embed="rId3"/>
          <a:stretch>
            <a:fillRect/>
          </a:stretch>
        </p:blipFill>
        <p:spPr>
          <a:xfrm>
            <a:off x="6473602" y="0"/>
            <a:ext cx="5718398" cy="2880069"/>
          </a:xfrm>
          <a:prstGeom prst="rect">
            <a:avLst/>
          </a:prstGeom>
        </p:spPr>
      </p:pic>
      <p:pic>
        <p:nvPicPr>
          <p:cNvPr id="1026" name="Picture 2" descr="Image result for azure availability se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73603" y="3183627"/>
            <a:ext cx="5023625" cy="367437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5897898"/>
            <a:ext cx="10189028" cy="307777"/>
          </a:xfrm>
          <a:prstGeom prst="rect">
            <a:avLst/>
          </a:prstGeom>
          <a:noFill/>
        </p:spPr>
        <p:txBody>
          <a:bodyPr wrap="square" lIns="91432" tIns="45715" rIns="91432" bIns="45715"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40160238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idx="1"/>
          </p:nvPr>
        </p:nvSpPr>
        <p:spPr>
          <a:xfrm>
            <a:off x="838199" y="1825625"/>
            <a:ext cx="5555805" cy="4351338"/>
          </a:xfrm>
        </p:spPr>
        <p:txBody>
          <a:bodyPr>
            <a:normAutofit/>
          </a:bodyPr>
          <a:lstStyle/>
          <a:p>
            <a:r>
              <a:rPr lang="en-US" sz="2400" dirty="0"/>
              <a:t>Do NOT put a single VM in an Availability Set</a:t>
            </a:r>
          </a:p>
          <a:p>
            <a:endParaRPr lang="en-US" sz="2400" dirty="0"/>
          </a:p>
          <a:p>
            <a:r>
              <a:rPr lang="en-US" sz="2400" dirty="0"/>
              <a:t>Example -  for an application,</a:t>
            </a:r>
          </a:p>
          <a:p>
            <a:pPr lvl="1"/>
            <a:r>
              <a:rPr lang="en-US" dirty="0"/>
              <a:t>Place front-end virtual machines in the same availability set</a:t>
            </a:r>
          </a:p>
          <a:p>
            <a:pPr marL="457157" lvl="1" indent="0">
              <a:buNone/>
            </a:pPr>
            <a:endParaRPr lang="en-US" dirty="0"/>
          </a:p>
          <a:p>
            <a:pPr marL="457157" lvl="1" indent="0">
              <a:buNone/>
            </a:pPr>
            <a:r>
              <a:rPr lang="en-US" dirty="0"/>
              <a:t>AND </a:t>
            </a:r>
          </a:p>
          <a:p>
            <a:pPr marL="457157" lvl="1" indent="0">
              <a:buNone/>
            </a:pPr>
            <a:endParaRPr lang="en-US" dirty="0"/>
          </a:p>
          <a:p>
            <a:pPr lvl="1"/>
            <a:r>
              <a:rPr lang="en-US" dirty="0"/>
              <a:t>Data-tier virtual machines in their own availability set</a:t>
            </a:r>
            <a:endParaRPr lang="en-US" b="1" dirty="0">
              <a:solidFill>
                <a:srgbClr val="FF0000"/>
              </a:solidFill>
            </a:endParaRPr>
          </a:p>
          <a:p>
            <a:pPr lvl="1"/>
            <a:endParaRPr lang="en-US" b="1" dirty="0">
              <a:solidFill>
                <a:srgbClr val="FF0000"/>
              </a:solidFill>
            </a:endParaRPr>
          </a:p>
          <a:p>
            <a:pPr lvl="1"/>
            <a:endParaRPr lang="en-US" dirty="0"/>
          </a:p>
        </p:txBody>
      </p:sp>
      <p:pic>
        <p:nvPicPr>
          <p:cNvPr id="7" name="Picture 6">
            <a:extLst>
              <a:ext uri="{FF2B5EF4-FFF2-40B4-BE49-F238E27FC236}">
                <a16:creationId xmlns:a16="http://schemas.microsoft.com/office/drawing/2014/main" id="{46774855-DFEF-41A3-A739-9F25A6B1FDB5}"/>
              </a:ext>
            </a:extLst>
          </p:cNvPr>
          <p:cNvPicPr>
            <a:picLocks noChangeAspect="1"/>
          </p:cNvPicPr>
          <p:nvPr/>
        </p:nvPicPr>
        <p:blipFill>
          <a:blip r:embed="rId3"/>
          <a:stretch>
            <a:fillRect/>
          </a:stretch>
        </p:blipFill>
        <p:spPr>
          <a:xfrm>
            <a:off x="6394004" y="1270000"/>
            <a:ext cx="5471583" cy="4233333"/>
          </a:xfrm>
          <a:prstGeom prst="rect">
            <a:avLst/>
          </a:prstGeom>
        </p:spPr>
      </p:pic>
    </p:spTree>
    <p:extLst>
      <p:ext uri="{BB962C8B-B14F-4D97-AF65-F5344CB8AC3E}">
        <p14:creationId xmlns:p14="http://schemas.microsoft.com/office/powerpoint/2010/main" val="1429600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2" end="2"/>
                                            </p:txEl>
                                          </p:spTgt>
                                        </p:tgtEl>
                                        <p:attrNameLst>
                                          <p:attrName>style.visibility</p:attrName>
                                        </p:attrNameLst>
                                      </p:cBhvr>
                                      <p:to>
                                        <p:strVal val="visible"/>
                                      </p:to>
                                    </p:set>
                                    <p:animEffect transition="in" filter="fade">
                                      <p:cBhvr>
                                        <p:cTn id="12" dur="500"/>
                                        <p:tgtEl>
                                          <p:spTgt spid="5">
                                            <p:txEl>
                                              <p:pRg st="2" end="2"/>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animEffect transition="in" filter="fade">
                                      <p:cBhvr>
                                        <p:cTn id="15" dur="500"/>
                                        <p:tgtEl>
                                          <p:spTgt spid="5">
                                            <p:txEl>
                                              <p:pRg st="3" end="3"/>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5">
                                            <p:txEl>
                                              <p:pRg st="5" end="5"/>
                                            </p:txEl>
                                          </p:spTgt>
                                        </p:tgtEl>
                                        <p:attrNameLst>
                                          <p:attrName>style.visibility</p:attrName>
                                        </p:attrNameLst>
                                      </p:cBhvr>
                                      <p:to>
                                        <p:strVal val="visible"/>
                                      </p:to>
                                    </p:set>
                                    <p:animEffect transition="in" filter="fade">
                                      <p:cBhvr>
                                        <p:cTn id="20" dur="500"/>
                                        <p:tgtEl>
                                          <p:spTgt spid="5">
                                            <p:txEl>
                                              <p:pRg st="5" end="5"/>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xEl>
                                              <p:pRg st="7" end="7"/>
                                            </p:txEl>
                                          </p:spTgt>
                                        </p:tgtEl>
                                        <p:attrNameLst>
                                          <p:attrName>style.visibility</p:attrName>
                                        </p:attrNameLst>
                                      </p:cBhvr>
                                      <p:to>
                                        <p:strVal val="visible"/>
                                      </p:to>
                                    </p:set>
                                    <p:animEffect transition="in" filter="fade">
                                      <p:cBhvr>
                                        <p:cTn id="23" dur="500"/>
                                        <p:tgtEl>
                                          <p:spTgt spid="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711199" y="1761373"/>
            <a:ext cx="11211564" cy="4207627"/>
          </a:xfrm>
          <a:prstGeom prst="rect">
            <a:avLst/>
          </a:prstGeom>
        </p:spPr>
        <p:txBody>
          <a:bodyPr>
            <a:noAutofit/>
          </a:bodyPr>
          <a:lstStyle/>
          <a:p>
            <a:r>
              <a:rPr lang="en-NZ" sz="2667">
                <a:solidFill>
                  <a:schemeClr val="tx2">
                    <a:alpha val="99000"/>
                  </a:schemeClr>
                </a:solidFill>
                <a:latin typeface="Segoe UI Light" panose="020B0502040204020203" pitchFamily="34" charset="0"/>
                <a:cs typeface="Segoe UI Light" panose="020B0502040204020203" pitchFamily="34" charset="0"/>
              </a:rPr>
              <a:t>Fault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 groups of  resources anticipated to fail together</a:t>
            </a:r>
          </a:p>
          <a:p>
            <a:pPr lvl="1"/>
            <a:r>
              <a:rPr lang="en-NZ">
                <a:solidFill>
                  <a:schemeClr val="tx1">
                    <a:alpha val="99000"/>
                  </a:schemeClr>
                </a:solidFill>
                <a:latin typeface="Segoe UI Light" panose="020B0502040204020203" pitchFamily="34" charset="0"/>
                <a:cs typeface="Segoe UI Light" panose="020B0502040204020203" pitchFamily="34" charset="0"/>
              </a:rPr>
              <a:t>i.e. Same rack, same server</a:t>
            </a:r>
          </a:p>
          <a:p>
            <a:pPr lvl="1"/>
            <a:r>
              <a:rPr lang="en-NZ">
                <a:solidFill>
                  <a:schemeClr val="tx1">
                    <a:alpha val="99000"/>
                  </a:schemeClr>
                </a:solidFill>
                <a:latin typeface="Segoe UI Light" panose="020B0502040204020203" pitchFamily="34" charset="0"/>
                <a:cs typeface="Segoe UI Light" panose="020B0502040204020203" pitchFamily="34" charset="0"/>
              </a:rPr>
              <a:t>Fabric spreads instances across fault at least 2 fault domains when two or more virtual machines are placed in an availability set</a:t>
            </a:r>
          </a:p>
          <a:p>
            <a:pPr marL="460412" lvl="1"/>
            <a:endParaRPr lang="en-NZ" sz="1467">
              <a:latin typeface="Segoe UI Light" panose="020B0502040204020203" pitchFamily="34" charset="0"/>
              <a:cs typeface="Segoe UI Light" panose="020B0502040204020203" pitchFamily="34" charset="0"/>
            </a:endParaRPr>
          </a:p>
          <a:p>
            <a:r>
              <a:rPr lang="en-NZ" sz="2667">
                <a:solidFill>
                  <a:schemeClr val="tx2">
                    <a:alpha val="99000"/>
                  </a:schemeClr>
                </a:solidFill>
                <a:latin typeface="Segoe UI Light" panose="020B0502040204020203" pitchFamily="34" charset="0"/>
                <a:cs typeface="Segoe UI Light" panose="020B0502040204020203" pitchFamily="34" charset="0"/>
              </a:rPr>
              <a:t>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s groups of resources that will be updated together</a:t>
            </a:r>
          </a:p>
          <a:p>
            <a:pPr lvl="1"/>
            <a:r>
              <a:rPr lang="en-NZ">
                <a:solidFill>
                  <a:schemeClr val="tx1">
                    <a:alpha val="99000"/>
                  </a:schemeClr>
                </a:solidFill>
                <a:latin typeface="Segoe UI Light" panose="020B0502040204020203" pitchFamily="34" charset="0"/>
                <a:cs typeface="Segoe UI Light" panose="020B0502040204020203" pitchFamily="34" charset="0"/>
              </a:rPr>
              <a:t>Host OS updates </a:t>
            </a:r>
            <a:r>
              <a:rPr lang="en-NZ" err="1">
                <a:solidFill>
                  <a:schemeClr val="tx1">
                    <a:alpha val="99000"/>
                  </a:schemeClr>
                </a:solidFill>
                <a:latin typeface="Segoe UI Light" panose="020B0502040204020203" pitchFamily="34" charset="0"/>
                <a:cs typeface="Segoe UI Light" panose="020B0502040204020203" pitchFamily="34" charset="0"/>
              </a:rPr>
              <a:t>honor</a:t>
            </a:r>
            <a:r>
              <a:rPr lang="en-NZ">
                <a:solidFill>
                  <a:schemeClr val="tx1">
                    <a:alpha val="99000"/>
                  </a:schemeClr>
                </a:solidFill>
                <a:latin typeface="Segoe UI Light" panose="020B0502040204020203" pitchFamily="34" charset="0"/>
                <a:cs typeface="Segoe UI Light" panose="020B0502040204020203" pitchFamily="34" charset="0"/>
              </a:rPr>
              <a:t> service 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Specified in service definition</a:t>
            </a:r>
          </a:p>
          <a:p>
            <a:pPr lvl="1"/>
            <a:r>
              <a:rPr lang="en-NZ">
                <a:solidFill>
                  <a:schemeClr val="tx1">
                    <a:alpha val="99000"/>
                  </a:schemeClr>
                </a:solidFill>
                <a:latin typeface="Segoe UI Light" panose="020B0502040204020203" pitchFamily="34" charset="0"/>
                <a:cs typeface="Segoe UI Light" panose="020B0502040204020203" pitchFamily="34" charset="0"/>
              </a:rPr>
              <a:t>Default of 5 (up to 20</a:t>
            </a:r>
            <a:r>
              <a:rPr lang="en-NZ" sz="2000">
                <a:solidFill>
                  <a:schemeClr val="tx1">
                    <a:alpha val="99000"/>
                  </a:schemeClr>
                </a:solidFill>
                <a:latin typeface="Segoe UI Light" panose="020B0502040204020203" pitchFamily="34" charset="0"/>
                <a:cs typeface="Segoe UI Light" panose="020B0502040204020203" pitchFamily="34" charset="0"/>
              </a:rPr>
              <a:t>)</a:t>
            </a:r>
            <a:endParaRPr lang="en-NZ" sz="1467">
              <a:latin typeface="Segoe UI Light" panose="020B0502040204020203" pitchFamily="34" charset="0"/>
              <a:cs typeface="Segoe UI Light" panose="020B0502040204020203" pitchFamily="34" charset="0"/>
            </a:endParaRPr>
          </a:p>
          <a:p>
            <a:r>
              <a:rPr lang="en-NZ" sz="2667">
                <a:solidFill>
                  <a:schemeClr val="tx2">
                    <a:alpha val="99000"/>
                  </a:schemeClr>
                </a:solidFill>
                <a:latin typeface="Segoe UI Light" panose="020B0502040204020203" pitchFamily="34" charset="0"/>
                <a:cs typeface="Segoe UI Light" panose="020B0502040204020203" pitchFamily="34" charset="0"/>
              </a:rPr>
              <a:t>Azure spreads role instances across Update Domains and Fault Domains</a:t>
            </a:r>
          </a:p>
        </p:txBody>
      </p:sp>
      <p:sp>
        <p:nvSpPr>
          <p:cNvPr id="2" name="Title 1"/>
          <p:cNvSpPr>
            <a:spLocks noGrp="1"/>
          </p:cNvSpPr>
          <p:nvPr>
            <p:ph type="title"/>
          </p:nvPr>
        </p:nvSpPr>
        <p:spPr>
          <a:xfrm>
            <a:off x="711199" y="307252"/>
            <a:ext cx="10515600" cy="1325563"/>
          </a:xfrm>
        </p:spPr>
        <p:txBody>
          <a:bodyPr vert="horz" lIns="243840" tIns="182880" rIns="121920" bIns="60960" rtlCol="0" anchor="t" anchorCtr="0">
            <a:noAutofit/>
          </a:bodyPr>
          <a:lstStyle/>
          <a:p>
            <a:r>
              <a:rPr lang="en-NZ" sz="4800"/>
              <a:t>Availability Sets: How Do We Do It?</a:t>
            </a:r>
            <a:br>
              <a:rPr lang="en-NZ" sz="4800"/>
            </a:br>
            <a:r>
              <a:rPr lang="en-NZ" sz="2800">
                <a:solidFill>
                  <a:schemeClr val="accent1"/>
                </a:solidFill>
              </a:rPr>
              <a:t>Fault and Update Domains</a:t>
            </a:r>
          </a:p>
        </p:txBody>
      </p:sp>
    </p:spTree>
    <p:extLst>
      <p:ext uri="{BB962C8B-B14F-4D97-AF65-F5344CB8AC3E}">
        <p14:creationId xmlns:p14="http://schemas.microsoft.com/office/powerpoint/2010/main" val="241744103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31" name="Title 30"/>
          <p:cNvSpPr>
            <a:spLocks noGrp="1"/>
          </p:cNvSpPr>
          <p:nvPr>
            <p:ph type="title"/>
          </p:nvPr>
        </p:nvSpPr>
        <p:spPr/>
        <p:txBody>
          <a:bodyPr vert="horz" lIns="243840" tIns="182880" rIns="121920" bIns="60960" rtlCol="0" anchor="t" anchorCtr="0">
            <a:noAutofit/>
          </a:bodyPr>
          <a:lstStyle/>
          <a:p>
            <a:r>
              <a:rPr lang="en-NZ" sz="4800">
                <a:solidFill>
                  <a:schemeClr val="bg1"/>
                </a:solidFill>
                <a:latin typeface="Segoe UI Light" panose="020B0502040204020203" pitchFamily="34" charset="0"/>
                <a:cs typeface="Segoe UI Light" panose="020B0502040204020203" pitchFamily="34" charset="0"/>
              </a:rPr>
              <a:t>Virtual Machine Availability Sets</a:t>
            </a:r>
            <a:br>
              <a:rPr lang="en-NZ" sz="4800">
                <a:solidFill>
                  <a:schemeClr val="bg1"/>
                </a:solidFill>
                <a:latin typeface="Segoe UI Light" panose="020B0502040204020203" pitchFamily="34" charset="0"/>
                <a:cs typeface="Segoe UI Light" panose="020B0502040204020203" pitchFamily="34" charset="0"/>
              </a:rPr>
            </a:br>
            <a:r>
              <a:rPr lang="en-US">
                <a:solidFill>
                  <a:schemeClr val="accent2"/>
                </a:solidFill>
                <a:latin typeface="Segoe UI Light" panose="020B0502040204020203" pitchFamily="34" charset="0"/>
                <a:cs typeface="Segoe UI Light" panose="020B0502040204020203" pitchFamily="34" charset="0"/>
              </a:rPr>
              <a:t>Update Domains are honored by host OS updates</a:t>
            </a:r>
            <a:endParaRPr lang="en-NZ">
              <a:solidFill>
                <a:schemeClr val="accent2"/>
              </a:solidFill>
              <a:latin typeface="Segoe UI Light" panose="020B0502040204020203" pitchFamily="34" charset="0"/>
              <a:cs typeface="Segoe UI Light" panose="020B0502040204020203" pitchFamily="34" charset="0"/>
            </a:endParaRPr>
          </a:p>
        </p:txBody>
      </p:sp>
      <p:sp>
        <p:nvSpPr>
          <p:cNvPr id="24" name="Rectangle 23"/>
          <p:cNvSpPr/>
          <p:nvPr>
            <p:custDataLst>
              <p:tags r:id="rId1"/>
            </p:custDataLst>
          </p:nvPr>
        </p:nvSpPr>
        <p:spPr bwMode="auto">
          <a:xfrm>
            <a:off x="7238281" y="1802853"/>
            <a:ext cx="2665067" cy="4775747"/>
          </a:xfrm>
          <a:prstGeom prst="rect">
            <a:avLst/>
          </a:prstGeom>
          <a:solidFill>
            <a:schemeClr val="accent1"/>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t" anchorCtr="0" compatLnSpc="1">
            <a:prstTxWarp prst="textNoShape">
              <a:avLst/>
            </a:prstTxWarp>
          </a:bodyPr>
          <a:lstStyle/>
          <a:p>
            <a:pPr marL="0" marR="0" lvl="0" indent="0" algn="ctr" defTabSz="1218988"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Fault Domain</a:t>
            </a:r>
          </a:p>
        </p:txBody>
      </p:sp>
      <p:sp>
        <p:nvSpPr>
          <p:cNvPr id="25" name="Rectangle 24"/>
          <p:cNvSpPr/>
          <p:nvPr>
            <p:custDataLst>
              <p:tags r:id="rId2"/>
            </p:custDataLst>
          </p:nvPr>
        </p:nvSpPr>
        <p:spPr bwMode="auto">
          <a:xfrm>
            <a:off x="7397029" y="2228986"/>
            <a:ext cx="2378059" cy="416179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25" rIns="91412" bIns="45707" numCol="1" spcCol="0" rtlCol="0" anchor="t" anchorCtr="0" compatLnSpc="1">
            <a:prstTxWarp prst="textNoShape">
              <a:avLst/>
            </a:prstTxWarp>
          </a:bodyPr>
          <a:lstStyle/>
          <a:p>
            <a:pPr marL="0" marR="0" lvl="0" indent="0" algn="ctr" defTabSz="913825" rtl="0" eaLnBrk="1" fontAlgn="base" latinLnBrk="0" hangingPunct="1">
              <a:lnSpc>
                <a:spcPct val="100000"/>
              </a:lnSpc>
              <a:spcBef>
                <a:spcPts val="120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rPr>
              <a:t>Rack</a:t>
            </a:r>
            <a:endParaRPr kumimoji="0" lang="en-US" sz="1400"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endParaRPr>
          </a:p>
        </p:txBody>
      </p:sp>
      <p:sp>
        <p:nvSpPr>
          <p:cNvPr id="26" name="Rectangle 25"/>
          <p:cNvSpPr/>
          <p:nvPr>
            <p:custDataLst>
              <p:tags r:id="rId3"/>
            </p:custDataLst>
          </p:nvPr>
        </p:nvSpPr>
        <p:spPr bwMode="auto">
          <a:xfrm>
            <a:off x="2251324" y="1802853"/>
            <a:ext cx="2665067" cy="4775747"/>
          </a:xfrm>
          <a:prstGeom prst="rect">
            <a:avLst/>
          </a:prstGeom>
          <a:solidFill>
            <a:schemeClr val="accent1"/>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t" anchorCtr="0" compatLnSpc="1">
            <a:prstTxWarp prst="textNoShape">
              <a:avLst/>
            </a:prstTxWarp>
          </a:bodyPr>
          <a:lstStyle/>
          <a:p>
            <a:pPr marL="0" marR="0" lvl="0" indent="0" algn="ctr" defTabSz="1218988"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Fault Domain</a:t>
            </a:r>
          </a:p>
        </p:txBody>
      </p:sp>
      <p:sp>
        <p:nvSpPr>
          <p:cNvPr id="27" name="Rectangle 26"/>
          <p:cNvSpPr/>
          <p:nvPr>
            <p:custDataLst>
              <p:tags r:id="rId4"/>
            </p:custDataLst>
          </p:nvPr>
        </p:nvSpPr>
        <p:spPr bwMode="auto">
          <a:xfrm>
            <a:off x="2410072" y="2228986"/>
            <a:ext cx="2378059" cy="416179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25" rIns="91412" bIns="45707" numCol="1" spcCol="0" rtlCol="0" anchor="t" anchorCtr="0" compatLnSpc="1">
            <a:prstTxWarp prst="textNoShape">
              <a:avLst/>
            </a:prstTxWarp>
          </a:bodyPr>
          <a:lstStyle/>
          <a:p>
            <a:pPr marL="0" marR="0" lvl="0" indent="0" algn="ctr" defTabSz="913825" rtl="0" eaLnBrk="1" fontAlgn="base" latinLnBrk="0" hangingPunct="1">
              <a:lnSpc>
                <a:spcPct val="100000"/>
              </a:lnSpc>
              <a:spcBef>
                <a:spcPts val="120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rPr>
              <a:t>Rack</a:t>
            </a:r>
            <a:endParaRPr kumimoji="0" lang="en-US" sz="1400"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endParaRPr>
          </a:p>
        </p:txBody>
      </p:sp>
      <p:sp>
        <p:nvSpPr>
          <p:cNvPr id="28" name="Rectangle 27"/>
          <p:cNvSpPr/>
          <p:nvPr>
            <p:custDataLst>
              <p:tags r:id="rId5"/>
            </p:custDataLst>
          </p:nvPr>
        </p:nvSpPr>
        <p:spPr bwMode="auto">
          <a:xfrm>
            <a:off x="2577757" y="2710369"/>
            <a:ext cx="6999159" cy="1647379"/>
          </a:xfrm>
          <a:prstGeom prst="rect">
            <a:avLst/>
          </a:prstGeom>
          <a:solidFill>
            <a:schemeClr val="accent5"/>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Availability Set</a:t>
            </a:r>
          </a:p>
        </p:txBody>
      </p:sp>
      <p:sp>
        <p:nvSpPr>
          <p:cNvPr id="30" name="Rectangle 29"/>
          <p:cNvSpPr/>
          <p:nvPr>
            <p:custDataLst>
              <p:tags r:id="rId6"/>
            </p:custDataLst>
          </p:nvPr>
        </p:nvSpPr>
        <p:spPr bwMode="auto">
          <a:xfrm>
            <a:off x="2852147" y="2913935"/>
            <a:ext cx="1463421" cy="1296988"/>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32" name="Rectangle 31"/>
          <p:cNvSpPr/>
          <p:nvPr>
            <p:custDataLst>
              <p:tags r:id="rId7"/>
            </p:custDataLst>
          </p:nvPr>
        </p:nvSpPr>
        <p:spPr bwMode="auto">
          <a:xfrm>
            <a:off x="2591155" y="4567361"/>
            <a:ext cx="6999159" cy="1647379"/>
          </a:xfrm>
          <a:prstGeom prst="rect">
            <a:avLst/>
          </a:prstGeom>
          <a:solidFill>
            <a:schemeClr val="accent1">
              <a:lumMod val="40000"/>
              <a:lumOff val="60000"/>
            </a:schemeClr>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solidFill>
                <a:effectLst/>
                <a:uLnTx/>
                <a:uFillTx/>
                <a:latin typeface="Segoe UI"/>
                <a:ea typeface="+mn-ea"/>
                <a:cs typeface="+mn-cs"/>
              </a:rPr>
              <a:t>Availability Set</a:t>
            </a:r>
          </a:p>
        </p:txBody>
      </p:sp>
      <p:sp>
        <p:nvSpPr>
          <p:cNvPr id="34" name="Rectangle 33"/>
          <p:cNvSpPr/>
          <p:nvPr>
            <p:custDataLst>
              <p:tags r:id="rId8"/>
            </p:custDataLst>
          </p:nvPr>
        </p:nvSpPr>
        <p:spPr bwMode="auto">
          <a:xfrm>
            <a:off x="2852147" y="4845478"/>
            <a:ext cx="1463421" cy="1222439"/>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36" name="Rectangle 35"/>
          <p:cNvSpPr/>
          <p:nvPr>
            <p:custDataLst>
              <p:tags r:id="rId9"/>
            </p:custDataLst>
          </p:nvPr>
        </p:nvSpPr>
        <p:spPr bwMode="auto">
          <a:xfrm>
            <a:off x="7839103" y="2913935"/>
            <a:ext cx="1463421" cy="1296988"/>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38" name="Rectangle 37"/>
          <p:cNvSpPr/>
          <p:nvPr>
            <p:custDataLst>
              <p:tags r:id="rId10"/>
            </p:custDataLst>
          </p:nvPr>
        </p:nvSpPr>
        <p:spPr bwMode="auto">
          <a:xfrm>
            <a:off x="7839103" y="4845478"/>
            <a:ext cx="1463421" cy="1222439"/>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43" name="Rectangle 42"/>
          <p:cNvSpPr/>
          <p:nvPr>
            <p:custDataLst>
              <p:tags r:id="rId11"/>
            </p:custDataLst>
          </p:nvPr>
        </p:nvSpPr>
        <p:spPr bwMode="auto">
          <a:xfrm>
            <a:off x="2852147" y="3569320"/>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IIS1</a:t>
            </a:r>
          </a:p>
        </p:txBody>
      </p:sp>
      <p:sp>
        <p:nvSpPr>
          <p:cNvPr id="44" name="Rectangle 43"/>
          <p:cNvSpPr/>
          <p:nvPr>
            <p:custDataLst>
              <p:tags r:id="rId12"/>
            </p:custDataLst>
          </p:nvPr>
        </p:nvSpPr>
        <p:spPr bwMode="auto">
          <a:xfrm>
            <a:off x="7839103" y="3569320"/>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IIS2</a:t>
            </a:r>
          </a:p>
        </p:txBody>
      </p:sp>
      <p:sp>
        <p:nvSpPr>
          <p:cNvPr id="45" name="Rectangle 44"/>
          <p:cNvSpPr/>
          <p:nvPr>
            <p:custDataLst>
              <p:tags r:id="rId13"/>
            </p:custDataLst>
          </p:nvPr>
        </p:nvSpPr>
        <p:spPr bwMode="auto">
          <a:xfrm>
            <a:off x="2853692" y="5419423"/>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SQL1</a:t>
            </a:r>
          </a:p>
        </p:txBody>
      </p:sp>
      <p:sp>
        <p:nvSpPr>
          <p:cNvPr id="46" name="Rectangle 45"/>
          <p:cNvSpPr/>
          <p:nvPr>
            <p:custDataLst>
              <p:tags r:id="rId14"/>
            </p:custDataLst>
          </p:nvPr>
        </p:nvSpPr>
        <p:spPr bwMode="auto">
          <a:xfrm>
            <a:off x="7840648" y="5419423"/>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SQL2</a:t>
            </a:r>
          </a:p>
        </p:txBody>
      </p:sp>
      <p:sp>
        <p:nvSpPr>
          <p:cNvPr id="47" name="Rectangle 46"/>
          <p:cNvSpPr/>
          <p:nvPr/>
        </p:nvSpPr>
        <p:spPr>
          <a:xfrm>
            <a:off x="8165406" y="3789381"/>
            <a:ext cx="820086" cy="369326"/>
          </a:xfrm>
          <a:prstGeom prst="rect">
            <a:avLst/>
          </a:prstGeom>
        </p:spPr>
        <p:txBody>
          <a:bodyPr wrap="none" lIns="121915" tIns="60957" rIns="121915" bIns="60957">
            <a:spAutoFit/>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2</a:t>
            </a:r>
          </a:p>
        </p:txBody>
      </p:sp>
      <p:sp>
        <p:nvSpPr>
          <p:cNvPr id="48" name="Rectangle 47"/>
          <p:cNvSpPr/>
          <p:nvPr/>
        </p:nvSpPr>
        <p:spPr>
          <a:xfrm>
            <a:off x="8150159" y="5716065"/>
            <a:ext cx="820086" cy="369326"/>
          </a:xfrm>
          <a:prstGeom prst="rect">
            <a:avLst/>
          </a:prstGeom>
        </p:spPr>
        <p:txBody>
          <a:bodyPr wrap="none" lIns="121915" tIns="60957" rIns="121915" bIns="60957">
            <a:spAutoFit/>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2</a:t>
            </a:r>
          </a:p>
        </p:txBody>
      </p:sp>
      <p:sp>
        <p:nvSpPr>
          <p:cNvPr id="49" name="TextBox 48"/>
          <p:cNvSpPr txBox="1"/>
          <p:nvPr/>
        </p:nvSpPr>
        <p:spPr>
          <a:xfrm>
            <a:off x="3300257" y="3932686"/>
            <a:ext cx="573875" cy="221599"/>
          </a:xfrm>
          <a:prstGeom prst="rect">
            <a:avLst/>
          </a:prstGeom>
          <a:noFill/>
        </p:spPr>
        <p:txBody>
          <a:bodyPr wrap="none" lIns="0" tIns="0" rIns="0" bIns="0" rtlCol="0">
            <a:spAutoFit/>
          </a:bodyPr>
          <a:lstStyle/>
          <a:p>
            <a:pPr marL="0" marR="0" lvl="0" indent="0" algn="l" defTabSz="1218988" rtl="0" eaLnBrk="1" fontAlgn="auto" latinLnBrk="0" hangingPunct="1">
              <a:lnSpc>
                <a:spcPct val="90000"/>
              </a:lnSpc>
              <a:spcBef>
                <a:spcPct val="20000"/>
              </a:spcBef>
              <a:spcAft>
                <a:spcPts val="0"/>
              </a:spcAft>
              <a:buClrTx/>
              <a:buSzPct val="80000"/>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1</a:t>
            </a:r>
            <a:endParaRPr kumimoji="0" lang="en-US" sz="1600" b="0" i="0" u="none" strike="noStrike" kern="0" cap="none" spc="0" normalizeH="0" baseline="0" noProof="0">
              <a:ln>
                <a:noFill/>
              </a:ln>
              <a:solidFill>
                <a:srgbClr val="FFFFFF">
                  <a:alpha val="99000"/>
                </a:srgbClr>
              </a:solidFill>
              <a:effectLst/>
              <a:uLnTx/>
              <a:uFillTx/>
              <a:latin typeface="Segoe UI"/>
              <a:ea typeface="+mn-ea"/>
              <a:cs typeface="+mn-cs"/>
            </a:endParaRPr>
          </a:p>
        </p:txBody>
      </p:sp>
      <p:sp>
        <p:nvSpPr>
          <p:cNvPr id="50" name="Rectangle 49"/>
          <p:cNvSpPr/>
          <p:nvPr/>
        </p:nvSpPr>
        <p:spPr>
          <a:xfrm>
            <a:off x="3151051" y="5695169"/>
            <a:ext cx="820086" cy="369326"/>
          </a:xfrm>
          <a:prstGeom prst="rect">
            <a:avLst/>
          </a:prstGeom>
        </p:spPr>
        <p:txBody>
          <a:bodyPr wrap="none" lIns="121915" tIns="60957" rIns="121915" bIns="60957">
            <a:spAutoFit/>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1</a:t>
            </a:r>
          </a:p>
        </p:txBody>
      </p:sp>
    </p:spTree>
    <p:extLst>
      <p:ext uri="{BB962C8B-B14F-4D97-AF65-F5344CB8AC3E}">
        <p14:creationId xmlns:p14="http://schemas.microsoft.com/office/powerpoint/2010/main" val="3292620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8"/>
                                        </p:tgtEl>
                                        <p:attrNameLst>
                                          <p:attrName>style.visibility</p:attrName>
                                        </p:attrNameLst>
                                      </p:cBhvr>
                                      <p:to>
                                        <p:strVal val="visible"/>
                                      </p:to>
                                    </p:set>
                                    <p:animEffect transition="in" filter="fade">
                                      <p:cBhvr>
                                        <p:cTn id="42"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P spid="28" grpId="0" animBg="1"/>
      <p:bldP spid="32" grpId="0" animBg="1"/>
      <p:bldP spid="47" grpId="0"/>
      <p:bldP spid="48" grpId="0"/>
      <p:bldP spid="49" grpId="0"/>
      <p:bldP spid="50" grpId="0"/>
    </p:bldLst>
  </p:timing>
</p:sld>
</file>

<file path=ppt/slides/slide48.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1"/>
            <a:ext cx="7401157" cy="2905746"/>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igh performance provisioning of 1000+ VM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configuration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scale based on schedule and resource metric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Easy updates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Simple Portal Integration</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256025" y="1444447"/>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gradFill>
                  <a:gsLst>
                    <a:gs pos="1250">
                      <a:srgbClr val="FFFFFF"/>
                    </a:gs>
                    <a:gs pos="100000">
                      <a:srgbClr val="FFFFFF"/>
                    </a:gs>
                  </a:gsLst>
                  <a:lin ang="5400000" scaled="0"/>
                </a:gradFill>
              </a:rPr>
              <a:t>VM Scale Set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06012" y="61145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04202" y="1943385"/>
            <a:ext cx="1893128" cy="1744700"/>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3714853"/>
            <a:ext cx="1029881" cy="949134"/>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3714853"/>
            <a:ext cx="1029881" cy="949134"/>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3715109"/>
            <a:ext cx="1029881" cy="949134"/>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3702025"/>
            <a:ext cx="1029881" cy="949134"/>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4689382"/>
            <a:ext cx="1029881" cy="949134"/>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4689381"/>
            <a:ext cx="1029881" cy="949134"/>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4689639"/>
            <a:ext cx="1029881" cy="949134"/>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4676555"/>
            <a:ext cx="1029881" cy="949134"/>
          </a:xfrm>
          <a:prstGeom prst="rect">
            <a:avLst/>
          </a:prstGeom>
        </p:spPr>
      </p:pic>
    </p:spTree>
    <p:extLst>
      <p:ext uri="{BB962C8B-B14F-4D97-AF65-F5344CB8AC3E}">
        <p14:creationId xmlns:p14="http://schemas.microsoft.com/office/powerpoint/2010/main" val="11271173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VM Scale Sets?</a:t>
            </a:r>
          </a:p>
        </p:txBody>
      </p:sp>
      <p:sp>
        <p:nvSpPr>
          <p:cNvPr id="2" name="Text Placeholder 1"/>
          <p:cNvSpPr>
            <a:spLocks noGrp="1"/>
          </p:cNvSpPr>
          <p:nvPr>
            <p:ph type="body" sz="quarter" idx="10"/>
          </p:nvPr>
        </p:nvSpPr>
        <p:spPr>
          <a:xfrm>
            <a:off x="269242" y="1189176"/>
            <a:ext cx="6499079" cy="3106445"/>
          </a:xfrm>
        </p:spPr>
        <p:txBody>
          <a:bodyPr/>
          <a:lstStyle/>
          <a:p>
            <a:pPr marL="336082" indent="-336082">
              <a:buFont typeface="Arial" panose="020B0604020202020204" pitchFamily="34" charset="0"/>
              <a:buChar char="•"/>
            </a:pPr>
            <a:r>
              <a:rPr lang="en-US" sz="2000" dirty="0"/>
              <a:t>Manually </a:t>
            </a:r>
            <a:r>
              <a:rPr lang="en-US" sz="2000" b="1" dirty="0"/>
              <a:t>scale</a:t>
            </a:r>
            <a:r>
              <a:rPr lang="en-US" sz="2000" dirty="0"/>
              <a:t> with ‘capacity’ property</a:t>
            </a:r>
          </a:p>
          <a:p>
            <a:pPr marL="336082" indent="-336082">
              <a:buFont typeface="Arial" panose="020B0604020202020204" pitchFamily="34" charset="0"/>
              <a:buChar char="•"/>
            </a:pPr>
            <a:r>
              <a:rPr lang="en-US" sz="2000" b="1" dirty="0" err="1"/>
              <a:t>Autoscale</a:t>
            </a:r>
            <a:r>
              <a:rPr lang="en-US" sz="2000" dirty="0"/>
              <a:t> with host metrics (MDM pipeline) or diagnostic extensions​</a:t>
            </a:r>
          </a:p>
          <a:p>
            <a:pPr marL="336082" indent="-336082">
              <a:buFont typeface="Arial" panose="020B0604020202020204" pitchFamily="34" charset="0"/>
              <a:buChar char="•"/>
            </a:pPr>
            <a:r>
              <a:rPr lang="en-US" sz="2000" dirty="0"/>
              <a:t>Small buy-in: Deploy/manage sets of 0-&gt;100 identically configured VMs ​</a:t>
            </a:r>
          </a:p>
          <a:p>
            <a:pPr marL="336082" indent="-336082">
              <a:buFont typeface="Arial" panose="020B0604020202020204" pitchFamily="34" charset="0"/>
              <a:buChar char="•"/>
            </a:pPr>
            <a:r>
              <a:rPr lang="en-US" sz="2000" b="1" dirty="0"/>
              <a:t>Guest OS patching</a:t>
            </a:r>
            <a:r>
              <a:rPr lang="en-US" sz="2000" dirty="0"/>
              <a:t>: Patching primitives allow manually triggered rolling upgrades​​</a:t>
            </a:r>
          </a:p>
          <a:p>
            <a:pPr marL="336082" indent="-336082">
              <a:buFont typeface="Arial" panose="020B0604020202020204" pitchFamily="34" charset="0"/>
              <a:buChar char="•"/>
            </a:pPr>
            <a:r>
              <a:rPr lang="en-US" sz="2000" b="1" dirty="0"/>
              <a:t>High-availability</a:t>
            </a:r>
            <a:r>
              <a:rPr lang="en-US" sz="2000" dirty="0"/>
              <a:t> – implicit availability set with 5 FDs/5 UDs​</a:t>
            </a:r>
            <a:endParaRPr lang="en-US" sz="1800" dirty="0"/>
          </a:p>
          <a:p>
            <a:pPr marL="392095" lvl="1" indent="-168040">
              <a:buFont typeface="Arial" panose="020B0604020202020204" pitchFamily="34" charset="0"/>
              <a:buChar char="•"/>
            </a:pPr>
            <a:endParaRPr lang="en-US" sz="1100" dirty="0"/>
          </a:p>
        </p:txBody>
      </p:sp>
      <p:sp>
        <p:nvSpPr>
          <p:cNvPr id="5" name="Rectangle 4"/>
          <p:cNvSpPr/>
          <p:nvPr/>
        </p:nvSpPr>
        <p:spPr>
          <a:xfrm>
            <a:off x="269239" y="4325554"/>
            <a:ext cx="10834119" cy="1567841"/>
          </a:xfrm>
          <a:prstGeom prst="rect">
            <a:avLst/>
          </a:prstGeom>
        </p:spPr>
        <p:txBody>
          <a:bodyPr wrap="square" lIns="89623" tIns="44810" rIns="89623" bIns="44810">
            <a:spAutoFit/>
          </a:bodyPr>
          <a:lstStyle/>
          <a:p>
            <a:pPr defTabSz="914195"/>
            <a:r>
              <a:rPr lang="en-US" sz="2400" b="1" dirty="0">
                <a:gradFill>
                  <a:gsLst>
                    <a:gs pos="1250">
                      <a:srgbClr val="353535"/>
                    </a:gs>
                    <a:gs pos="100000">
                      <a:srgbClr val="353535"/>
                    </a:gs>
                  </a:gsLst>
                  <a:lin ang="5400000" scaled="0"/>
                </a:gradFill>
                <a:latin typeface="Segoe UI Light"/>
              </a:rPr>
              <a:t>Availability Sets vs Scale Sets</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Avail Set: Multiple different VMs (image, size, </a:t>
            </a:r>
            <a:r>
              <a:rPr lang="en-US" sz="2400" dirty="0" err="1">
                <a:gradFill>
                  <a:gsLst>
                    <a:gs pos="1250">
                      <a:srgbClr val="353535"/>
                    </a:gs>
                    <a:gs pos="100000">
                      <a:srgbClr val="353535"/>
                    </a:gs>
                  </a:gsLst>
                  <a:lin ang="5400000" scaled="0"/>
                </a:gradFill>
                <a:latin typeface="Segoe UI Light"/>
              </a:rPr>
              <a:t>etc</a:t>
            </a:r>
            <a:r>
              <a:rPr lang="en-US" sz="2400" dirty="0">
                <a:gradFill>
                  <a:gsLst>
                    <a:gs pos="1250">
                      <a:srgbClr val="353535"/>
                    </a:gs>
                    <a:gs pos="100000">
                      <a:srgbClr val="353535"/>
                    </a:gs>
                  </a:gsLst>
                  <a:lin ang="5400000" scaled="0"/>
                </a:gradFill>
                <a:latin typeface="Segoe UI Light"/>
              </a:rPr>
              <a:t>); managed separately</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Scale Set: Large count of the same VMs; managed together</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Scale set: Reliable rapid provisioning and scale utilizing similarity of the VMs</a:t>
            </a:r>
          </a:p>
        </p:txBody>
      </p:sp>
      <p:pic>
        <p:nvPicPr>
          <p:cNvPr id="7" name="Picture 6">
            <a:extLst>
              <a:ext uri="{FF2B5EF4-FFF2-40B4-BE49-F238E27FC236}">
                <a16:creationId xmlns:a16="http://schemas.microsoft.com/office/drawing/2014/main" id="{D0AB1631-C294-4DC1-9825-86DF7A64B899}"/>
              </a:ext>
            </a:extLst>
          </p:cNvPr>
          <p:cNvPicPr>
            <a:picLocks noChangeAspect="1"/>
          </p:cNvPicPr>
          <p:nvPr/>
        </p:nvPicPr>
        <p:blipFill>
          <a:blip r:embed="rId3"/>
          <a:stretch>
            <a:fillRect/>
          </a:stretch>
        </p:blipFill>
        <p:spPr>
          <a:xfrm>
            <a:off x="6618914" y="301945"/>
            <a:ext cx="5803856" cy="3713759"/>
          </a:xfrm>
          <a:prstGeom prst="rect">
            <a:avLst/>
          </a:prstGeom>
        </p:spPr>
        <p:style>
          <a:lnRef idx="2">
            <a:schemeClr val="accent5"/>
          </a:lnRef>
          <a:fillRef idx="1">
            <a:schemeClr val="lt1"/>
          </a:fillRef>
          <a:effectRef idx="0">
            <a:schemeClr val="accent5"/>
          </a:effectRef>
          <a:fontRef idx="minor">
            <a:schemeClr val="dk1"/>
          </a:fontRef>
        </p:style>
      </p:pic>
    </p:spTree>
    <p:extLst>
      <p:ext uri="{BB962C8B-B14F-4D97-AF65-F5344CB8AC3E}">
        <p14:creationId xmlns:p14="http://schemas.microsoft.com/office/powerpoint/2010/main" val="511772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fade">
                                      <p:cBhvr>
                                        <p:cTn id="22" dur="500"/>
                                        <p:tgtEl>
                                          <p:spTgt spid="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fade">
                                      <p:cBhvr>
                                        <p:cTn id="27" dur="500"/>
                                        <p:tgtEl>
                                          <p:spTgt spid="2">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5">
                                            <p:txEl>
                                              <p:pRg st="1" end="1"/>
                                            </p:txEl>
                                          </p:spTgt>
                                        </p:tgtEl>
                                        <p:attrNameLst>
                                          <p:attrName>style.visibility</p:attrName>
                                        </p:attrNameLst>
                                      </p:cBhvr>
                                      <p:to>
                                        <p:strVal val="visible"/>
                                      </p:to>
                                    </p:set>
                                    <p:animEffect transition="in" filter="fade">
                                      <p:cBhvr>
                                        <p:cTn id="36" dur="500"/>
                                        <p:tgtEl>
                                          <p:spTgt spid="5">
                                            <p:txEl>
                                              <p:pRg st="1" end="1"/>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5">
                                            <p:txEl>
                                              <p:pRg st="2" end="2"/>
                                            </p:txEl>
                                          </p:spTgt>
                                        </p:tgtEl>
                                        <p:attrNameLst>
                                          <p:attrName>style.visibility</p:attrName>
                                        </p:attrNameLst>
                                      </p:cBhvr>
                                      <p:to>
                                        <p:strVal val="visible"/>
                                      </p:to>
                                    </p:set>
                                    <p:animEffect transition="in" filter="fade">
                                      <p:cBhvr>
                                        <p:cTn id="41" dur="500"/>
                                        <p:tgtEl>
                                          <p:spTgt spid="5">
                                            <p:txEl>
                                              <p:pRg st="2" end="2"/>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5">
                                            <p:txEl>
                                              <p:pRg st="3" end="3"/>
                                            </p:txEl>
                                          </p:spTgt>
                                        </p:tgtEl>
                                        <p:attrNameLst>
                                          <p:attrName>style.visibility</p:attrName>
                                        </p:attrNameLst>
                                      </p:cBhvr>
                                      <p:to>
                                        <p:strVal val="visible"/>
                                      </p:to>
                                    </p:set>
                                    <p:animEffect transition="in" filter="fade">
                                      <p:cBhvr>
                                        <p:cTn id="46" dur="500"/>
                                        <p:tgtEl>
                                          <p:spTgt spid="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P spid="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06FDB-4FB0-4A04-B313-30F70C089010}"/>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D67568A-A0B2-471F-8030-6D66006EFB42}"/>
              </a:ext>
            </a:extLst>
          </p:cNvPr>
          <p:cNvSpPr>
            <a:spLocks noGrp="1"/>
          </p:cNvSpPr>
          <p:nvPr>
            <p:ph type="subTitle" idx="1"/>
          </p:nvPr>
        </p:nvSpPr>
        <p:spPr/>
        <p:txBody>
          <a:bodyPr/>
          <a:lstStyle/>
          <a:p>
            <a:endParaRPr lang="en-US"/>
          </a:p>
        </p:txBody>
      </p:sp>
      <p:pic>
        <p:nvPicPr>
          <p:cNvPr id="30722" name="Picture 2" descr="Related image">
            <a:extLst>
              <a:ext uri="{FF2B5EF4-FFF2-40B4-BE49-F238E27FC236}">
                <a16:creationId xmlns:a16="http://schemas.microsoft.com/office/drawing/2014/main" id="{A06CCC27-3E06-4CBD-AACB-6C680AE0CF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87499" y="485065"/>
            <a:ext cx="7536768" cy="56767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932253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utoscale with VM Scale Sets</a:t>
            </a:r>
          </a:p>
        </p:txBody>
      </p:sp>
      <p:sp>
        <p:nvSpPr>
          <p:cNvPr id="4" name="Text Placeholder 1"/>
          <p:cNvSpPr txBox="1">
            <a:spLocks/>
          </p:cNvSpPr>
          <p:nvPr/>
        </p:nvSpPr>
        <p:spPr>
          <a:xfrm>
            <a:off x="221928" y="2327445"/>
            <a:ext cx="7021316" cy="61906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trigger and action rules</a:t>
            </a:r>
          </a:p>
        </p:txBody>
      </p:sp>
      <p:sp>
        <p:nvSpPr>
          <p:cNvPr id="7" name="Text Placeholder 1"/>
          <p:cNvSpPr txBox="1">
            <a:spLocks/>
          </p:cNvSpPr>
          <p:nvPr/>
        </p:nvSpPr>
        <p:spPr>
          <a:xfrm>
            <a:off x="221928" y="1666447"/>
            <a:ext cx="7021316" cy="627710"/>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Max – Min VMs</a:t>
            </a:r>
          </a:p>
        </p:txBody>
      </p:sp>
      <p:sp>
        <p:nvSpPr>
          <p:cNvPr id="8" name="Text Placeholder 1"/>
          <p:cNvSpPr txBox="1">
            <a:spLocks/>
          </p:cNvSpPr>
          <p:nvPr/>
        </p:nvSpPr>
        <p:spPr>
          <a:xfrm>
            <a:off x="221928" y="2979789"/>
            <a:ext cx="7272802" cy="158447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Standard audit / email notifications</a:t>
            </a:r>
          </a:p>
          <a:p>
            <a:pPr marL="335952" indent="-335952" defTabSz="913844">
              <a:defRPr/>
            </a:pPr>
            <a:r>
              <a:rPr lang="en-US" sz="3100" dirty="0">
                <a:solidFill>
                  <a:srgbClr val="353535"/>
                </a:solidFill>
              </a:rPr>
              <a:t>Define </a:t>
            </a:r>
            <a:r>
              <a:rPr lang="en-US" sz="3100" dirty="0" err="1">
                <a:solidFill>
                  <a:srgbClr val="353535"/>
                </a:solidFill>
              </a:rPr>
              <a:t>webhooks</a:t>
            </a:r>
            <a:r>
              <a:rPr lang="en-US" sz="3100" dirty="0">
                <a:solidFill>
                  <a:srgbClr val="353535"/>
                </a:solidFill>
              </a:rPr>
              <a:t> for custom notifications and actions (e.g. runbook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75569" y="1666448"/>
            <a:ext cx="3563505" cy="4858972"/>
          </a:xfrm>
          <a:prstGeom prst="rect">
            <a:avLst/>
          </a:prstGeom>
        </p:spPr>
      </p:pic>
    </p:spTree>
    <p:extLst>
      <p:ext uri="{BB962C8B-B14F-4D97-AF65-F5344CB8AC3E}">
        <p14:creationId xmlns:p14="http://schemas.microsoft.com/office/powerpoint/2010/main" val="168679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M scale set app deployment models</a:t>
            </a:r>
          </a:p>
        </p:txBody>
      </p:sp>
      <p:graphicFrame>
        <p:nvGraphicFramePr>
          <p:cNvPr id="4" name="Table 3"/>
          <p:cNvGraphicFramePr>
            <a:graphicFrameLocks noGrp="1"/>
          </p:cNvGraphicFramePr>
          <p:nvPr>
            <p:extLst/>
          </p:nvPr>
        </p:nvGraphicFramePr>
        <p:xfrm>
          <a:off x="424450" y="1560433"/>
          <a:ext cx="11089304" cy="3168095"/>
        </p:xfrm>
        <a:graphic>
          <a:graphicData uri="http://schemas.openxmlformats.org/drawingml/2006/table">
            <a:tbl>
              <a:tblPr firstRow="1" bandRow="1">
                <a:tableStyleId>{5C22544A-7EE6-4342-B048-85BDC9FD1C3A}</a:tableStyleId>
              </a:tblPr>
              <a:tblGrid>
                <a:gridCol w="2795993">
                  <a:extLst>
                    <a:ext uri="{9D8B030D-6E8A-4147-A177-3AD203B41FA5}">
                      <a16:colId xmlns:a16="http://schemas.microsoft.com/office/drawing/2014/main" val="3270326853"/>
                    </a:ext>
                  </a:extLst>
                </a:gridCol>
                <a:gridCol w="8293311">
                  <a:extLst>
                    <a:ext uri="{9D8B030D-6E8A-4147-A177-3AD203B41FA5}">
                      <a16:colId xmlns:a16="http://schemas.microsoft.com/office/drawing/2014/main" val="2385309107"/>
                    </a:ext>
                  </a:extLst>
                </a:gridCol>
              </a:tblGrid>
              <a:tr h="452585">
                <a:tc>
                  <a:txBody>
                    <a:bodyPr/>
                    <a:lstStyle/>
                    <a:p>
                      <a:r>
                        <a:rPr lang="en-US" sz="1800" dirty="0"/>
                        <a:t>Model</a:t>
                      </a:r>
                    </a:p>
                  </a:txBody>
                  <a:tcPr marL="91427" marR="91427"/>
                </a:tc>
                <a:tc>
                  <a:txBody>
                    <a:bodyPr/>
                    <a:lstStyle/>
                    <a:p>
                      <a:r>
                        <a:rPr lang="en-US" sz="1800" dirty="0"/>
                        <a:t>When to use</a:t>
                      </a:r>
                    </a:p>
                  </a:txBody>
                  <a:tcPr marL="91427" marR="91427"/>
                </a:tc>
                <a:extLst>
                  <a:ext uri="{0D108BD9-81ED-4DB2-BD59-A6C34878D82A}">
                    <a16:rowId xmlns:a16="http://schemas.microsoft.com/office/drawing/2014/main" val="1824172941"/>
                  </a:ext>
                </a:extLst>
              </a:tr>
              <a:tr h="452585">
                <a:tc>
                  <a:txBody>
                    <a:bodyPr/>
                    <a:lstStyle/>
                    <a:p>
                      <a:r>
                        <a:rPr lang="en-US" sz="1800" b="1" dirty="0"/>
                        <a:t>Marketplace</a:t>
                      </a:r>
                    </a:p>
                  </a:txBody>
                  <a:tcPr marL="91427" marR="91427"/>
                </a:tc>
                <a:tc>
                  <a:txBody>
                    <a:bodyPr/>
                    <a:lstStyle/>
                    <a:p>
                      <a:r>
                        <a:rPr lang="en-US" sz="1800" dirty="0"/>
                        <a:t>Off the shelf solutions.</a:t>
                      </a:r>
                    </a:p>
                  </a:txBody>
                  <a:tcPr marL="91427" marR="91427"/>
                </a:tc>
                <a:extLst>
                  <a:ext uri="{0D108BD9-81ED-4DB2-BD59-A6C34878D82A}">
                    <a16:rowId xmlns:a16="http://schemas.microsoft.com/office/drawing/2014/main" val="535270435"/>
                  </a:ext>
                </a:extLst>
              </a:tr>
              <a:tr h="452585">
                <a:tc>
                  <a:txBody>
                    <a:bodyPr/>
                    <a:lstStyle/>
                    <a:p>
                      <a:r>
                        <a:rPr lang="en-US" sz="1800" b="1" dirty="0"/>
                        <a:t>VM Extensions</a:t>
                      </a:r>
                    </a:p>
                  </a:txBody>
                  <a:tcPr marL="91427" marR="91427"/>
                </a:tc>
                <a:tc>
                  <a:txBody>
                    <a:bodyPr/>
                    <a:lstStyle/>
                    <a:p>
                      <a:r>
                        <a:rPr lang="en-US" sz="1800" dirty="0"/>
                        <a:t>Full control over app lifecycle management.</a:t>
                      </a:r>
                    </a:p>
                  </a:txBody>
                  <a:tcPr marL="91427" marR="91427"/>
                </a:tc>
                <a:extLst>
                  <a:ext uri="{0D108BD9-81ED-4DB2-BD59-A6C34878D82A}">
                    <a16:rowId xmlns:a16="http://schemas.microsoft.com/office/drawing/2014/main" val="2882835114"/>
                  </a:ext>
                </a:extLst>
              </a:tr>
              <a:tr h="452585">
                <a:tc>
                  <a:txBody>
                    <a:bodyPr/>
                    <a:lstStyle/>
                    <a:p>
                      <a:r>
                        <a:rPr lang="en-US" sz="1800" b="1" dirty="0"/>
                        <a:t>Custom data/</a:t>
                      </a:r>
                      <a:r>
                        <a:rPr lang="en-US" sz="1800" b="1" dirty="0" err="1"/>
                        <a:t>unattend</a:t>
                      </a:r>
                      <a:endParaRPr lang="en-US" sz="1800" b="1" dirty="0"/>
                    </a:p>
                  </a:txBody>
                  <a:tcPr marL="91427" marR="91427"/>
                </a:tc>
                <a:tc>
                  <a:txBody>
                    <a:bodyPr/>
                    <a:lstStyle/>
                    <a:p>
                      <a:r>
                        <a:rPr lang="en-US" sz="1800" dirty="0"/>
                        <a:t>Install custom app independently of external network.</a:t>
                      </a:r>
                    </a:p>
                  </a:txBody>
                  <a:tcPr marL="91427" marR="91427"/>
                </a:tc>
                <a:extLst>
                  <a:ext uri="{0D108BD9-81ED-4DB2-BD59-A6C34878D82A}">
                    <a16:rowId xmlns:a16="http://schemas.microsoft.com/office/drawing/2014/main" val="2629156300"/>
                  </a:ext>
                </a:extLst>
              </a:tr>
              <a:tr h="452585">
                <a:tc>
                  <a:txBody>
                    <a:bodyPr/>
                    <a:lstStyle/>
                    <a:p>
                      <a:r>
                        <a:rPr lang="en-US" sz="1800" b="1" dirty="0"/>
                        <a:t>Configuration manager</a:t>
                      </a:r>
                    </a:p>
                  </a:txBody>
                  <a:tcPr marL="91427" marR="91427"/>
                </a:tc>
                <a:tc>
                  <a:txBody>
                    <a:bodyPr/>
                    <a:lstStyle/>
                    <a:p>
                      <a:r>
                        <a:rPr lang="en-US" sz="1800" dirty="0"/>
                        <a:t>Centrally managed app installation, credentials &amp; maintenance.</a:t>
                      </a:r>
                    </a:p>
                  </a:txBody>
                  <a:tcPr marL="91427" marR="91427"/>
                </a:tc>
                <a:extLst>
                  <a:ext uri="{0D108BD9-81ED-4DB2-BD59-A6C34878D82A}">
                    <a16:rowId xmlns:a16="http://schemas.microsoft.com/office/drawing/2014/main" val="3742480625"/>
                  </a:ext>
                </a:extLst>
              </a:tr>
              <a:tr h="452585">
                <a:tc>
                  <a:txBody>
                    <a:bodyPr/>
                    <a:lstStyle/>
                    <a:p>
                      <a:r>
                        <a:rPr lang="en-US" sz="1800" b="1" dirty="0"/>
                        <a:t>Containerized</a:t>
                      </a:r>
                    </a:p>
                  </a:txBody>
                  <a:tcPr marL="91427" marR="91427"/>
                </a:tc>
                <a:tc>
                  <a:txBody>
                    <a:bodyPr/>
                    <a:lstStyle/>
                    <a:p>
                      <a:r>
                        <a:rPr lang="en-US" sz="1800" dirty="0"/>
                        <a:t>Abstract app management from infrastructure. Cloud/DC agnostic.</a:t>
                      </a:r>
                    </a:p>
                  </a:txBody>
                  <a:tcPr marL="91427" marR="91427"/>
                </a:tc>
                <a:extLst>
                  <a:ext uri="{0D108BD9-81ED-4DB2-BD59-A6C34878D82A}">
                    <a16:rowId xmlns:a16="http://schemas.microsoft.com/office/drawing/2014/main" val="2543906882"/>
                  </a:ext>
                </a:extLst>
              </a:tr>
              <a:tr h="452585">
                <a:tc>
                  <a:txBody>
                    <a:bodyPr/>
                    <a:lstStyle/>
                    <a:p>
                      <a:r>
                        <a:rPr lang="en-US" sz="1800" b="1" dirty="0"/>
                        <a:t>Custom image</a:t>
                      </a:r>
                    </a:p>
                  </a:txBody>
                  <a:tcPr marL="91427" marR="91427"/>
                </a:tc>
                <a:tc>
                  <a:txBody>
                    <a:bodyPr/>
                    <a:lstStyle/>
                    <a:p>
                      <a:r>
                        <a:rPr lang="en-US" sz="1800" dirty="0"/>
                        <a:t>Small self-contained apps. Fast deploy. Immutable build, test, deploy pipelines.</a:t>
                      </a:r>
                    </a:p>
                  </a:txBody>
                  <a:tcPr marL="91427" marR="91427"/>
                </a:tc>
                <a:extLst>
                  <a:ext uri="{0D108BD9-81ED-4DB2-BD59-A6C34878D82A}">
                    <a16:rowId xmlns:a16="http://schemas.microsoft.com/office/drawing/2014/main" val="596035399"/>
                  </a:ext>
                </a:extLst>
              </a:tr>
            </a:tbl>
          </a:graphicData>
        </a:graphic>
      </p:graphicFrame>
    </p:spTree>
    <p:extLst>
      <p:ext uri="{BB962C8B-B14F-4D97-AF65-F5344CB8AC3E}">
        <p14:creationId xmlns:p14="http://schemas.microsoft.com/office/powerpoint/2010/main" val="98944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9" name="Group 8" hidden="1"/>
          <p:cNvGrpSpPr/>
          <p:nvPr/>
        </p:nvGrpSpPr>
        <p:grpSpPr>
          <a:xfrm>
            <a:off x="-7920948" y="-3550105"/>
            <a:ext cx="5924664" cy="1794463"/>
            <a:chOff x="688527" y="-2216605"/>
            <a:chExt cx="5925505" cy="1794463"/>
          </a:xfrm>
        </p:grpSpPr>
        <p:grpSp>
          <p:nvGrpSpPr>
            <p:cNvPr id="3" name="Group 2"/>
            <p:cNvGrpSpPr/>
            <p:nvPr/>
          </p:nvGrpSpPr>
          <p:grpSpPr>
            <a:xfrm>
              <a:off x="4785232" y="-1245102"/>
              <a:ext cx="1828800" cy="822960"/>
              <a:chOff x="8153068" y="-1245102"/>
              <a:chExt cx="1828800" cy="822960"/>
            </a:xfrm>
          </p:grpSpPr>
          <p:sp>
            <p:nvSpPr>
              <p:cNvPr id="23" name="Rectangle 22"/>
              <p:cNvSpPr/>
              <p:nvPr/>
            </p:nvSpPr>
            <p:spPr bwMode="auto">
              <a:xfrm>
                <a:off x="815306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zure</a:t>
                </a:r>
              </a:p>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functions</a:t>
                </a:r>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80326" y="-1045357"/>
                <a:ext cx="474228" cy="407836"/>
              </a:xfrm>
              <a:prstGeom prst="rect">
                <a:avLst/>
              </a:prstGeom>
            </p:spPr>
          </p:pic>
        </p:grpSp>
        <p:grpSp>
          <p:nvGrpSpPr>
            <p:cNvPr id="7" name="Group 6"/>
            <p:cNvGrpSpPr/>
            <p:nvPr/>
          </p:nvGrpSpPr>
          <p:grpSpPr>
            <a:xfrm>
              <a:off x="688527" y="-2216605"/>
              <a:ext cx="1828800" cy="822960"/>
              <a:chOff x="688527" y="-2216605"/>
              <a:chExt cx="1828800" cy="822960"/>
            </a:xfrm>
          </p:grpSpPr>
          <p:sp>
            <p:nvSpPr>
              <p:cNvPr id="17" name="Rectangle 16"/>
              <p:cNvSpPr/>
              <p:nvPr/>
            </p:nvSpPr>
            <p:spPr bwMode="auto">
              <a:xfrm>
                <a:off x="688527"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M</a:t>
                </a:r>
              </a:p>
            </p:txBody>
          </p:sp>
          <p:pic>
            <p:nvPicPr>
              <p:cNvPr id="25" name="Picture 2" descr="https://az213233.vo.msecnd.net/Content/6.0.00298.4.160413-1548/ApiManagement/Images/ApiManagement.png"/>
              <p:cNvPicPr>
                <a:picLocks noChangeAspect="1" noChangeArrowheads="1"/>
              </p:cNvPicPr>
              <p:nvPr/>
            </p:nvPicPr>
            <p:blipFill rotWithShape="1">
              <a:blip r:embed="rId4">
                <a:extLst>
                  <a:ext uri="{28A0092B-C50C-407E-A947-70E740481C1C}">
                    <a14:useLocalDpi xmlns:a14="http://schemas.microsoft.com/office/drawing/2010/main" val="0"/>
                  </a:ext>
                </a:extLst>
              </a:blip>
              <a:srcRect l="49976" t="-11700"/>
              <a:stretch/>
            </p:blipFill>
            <p:spPr bwMode="auto">
              <a:xfrm>
                <a:off x="837578" y="-2154255"/>
                <a:ext cx="538003" cy="6170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2748488" y="-1245102"/>
              <a:ext cx="1828800" cy="822960"/>
              <a:chOff x="3396188" y="-1245102"/>
              <a:chExt cx="1828800" cy="822960"/>
            </a:xfrm>
          </p:grpSpPr>
          <p:sp>
            <p:nvSpPr>
              <p:cNvPr id="22" name="Rectangle 21"/>
              <p:cNvSpPr/>
              <p:nvPr/>
            </p:nvSpPr>
            <p:spPr bwMode="auto">
              <a:xfrm>
                <a:off x="339618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6083" tIns="146283" rIns="0" bIns="146283" numCol="1" spcCol="0" rtlCol="0" fromWordArt="0" anchor="t" anchorCtr="0" forceAA="0" compatLnSpc="1">
                <a:prstTxWarp prst="textNoShape">
                  <a:avLst/>
                </a:prstTxWarp>
                <a:noAutofit/>
              </a:bodyPr>
              <a:lstStyle/>
              <a:p>
                <a:pPr defTabSz="896045">
                  <a:defRPr/>
                </a:pPr>
                <a: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Notification </a:t>
                </a:r>
                <a:b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hubs</a:t>
                </a:r>
              </a:p>
            </p:txBody>
          </p:sp>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31274" y="-1087597"/>
                <a:ext cx="508831" cy="506193"/>
              </a:xfrm>
              <a:prstGeom prst="rect">
                <a:avLst/>
              </a:prstGeom>
            </p:spPr>
          </p:pic>
        </p:grpSp>
        <p:grpSp>
          <p:nvGrpSpPr>
            <p:cNvPr id="5" name="Group 4"/>
            <p:cNvGrpSpPr/>
            <p:nvPr/>
          </p:nvGrpSpPr>
          <p:grpSpPr>
            <a:xfrm>
              <a:off x="2748488" y="-2216605"/>
              <a:ext cx="1828800" cy="822960"/>
              <a:chOff x="3396188" y="-2216605"/>
              <a:chExt cx="1828800" cy="822960"/>
            </a:xfrm>
          </p:grpSpPr>
          <p:sp>
            <p:nvSpPr>
              <p:cNvPr id="18" name="Rectangle 17"/>
              <p:cNvSpPr/>
              <p:nvPr/>
            </p:nvSpPr>
            <p:spPr bwMode="auto">
              <a:xfrm>
                <a:off x="339618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Mobile </a:t>
                </a:r>
                <a:b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28" name="Picture 27"/>
              <p:cNvPicPr>
                <a:picLocks noChangeAspect="1"/>
              </p:cNvPicPr>
              <p:nvPr/>
            </p:nvPicPr>
            <p:blipFill>
              <a:blip r:embed="rId6"/>
              <a:stretch>
                <a:fillRect/>
              </a:stretch>
            </p:blipFill>
            <p:spPr>
              <a:xfrm>
                <a:off x="3604132" y="-2075453"/>
                <a:ext cx="366268" cy="525923"/>
              </a:xfrm>
              <a:prstGeom prst="rect">
                <a:avLst/>
              </a:prstGeom>
            </p:spPr>
          </p:pic>
        </p:grpSp>
        <p:grpSp>
          <p:nvGrpSpPr>
            <p:cNvPr id="8" name="Group 7"/>
            <p:cNvGrpSpPr/>
            <p:nvPr/>
          </p:nvGrpSpPr>
          <p:grpSpPr>
            <a:xfrm>
              <a:off x="688527" y="-1245102"/>
              <a:ext cx="1828800" cy="822960"/>
              <a:chOff x="688527" y="-1245102"/>
              <a:chExt cx="1828800" cy="822960"/>
            </a:xfrm>
          </p:grpSpPr>
          <p:sp>
            <p:nvSpPr>
              <p:cNvPr id="21" name="Rectangle 20"/>
              <p:cNvSpPr/>
              <p:nvPr/>
            </p:nvSpPr>
            <p:spPr bwMode="auto">
              <a:xfrm>
                <a:off x="688527"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 apps</a:t>
                </a:r>
              </a:p>
            </p:txBody>
          </p:sp>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7578" y="-1074798"/>
                <a:ext cx="492704" cy="493394"/>
              </a:xfrm>
              <a:prstGeom prst="rect">
                <a:avLst/>
              </a:prstGeom>
              <a:noFill/>
            </p:spPr>
          </p:pic>
        </p:grpSp>
        <p:grpSp>
          <p:nvGrpSpPr>
            <p:cNvPr id="4" name="Group 3"/>
            <p:cNvGrpSpPr/>
            <p:nvPr/>
          </p:nvGrpSpPr>
          <p:grpSpPr>
            <a:xfrm>
              <a:off x="4785232" y="-2216605"/>
              <a:ext cx="1828800" cy="822960"/>
              <a:chOff x="8153068" y="-2216605"/>
              <a:chExt cx="1828800" cy="822960"/>
            </a:xfrm>
          </p:grpSpPr>
          <p:sp>
            <p:nvSpPr>
              <p:cNvPr id="19" name="Rectangle 18"/>
              <p:cNvSpPr/>
              <p:nvPr/>
            </p:nvSpPr>
            <p:spPr bwMode="auto">
              <a:xfrm>
                <a:off x="815306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Logic </a:t>
                </a:r>
                <a:b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31" name="Picture 30"/>
              <p:cNvPicPr>
                <a:picLocks noChangeAspect="1"/>
              </p:cNvPicPr>
              <p:nvPr/>
            </p:nvPicPr>
            <p:blipFill>
              <a:blip r:embed="rId8"/>
              <a:stretch>
                <a:fillRect/>
              </a:stretch>
            </p:blipFill>
            <p:spPr>
              <a:xfrm>
                <a:off x="8319436" y="-2043984"/>
                <a:ext cx="435118" cy="434630"/>
              </a:xfrm>
              <a:prstGeom prst="rect">
                <a:avLst/>
              </a:prstGeom>
            </p:spPr>
          </p:pic>
        </p:grpSp>
      </p:grpSp>
      <p:sp>
        <p:nvSpPr>
          <p:cNvPr id="38" name="Text Placeholder 5"/>
          <p:cNvSpPr txBox="1">
            <a:spLocks/>
          </p:cNvSpPr>
          <p:nvPr/>
        </p:nvSpPr>
        <p:spPr>
          <a:xfrm>
            <a:off x="4303152" y="1561183"/>
            <a:ext cx="6686657" cy="3053436"/>
          </a:xfrm>
          <a:prstGeom prst="rect">
            <a:avLst/>
          </a:prstGeom>
        </p:spPr>
        <p:txBody>
          <a:bodyPr vert="horz" wrap="square" lIns="179218" tIns="143375" rIns="179218" bIns="143375"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20">
              <a:spcBef>
                <a:spcPts val="1200"/>
              </a:spcBef>
              <a:defRPr/>
            </a:pPr>
            <a:r>
              <a:rPr lang="en-US" sz="2400" dirty="0">
                <a:solidFill>
                  <a:srgbClr val="353535"/>
                </a:solidFill>
                <a:latin typeface="Segoe UI Light"/>
                <a:cs typeface="Segoe UI Semibold" panose="020B0702040204020203" pitchFamily="34" charset="0"/>
              </a:rPr>
              <a:t>Compute pools for job processing</a:t>
            </a:r>
          </a:p>
          <a:p>
            <a:pPr defTabSz="914020">
              <a:spcBef>
                <a:spcPts val="1200"/>
              </a:spcBef>
              <a:defRPr/>
            </a:pPr>
            <a:r>
              <a:rPr lang="en-US" sz="2400" dirty="0">
                <a:solidFill>
                  <a:srgbClr val="353535"/>
                </a:solidFill>
                <a:latin typeface="Segoe UI Light"/>
                <a:cs typeface="Segoe UI Semibold" panose="020B0702040204020203" pitchFamily="34" charset="0"/>
              </a:rPr>
              <a:t>Automatic scaling and regional coverage</a:t>
            </a:r>
          </a:p>
          <a:p>
            <a:pPr defTabSz="914020">
              <a:spcBef>
                <a:spcPts val="1200"/>
              </a:spcBef>
              <a:defRPr/>
            </a:pPr>
            <a:r>
              <a:rPr lang="en-US" sz="2400" dirty="0">
                <a:solidFill>
                  <a:srgbClr val="353535"/>
                </a:solidFill>
                <a:latin typeface="Segoe UI Light"/>
                <a:cs typeface="Segoe UI Semibold" panose="020B0702040204020203" pitchFamily="34" charset="0"/>
              </a:rPr>
              <a:t>Linux and Windows</a:t>
            </a:r>
          </a:p>
          <a:p>
            <a:pPr defTabSz="914020">
              <a:spcBef>
                <a:spcPts val="1200"/>
              </a:spcBef>
              <a:defRPr/>
            </a:pPr>
            <a:r>
              <a:rPr lang="en-US" sz="2400" dirty="0">
                <a:solidFill>
                  <a:srgbClr val="353535"/>
                </a:solidFill>
                <a:latin typeface="Segoe UI Light"/>
                <a:cs typeface="Segoe UI Semibold" panose="020B0702040204020203" pitchFamily="34" charset="0"/>
              </a:rPr>
              <a:t>Automatically recover failed tasks</a:t>
            </a:r>
          </a:p>
          <a:p>
            <a:pPr defTabSz="914020">
              <a:spcBef>
                <a:spcPts val="1200"/>
              </a:spcBef>
              <a:defRPr/>
            </a:pPr>
            <a:r>
              <a:rPr lang="en-US" sz="2400" dirty="0" err="1">
                <a:solidFill>
                  <a:srgbClr val="353535"/>
                </a:solidFill>
                <a:latin typeface="Segoe UI Light"/>
                <a:cs typeface="Segoe UI Semibold" panose="020B0702040204020203" pitchFamily="34" charset="0"/>
              </a:rPr>
              <a:t>Input/Output</a:t>
            </a:r>
            <a:r>
              <a:rPr lang="en-US" sz="2400" dirty="0">
                <a:solidFill>
                  <a:srgbClr val="353535"/>
                </a:solidFill>
                <a:latin typeface="Segoe UI Light"/>
                <a:cs typeface="Segoe UI Semibold" panose="020B0702040204020203" pitchFamily="34" charset="0"/>
              </a:rPr>
              <a:t> handling</a:t>
            </a:r>
          </a:p>
          <a:p>
            <a:pPr defTabSz="914020">
              <a:spcBef>
                <a:spcPts val="1200"/>
              </a:spcBef>
              <a:defRPr/>
            </a:pPr>
            <a:r>
              <a:rPr lang="en-US" sz="2400" dirty="0">
                <a:solidFill>
                  <a:srgbClr val="353535"/>
                </a:solidFill>
                <a:latin typeface="Segoe UI Light"/>
                <a:cs typeface="Segoe UI Semibold" panose="020B0702040204020203" pitchFamily="34" charset="0"/>
              </a:rPr>
              <a:t>Low-Priority (discounted) option</a:t>
            </a:r>
          </a:p>
        </p:txBody>
      </p:sp>
      <p:pic>
        <p:nvPicPr>
          <p:cNvPr id="39" name="Picture 38"/>
          <p:cNvPicPr>
            <a:picLocks noChangeAspect="1"/>
          </p:cNvPicPr>
          <p:nvPr/>
        </p:nvPicPr>
        <p:blipFill>
          <a:blip r:embed="rId9"/>
          <a:stretch>
            <a:fillRect/>
          </a:stretch>
        </p:blipFill>
        <p:spPr>
          <a:xfrm>
            <a:off x="139710" y="1125262"/>
            <a:ext cx="3618327" cy="4396984"/>
          </a:xfrm>
          <a:prstGeom prst="rect">
            <a:avLst/>
          </a:prstGeom>
        </p:spPr>
      </p:pic>
      <p:sp>
        <p:nvSpPr>
          <p:cNvPr id="2" name="Title 1">
            <a:extLst>
              <a:ext uri="{FF2B5EF4-FFF2-40B4-BE49-F238E27FC236}">
                <a16:creationId xmlns:a16="http://schemas.microsoft.com/office/drawing/2014/main" id="{D67D1655-C74A-4B5C-B045-AA74BB263FE2}"/>
              </a:ext>
            </a:extLst>
          </p:cNvPr>
          <p:cNvSpPr>
            <a:spLocks noGrp="1"/>
          </p:cNvSpPr>
          <p:nvPr>
            <p:ph type="title"/>
          </p:nvPr>
        </p:nvSpPr>
        <p:spPr/>
        <p:txBody>
          <a:bodyPr/>
          <a:lstStyle/>
          <a:p>
            <a:r>
              <a:rPr lang="en-US" dirty="0">
                <a:solidFill>
                  <a:schemeClr val="tx1"/>
                </a:solidFill>
              </a:rPr>
              <a:t>Azure Batch</a:t>
            </a:r>
            <a:br>
              <a:rPr lang="en-US" dirty="0">
                <a:solidFill>
                  <a:schemeClr val="tx1"/>
                </a:solidFill>
              </a:rPr>
            </a:br>
            <a:endParaRPr lang="en-US" dirty="0">
              <a:solidFill>
                <a:schemeClr val="tx1"/>
              </a:solidFill>
            </a:endParaRPr>
          </a:p>
        </p:txBody>
      </p:sp>
    </p:spTree>
    <p:extLst>
      <p:ext uri="{BB962C8B-B14F-4D97-AF65-F5344CB8AC3E}">
        <p14:creationId xmlns:p14="http://schemas.microsoft.com/office/powerpoint/2010/main" val="2980187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a:t>Create compute-intensive application</a:t>
            </a:r>
          </a:p>
        </p:txBody>
      </p:sp>
    </p:spTree>
    <p:extLst>
      <p:ext uri="{BB962C8B-B14F-4D97-AF65-F5344CB8AC3E}">
        <p14:creationId xmlns:p14="http://schemas.microsoft.com/office/powerpoint/2010/main" val="390206462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Oval 95"/>
          <p:cNvSpPr/>
          <p:nvPr/>
        </p:nvSpPr>
        <p:spPr bwMode="auto">
          <a:xfrm>
            <a:off x="3503341" y="1133468"/>
            <a:ext cx="5185320" cy="5185318"/>
          </a:xfrm>
          <a:prstGeom prst="ellipse">
            <a:avLst/>
          </a:prstGeom>
          <a:solidFill>
            <a:schemeClr val="bg1">
              <a:lumMod val="95000"/>
            </a:schemeClr>
          </a:solidFill>
          <a:ln w="19050">
            <a:solidFill>
              <a:schemeClr val="tx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7" tIns="146271" rIns="182837" bIns="146271" numCol="1" spcCol="0" rtlCol="0" fromWordArt="0" anchor="t" anchorCtr="0" forceAA="0" compatLnSpc="1">
            <a:prstTxWarp prst="textNoShape">
              <a:avLst/>
            </a:prstTxWarp>
            <a:noAutofit/>
          </a:bodyPr>
          <a:lstStyle/>
          <a:p>
            <a:pPr marL="0" marR="0" lvl="0" indent="0" algn="ctr" defTabSz="932206"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0070C0"/>
              </a:solidFill>
              <a:effectLst/>
              <a:uLnTx/>
              <a:uFillTx/>
              <a:latin typeface="Segoe UI Semilight"/>
              <a:ea typeface="Segoe UI" pitchFamily="34" charset="0"/>
              <a:cs typeface="Segoe UI Light" panose="020B0502040204020203" pitchFamily="34" charset="0"/>
            </a:endParaRPr>
          </a:p>
        </p:txBody>
      </p:sp>
      <p:grpSp>
        <p:nvGrpSpPr>
          <p:cNvPr id="428" name="Group 427">
            <a:extLst>
              <a:ext uri="{FF2B5EF4-FFF2-40B4-BE49-F238E27FC236}">
                <a16:creationId xmlns:a16="http://schemas.microsoft.com/office/drawing/2014/main" id="{BE55AB01-5D0C-40B7-BCD2-0D35B2753685}"/>
              </a:ext>
            </a:extLst>
          </p:cNvPr>
          <p:cNvGrpSpPr/>
          <p:nvPr/>
        </p:nvGrpSpPr>
        <p:grpSpPr>
          <a:xfrm>
            <a:off x="5055078" y="2685278"/>
            <a:ext cx="2081847" cy="2030328"/>
            <a:chOff x="5156441" y="2738626"/>
            <a:chExt cx="2123592" cy="2071040"/>
          </a:xfrm>
        </p:grpSpPr>
        <p:sp>
          <p:nvSpPr>
            <p:cNvPr id="97" name="Oval 96"/>
            <p:cNvSpPr/>
            <p:nvPr/>
          </p:nvSpPr>
          <p:spPr>
            <a:xfrm>
              <a:off x="5156441" y="2738626"/>
              <a:ext cx="2123592" cy="2071040"/>
            </a:xfrm>
            <a:prstGeom prst="ellipse">
              <a:avLst/>
            </a:pr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light"/>
                <a:ea typeface="+mn-ea"/>
                <a:cs typeface="Segoe UI Light" panose="020B0502040204020203" pitchFamily="34" charset="0"/>
              </a:endParaRPr>
            </a:p>
          </p:txBody>
        </p:sp>
        <p:grpSp>
          <p:nvGrpSpPr>
            <p:cNvPr id="427" name="Group 426">
              <a:extLst>
                <a:ext uri="{FF2B5EF4-FFF2-40B4-BE49-F238E27FC236}">
                  <a16:creationId xmlns:a16="http://schemas.microsoft.com/office/drawing/2014/main" id="{F6053AE7-A25A-4922-9C3E-BD42D7C26E7F}"/>
                </a:ext>
              </a:extLst>
            </p:cNvPr>
            <p:cNvGrpSpPr/>
            <p:nvPr/>
          </p:nvGrpSpPr>
          <p:grpSpPr>
            <a:xfrm>
              <a:off x="5378449" y="3271468"/>
              <a:ext cx="1679576" cy="932548"/>
              <a:chOff x="5616570" y="3185611"/>
              <a:chExt cx="1767157" cy="981176"/>
            </a:xfrm>
            <a:noFill/>
          </p:grpSpPr>
          <p:sp>
            <p:nvSpPr>
              <p:cNvPr id="224" name="Freeform 5"/>
              <p:cNvSpPr>
                <a:spLocks/>
              </p:cNvSpPr>
              <p:nvPr/>
            </p:nvSpPr>
            <p:spPr bwMode="auto">
              <a:xfrm>
                <a:off x="5668797" y="3185611"/>
                <a:ext cx="522970" cy="976319"/>
              </a:xfrm>
              <a:custGeom>
                <a:avLst/>
                <a:gdLst>
                  <a:gd name="T0" fmla="*/ 0 w 1683"/>
                  <a:gd name="T1" fmla="*/ 3137 h 3137"/>
                  <a:gd name="T2" fmla="*/ 1683 w 1683"/>
                  <a:gd name="T3" fmla="*/ 3137 h 3137"/>
                  <a:gd name="T4" fmla="*/ 1683 w 1683"/>
                  <a:gd name="T5" fmla="*/ 124 h 3137"/>
                  <a:gd name="T6" fmla="*/ 1558 w 1683"/>
                  <a:gd name="T7" fmla="*/ 0 h 3137"/>
                  <a:gd name="T8" fmla="*/ 124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8" y="0"/>
                    </a:cubicBezTo>
                    <a:cubicBezTo>
                      <a:pt x="124" y="0"/>
                      <a:pt x="124" y="0"/>
                      <a:pt x="124"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5" name="Line 6"/>
              <p:cNvSpPr>
                <a:spLocks noChangeShapeType="1"/>
              </p:cNvSpPr>
              <p:nvPr/>
            </p:nvSpPr>
            <p:spPr bwMode="auto">
              <a:xfrm>
                <a:off x="5668797"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6" name="Line 7"/>
              <p:cNvSpPr>
                <a:spLocks noChangeShapeType="1"/>
              </p:cNvSpPr>
              <p:nvPr/>
            </p:nvSpPr>
            <p:spPr bwMode="auto">
              <a:xfrm>
                <a:off x="5668797"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7" name="Line 8"/>
              <p:cNvSpPr>
                <a:spLocks noChangeShapeType="1"/>
              </p:cNvSpPr>
              <p:nvPr/>
            </p:nvSpPr>
            <p:spPr bwMode="auto">
              <a:xfrm>
                <a:off x="5668797"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8" name="Line 9"/>
              <p:cNvSpPr>
                <a:spLocks noChangeShapeType="1"/>
              </p:cNvSpPr>
              <p:nvPr/>
            </p:nvSpPr>
            <p:spPr bwMode="auto">
              <a:xfrm>
                <a:off x="5668797"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9" name="Line 10"/>
              <p:cNvSpPr>
                <a:spLocks noChangeShapeType="1"/>
              </p:cNvSpPr>
              <p:nvPr/>
            </p:nvSpPr>
            <p:spPr bwMode="auto">
              <a:xfrm>
                <a:off x="5668797"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0" name="Line 11"/>
              <p:cNvSpPr>
                <a:spLocks noChangeShapeType="1"/>
              </p:cNvSpPr>
              <p:nvPr/>
            </p:nvSpPr>
            <p:spPr bwMode="auto">
              <a:xfrm>
                <a:off x="5668797"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1" name="Line 12"/>
              <p:cNvSpPr>
                <a:spLocks noChangeShapeType="1"/>
              </p:cNvSpPr>
              <p:nvPr/>
            </p:nvSpPr>
            <p:spPr bwMode="auto">
              <a:xfrm>
                <a:off x="5668797"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2" name="Oval 231"/>
              <p:cNvSpPr>
                <a:spLocks noChangeArrowheads="1"/>
              </p:cNvSpPr>
              <p:nvPr/>
            </p:nvSpPr>
            <p:spPr bwMode="auto">
              <a:xfrm>
                <a:off x="6123764"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3" name="Freeform 18"/>
              <p:cNvSpPr>
                <a:spLocks/>
              </p:cNvSpPr>
              <p:nvPr/>
            </p:nvSpPr>
            <p:spPr bwMode="auto">
              <a:xfrm>
                <a:off x="6235483" y="3185611"/>
                <a:ext cx="522970" cy="976319"/>
              </a:xfrm>
              <a:custGeom>
                <a:avLst/>
                <a:gdLst>
                  <a:gd name="T0" fmla="*/ 0 w 1682"/>
                  <a:gd name="T1" fmla="*/ 3137 h 3137"/>
                  <a:gd name="T2" fmla="*/ 1682 w 1682"/>
                  <a:gd name="T3" fmla="*/ 3137 h 3137"/>
                  <a:gd name="T4" fmla="*/ 1682 w 1682"/>
                  <a:gd name="T5" fmla="*/ 124 h 3137"/>
                  <a:gd name="T6" fmla="*/ 1558 w 1682"/>
                  <a:gd name="T7" fmla="*/ 0 h 3137"/>
                  <a:gd name="T8" fmla="*/ 124 w 1682"/>
                  <a:gd name="T9" fmla="*/ 0 h 3137"/>
                  <a:gd name="T10" fmla="*/ 0 w 1682"/>
                  <a:gd name="T11" fmla="*/ 124 h 3137"/>
                  <a:gd name="T12" fmla="*/ 0 w 1682"/>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2" h="3137">
                    <a:moveTo>
                      <a:pt x="0" y="3137"/>
                    </a:moveTo>
                    <a:cubicBezTo>
                      <a:pt x="1682" y="3137"/>
                      <a:pt x="1682" y="3137"/>
                      <a:pt x="1682" y="3137"/>
                    </a:cubicBezTo>
                    <a:cubicBezTo>
                      <a:pt x="1682" y="124"/>
                      <a:pt x="1682" y="124"/>
                      <a:pt x="1682" y="124"/>
                    </a:cubicBezTo>
                    <a:cubicBezTo>
                      <a:pt x="1682" y="56"/>
                      <a:pt x="1627" y="0"/>
                      <a:pt x="1558" y="0"/>
                    </a:cubicBezTo>
                    <a:cubicBezTo>
                      <a:pt x="124" y="0"/>
                      <a:pt x="124" y="0"/>
                      <a:pt x="124" y="0"/>
                    </a:cubicBezTo>
                    <a:cubicBezTo>
                      <a:pt x="55"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4" name="Line 19"/>
              <p:cNvSpPr>
                <a:spLocks noChangeShapeType="1"/>
              </p:cNvSpPr>
              <p:nvPr/>
            </p:nvSpPr>
            <p:spPr bwMode="auto">
              <a:xfrm>
                <a:off x="6235483"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5" name="Line 20"/>
              <p:cNvSpPr>
                <a:spLocks noChangeShapeType="1"/>
              </p:cNvSpPr>
              <p:nvPr/>
            </p:nvSpPr>
            <p:spPr bwMode="auto">
              <a:xfrm>
                <a:off x="6235483"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6" name="Line 21"/>
              <p:cNvSpPr>
                <a:spLocks noChangeShapeType="1"/>
              </p:cNvSpPr>
              <p:nvPr/>
            </p:nvSpPr>
            <p:spPr bwMode="auto">
              <a:xfrm>
                <a:off x="6235483"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7" name="Line 22"/>
              <p:cNvSpPr>
                <a:spLocks noChangeShapeType="1"/>
              </p:cNvSpPr>
              <p:nvPr/>
            </p:nvSpPr>
            <p:spPr bwMode="auto">
              <a:xfrm>
                <a:off x="6235483"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8" name="Line 23"/>
              <p:cNvSpPr>
                <a:spLocks noChangeShapeType="1"/>
              </p:cNvSpPr>
              <p:nvPr/>
            </p:nvSpPr>
            <p:spPr bwMode="auto">
              <a:xfrm>
                <a:off x="6235483"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9" name="Line 24"/>
              <p:cNvSpPr>
                <a:spLocks noChangeShapeType="1"/>
              </p:cNvSpPr>
              <p:nvPr/>
            </p:nvSpPr>
            <p:spPr bwMode="auto">
              <a:xfrm>
                <a:off x="6235483"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0" name="Line 25"/>
              <p:cNvSpPr>
                <a:spLocks noChangeShapeType="1"/>
              </p:cNvSpPr>
              <p:nvPr/>
            </p:nvSpPr>
            <p:spPr bwMode="auto">
              <a:xfrm>
                <a:off x="6235483"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1" name="Oval 240"/>
              <p:cNvSpPr>
                <a:spLocks noChangeArrowheads="1"/>
              </p:cNvSpPr>
              <p:nvPr/>
            </p:nvSpPr>
            <p:spPr bwMode="auto">
              <a:xfrm>
                <a:off x="6690450"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2" name="Freeform 31"/>
              <p:cNvSpPr>
                <a:spLocks/>
              </p:cNvSpPr>
              <p:nvPr/>
            </p:nvSpPr>
            <p:spPr bwMode="auto">
              <a:xfrm>
                <a:off x="6802169" y="3185611"/>
                <a:ext cx="522970" cy="976319"/>
              </a:xfrm>
              <a:custGeom>
                <a:avLst/>
                <a:gdLst>
                  <a:gd name="T0" fmla="*/ 0 w 1683"/>
                  <a:gd name="T1" fmla="*/ 3137 h 3137"/>
                  <a:gd name="T2" fmla="*/ 1683 w 1683"/>
                  <a:gd name="T3" fmla="*/ 3137 h 3137"/>
                  <a:gd name="T4" fmla="*/ 1683 w 1683"/>
                  <a:gd name="T5" fmla="*/ 124 h 3137"/>
                  <a:gd name="T6" fmla="*/ 1559 w 1683"/>
                  <a:gd name="T7" fmla="*/ 0 h 3137"/>
                  <a:gd name="T8" fmla="*/ 125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9" y="0"/>
                    </a:cubicBezTo>
                    <a:cubicBezTo>
                      <a:pt x="125" y="0"/>
                      <a:pt x="125" y="0"/>
                      <a:pt x="125"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3" name="Line 32"/>
              <p:cNvSpPr>
                <a:spLocks noChangeShapeType="1"/>
              </p:cNvSpPr>
              <p:nvPr/>
            </p:nvSpPr>
            <p:spPr bwMode="auto">
              <a:xfrm>
                <a:off x="6802169"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4" name="Line 33"/>
              <p:cNvSpPr>
                <a:spLocks noChangeShapeType="1"/>
              </p:cNvSpPr>
              <p:nvPr/>
            </p:nvSpPr>
            <p:spPr bwMode="auto">
              <a:xfrm>
                <a:off x="6802169"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5" name="Line 34"/>
              <p:cNvSpPr>
                <a:spLocks noChangeShapeType="1"/>
              </p:cNvSpPr>
              <p:nvPr/>
            </p:nvSpPr>
            <p:spPr bwMode="auto">
              <a:xfrm>
                <a:off x="6802169"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6" name="Line 35"/>
              <p:cNvSpPr>
                <a:spLocks noChangeShapeType="1"/>
              </p:cNvSpPr>
              <p:nvPr/>
            </p:nvSpPr>
            <p:spPr bwMode="auto">
              <a:xfrm>
                <a:off x="6802169"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7" name="Line 36"/>
              <p:cNvSpPr>
                <a:spLocks noChangeShapeType="1"/>
              </p:cNvSpPr>
              <p:nvPr/>
            </p:nvSpPr>
            <p:spPr bwMode="auto">
              <a:xfrm>
                <a:off x="6802169"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8" name="Line 37"/>
              <p:cNvSpPr>
                <a:spLocks noChangeShapeType="1"/>
              </p:cNvSpPr>
              <p:nvPr/>
            </p:nvSpPr>
            <p:spPr bwMode="auto">
              <a:xfrm>
                <a:off x="6802169"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9" name="Line 38"/>
              <p:cNvSpPr>
                <a:spLocks noChangeShapeType="1"/>
              </p:cNvSpPr>
              <p:nvPr/>
            </p:nvSpPr>
            <p:spPr bwMode="auto">
              <a:xfrm>
                <a:off x="6802169"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50" name="Oval 249"/>
              <p:cNvSpPr>
                <a:spLocks noChangeArrowheads="1"/>
              </p:cNvSpPr>
              <p:nvPr/>
            </p:nvSpPr>
            <p:spPr bwMode="auto">
              <a:xfrm>
                <a:off x="7255518"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51" name="Line 44"/>
              <p:cNvSpPr>
                <a:spLocks noChangeShapeType="1"/>
              </p:cNvSpPr>
              <p:nvPr/>
            </p:nvSpPr>
            <p:spPr bwMode="auto">
              <a:xfrm>
                <a:off x="5616570" y="4166787"/>
                <a:ext cx="1767157"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grpSp>
      </p:grpSp>
      <p:sp>
        <p:nvSpPr>
          <p:cNvPr id="5" name="Title 4">
            <a:extLst>
              <a:ext uri="{FF2B5EF4-FFF2-40B4-BE49-F238E27FC236}">
                <a16:creationId xmlns:a16="http://schemas.microsoft.com/office/drawing/2014/main" id="{48B2130B-F28D-45B5-B605-250348D28816}"/>
              </a:ext>
            </a:extLst>
          </p:cNvPr>
          <p:cNvSpPr>
            <a:spLocks noGrp="1"/>
          </p:cNvSpPr>
          <p:nvPr>
            <p:ph type="title" idx="4294967295"/>
          </p:nvPr>
        </p:nvSpPr>
        <p:spPr>
          <a:xfrm>
            <a:off x="536576" y="288925"/>
            <a:ext cx="11655425" cy="900113"/>
          </a:xfrm>
        </p:spPr>
        <p:txBody>
          <a:bodyPr/>
          <a:lstStyle/>
          <a:p>
            <a:pPr algn="ctr"/>
            <a:r>
              <a:rPr lang="en-US" sz="2400" b="1" spc="294" dirty="0">
                <a:gradFill>
                  <a:gsLst>
                    <a:gs pos="1250">
                      <a:schemeClr val="tx2"/>
                    </a:gs>
                    <a:gs pos="100000">
                      <a:schemeClr val="tx2"/>
                    </a:gs>
                  </a:gsLst>
                  <a:lin ang="5400000" scaled="0"/>
                </a:gradFill>
                <a:latin typeface="Segoe UI" panose="020B0502040204020203" pitchFamily="34" charset="0"/>
              </a:rPr>
              <a:t>WHAT IS HIGH PERFORMANCE COMPUTING?</a:t>
            </a:r>
          </a:p>
        </p:txBody>
      </p:sp>
      <p:grpSp>
        <p:nvGrpSpPr>
          <p:cNvPr id="432" name="Group 431">
            <a:extLst>
              <a:ext uri="{FF2B5EF4-FFF2-40B4-BE49-F238E27FC236}">
                <a16:creationId xmlns:a16="http://schemas.microsoft.com/office/drawing/2014/main" id="{2832D383-ACC0-462B-B7EF-1A9418D9D1CF}"/>
              </a:ext>
            </a:extLst>
          </p:cNvPr>
          <p:cNvGrpSpPr/>
          <p:nvPr/>
        </p:nvGrpSpPr>
        <p:grpSpPr>
          <a:xfrm>
            <a:off x="2471861" y="2755060"/>
            <a:ext cx="975499" cy="924118"/>
            <a:chOff x="2521426" y="2809809"/>
            <a:chExt cx="995060" cy="942649"/>
          </a:xfrm>
        </p:grpSpPr>
        <p:sp>
          <p:nvSpPr>
            <p:cNvPr id="107" name="Rectangle 106"/>
            <p:cNvSpPr/>
            <p:nvPr/>
          </p:nvSpPr>
          <p:spPr>
            <a:xfrm>
              <a:off x="2521426" y="3582926"/>
              <a:ext cx="995060" cy="169532"/>
            </a:xfrm>
            <a:prstGeom prst="rect">
              <a:avLst/>
            </a:prstGeom>
            <a:ln>
              <a:solidFill>
                <a:schemeClr val="tx2"/>
              </a:solidFill>
            </a:ln>
          </p:spPr>
          <p:txBody>
            <a:bodyPr vert="horz" wrap="square" lIns="0" tIns="0" rIns="0" bIns="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Oil &amp; Gas</a:t>
              </a:r>
            </a:p>
          </p:txBody>
        </p:sp>
        <p:grpSp>
          <p:nvGrpSpPr>
            <p:cNvPr id="26" name="Group 27">
              <a:extLst>
                <a:ext uri="{FF2B5EF4-FFF2-40B4-BE49-F238E27FC236}">
                  <a16:creationId xmlns:a16="http://schemas.microsoft.com/office/drawing/2014/main" id="{40311371-CB89-4247-AD51-1E216FDCD95A}"/>
                </a:ext>
              </a:extLst>
            </p:cNvPr>
            <p:cNvGrpSpPr>
              <a:grpSpLocks noChangeAspect="1"/>
            </p:cNvGrpSpPr>
            <p:nvPr/>
          </p:nvGrpSpPr>
          <p:grpSpPr bwMode="auto">
            <a:xfrm>
              <a:off x="2710188" y="2809809"/>
              <a:ext cx="617537" cy="623888"/>
              <a:chOff x="1956" y="1603"/>
              <a:chExt cx="389" cy="393"/>
            </a:xfrm>
            <a:solidFill>
              <a:srgbClr val="E6E6E6"/>
            </a:solidFill>
          </p:grpSpPr>
          <p:sp>
            <p:nvSpPr>
              <p:cNvPr id="28" name="Rectangle 28">
                <a:extLst>
                  <a:ext uri="{FF2B5EF4-FFF2-40B4-BE49-F238E27FC236}">
                    <a16:creationId xmlns:a16="http://schemas.microsoft.com/office/drawing/2014/main" id="{8CB8652E-6FA2-4A2C-B85C-A71783413A2C}"/>
                  </a:ext>
                </a:extLst>
              </p:cNvPr>
              <p:cNvSpPr>
                <a:spLocks noChangeArrowheads="1"/>
              </p:cNvSpPr>
              <p:nvPr/>
            </p:nvSpPr>
            <p:spPr bwMode="auto">
              <a:xfrm>
                <a:off x="1973" y="1872"/>
                <a:ext cx="55" cy="7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 name="Freeform 29">
                <a:extLst>
                  <a:ext uri="{FF2B5EF4-FFF2-40B4-BE49-F238E27FC236}">
                    <a16:creationId xmlns:a16="http://schemas.microsoft.com/office/drawing/2014/main" id="{5563D221-3FEE-4A8C-B056-ABD9F6A04351}"/>
                  </a:ext>
                </a:extLst>
              </p:cNvPr>
              <p:cNvSpPr>
                <a:spLocks/>
              </p:cNvSpPr>
              <p:nvPr/>
            </p:nvSpPr>
            <p:spPr bwMode="auto">
              <a:xfrm>
                <a:off x="2017" y="1648"/>
                <a:ext cx="280" cy="104"/>
              </a:xfrm>
              <a:custGeom>
                <a:avLst/>
                <a:gdLst>
                  <a:gd name="T0" fmla="*/ 0 w 280"/>
                  <a:gd name="T1" fmla="*/ 104 h 104"/>
                  <a:gd name="T2" fmla="*/ 280 w 280"/>
                  <a:gd name="T3" fmla="*/ 0 h 104"/>
                  <a:gd name="T4" fmla="*/ 0 w 280"/>
                  <a:gd name="T5" fmla="*/ 104 h 104"/>
                </a:gdLst>
                <a:ahLst/>
                <a:cxnLst>
                  <a:cxn ang="0">
                    <a:pos x="T0" y="T1"/>
                  </a:cxn>
                  <a:cxn ang="0">
                    <a:pos x="T2" y="T3"/>
                  </a:cxn>
                  <a:cxn ang="0">
                    <a:pos x="T4" y="T5"/>
                  </a:cxn>
                </a:cxnLst>
                <a:rect l="0" t="0" r="r" b="b"/>
                <a:pathLst>
                  <a:path w="280" h="104">
                    <a:moveTo>
                      <a:pt x="0" y="104"/>
                    </a:moveTo>
                    <a:lnTo>
                      <a:pt x="280" y="0"/>
                    </a:lnTo>
                    <a:lnTo>
                      <a:pt x="0" y="104"/>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 name="Line 30">
                <a:extLst>
                  <a:ext uri="{FF2B5EF4-FFF2-40B4-BE49-F238E27FC236}">
                    <a16:creationId xmlns:a16="http://schemas.microsoft.com/office/drawing/2014/main" id="{DCC33C88-90CA-4AF8-98E6-36E4D0F37D1F}"/>
                  </a:ext>
                </a:extLst>
              </p:cNvPr>
              <p:cNvSpPr>
                <a:spLocks noChangeShapeType="1"/>
              </p:cNvSpPr>
              <p:nvPr/>
            </p:nvSpPr>
            <p:spPr bwMode="auto">
              <a:xfrm flipV="1">
                <a:off x="2017" y="1648"/>
                <a:ext cx="280" cy="104"/>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 name="Freeform 31">
                <a:extLst>
                  <a:ext uri="{FF2B5EF4-FFF2-40B4-BE49-F238E27FC236}">
                    <a16:creationId xmlns:a16="http://schemas.microsoft.com/office/drawing/2014/main" id="{4305EEA5-5DF4-4443-B309-F16D00D08A9A}"/>
                  </a:ext>
                </a:extLst>
              </p:cNvPr>
              <p:cNvSpPr>
                <a:spLocks/>
              </p:cNvSpPr>
              <p:nvPr/>
            </p:nvSpPr>
            <p:spPr bwMode="auto">
              <a:xfrm>
                <a:off x="2284" y="1603"/>
                <a:ext cx="61" cy="98"/>
              </a:xfrm>
              <a:custGeom>
                <a:avLst/>
                <a:gdLst>
                  <a:gd name="T0" fmla="*/ 61 w 61"/>
                  <a:gd name="T1" fmla="*/ 76 h 98"/>
                  <a:gd name="T2" fmla="*/ 37 w 61"/>
                  <a:gd name="T3" fmla="*/ 98 h 98"/>
                  <a:gd name="T4" fmla="*/ 0 w 61"/>
                  <a:gd name="T5" fmla="*/ 0 h 98"/>
                  <a:gd name="T6" fmla="*/ 33 w 61"/>
                  <a:gd name="T7" fmla="*/ 0 h 98"/>
                  <a:gd name="T8" fmla="*/ 61 w 61"/>
                  <a:gd name="T9" fmla="*/ 76 h 98"/>
                </a:gdLst>
                <a:ahLst/>
                <a:cxnLst>
                  <a:cxn ang="0">
                    <a:pos x="T0" y="T1"/>
                  </a:cxn>
                  <a:cxn ang="0">
                    <a:pos x="T2" y="T3"/>
                  </a:cxn>
                  <a:cxn ang="0">
                    <a:pos x="T4" y="T5"/>
                  </a:cxn>
                  <a:cxn ang="0">
                    <a:pos x="T6" y="T7"/>
                  </a:cxn>
                  <a:cxn ang="0">
                    <a:pos x="T8" y="T9"/>
                  </a:cxn>
                </a:cxnLst>
                <a:rect l="0" t="0" r="r" b="b"/>
                <a:pathLst>
                  <a:path w="61" h="98">
                    <a:moveTo>
                      <a:pt x="61" y="76"/>
                    </a:moveTo>
                    <a:lnTo>
                      <a:pt x="37" y="98"/>
                    </a:lnTo>
                    <a:lnTo>
                      <a:pt x="0" y="0"/>
                    </a:lnTo>
                    <a:lnTo>
                      <a:pt x="33" y="0"/>
                    </a:lnTo>
                    <a:lnTo>
                      <a:pt x="61" y="7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3" name="Freeform 33">
                <a:extLst>
                  <a:ext uri="{FF2B5EF4-FFF2-40B4-BE49-F238E27FC236}">
                    <a16:creationId xmlns:a16="http://schemas.microsoft.com/office/drawing/2014/main" id="{260ECB19-5373-4B77-93F5-AD1D1E09767D}"/>
                  </a:ext>
                </a:extLst>
              </p:cNvPr>
              <p:cNvSpPr>
                <a:spLocks/>
              </p:cNvSpPr>
              <p:nvPr/>
            </p:nvSpPr>
            <p:spPr bwMode="auto">
              <a:xfrm>
                <a:off x="2071" y="1681"/>
                <a:ext cx="164" cy="315"/>
              </a:xfrm>
              <a:custGeom>
                <a:avLst/>
                <a:gdLst>
                  <a:gd name="T0" fmla="*/ 142 w 164"/>
                  <a:gd name="T1" fmla="*/ 200 h 315"/>
                  <a:gd name="T2" fmla="*/ 0 w 164"/>
                  <a:gd name="T3" fmla="*/ 315 h 315"/>
                  <a:gd name="T4" fmla="*/ 57 w 164"/>
                  <a:gd name="T5" fmla="*/ 0 h 315"/>
                  <a:gd name="T6" fmla="*/ 108 w 164"/>
                  <a:gd name="T7" fmla="*/ 0 h 315"/>
                  <a:gd name="T8" fmla="*/ 164 w 164"/>
                  <a:gd name="T9" fmla="*/ 315 h 315"/>
                  <a:gd name="T10" fmla="*/ 20 w 164"/>
                  <a:gd name="T11" fmla="*/ 200 h 315"/>
                </a:gdLst>
                <a:ahLst/>
                <a:cxnLst>
                  <a:cxn ang="0">
                    <a:pos x="T0" y="T1"/>
                  </a:cxn>
                  <a:cxn ang="0">
                    <a:pos x="T2" y="T3"/>
                  </a:cxn>
                  <a:cxn ang="0">
                    <a:pos x="T4" y="T5"/>
                  </a:cxn>
                  <a:cxn ang="0">
                    <a:pos x="T6" y="T7"/>
                  </a:cxn>
                  <a:cxn ang="0">
                    <a:pos x="T8" y="T9"/>
                  </a:cxn>
                  <a:cxn ang="0">
                    <a:pos x="T10" y="T11"/>
                  </a:cxn>
                </a:cxnLst>
                <a:rect l="0" t="0" r="r" b="b"/>
                <a:pathLst>
                  <a:path w="164" h="315">
                    <a:moveTo>
                      <a:pt x="142" y="200"/>
                    </a:moveTo>
                    <a:lnTo>
                      <a:pt x="0" y="315"/>
                    </a:lnTo>
                    <a:lnTo>
                      <a:pt x="57" y="0"/>
                    </a:lnTo>
                    <a:lnTo>
                      <a:pt x="108" y="0"/>
                    </a:lnTo>
                    <a:lnTo>
                      <a:pt x="164" y="315"/>
                    </a:lnTo>
                    <a:lnTo>
                      <a:pt x="20" y="200"/>
                    </a:ln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5" name="Line 35">
                <a:extLst>
                  <a:ext uri="{FF2B5EF4-FFF2-40B4-BE49-F238E27FC236}">
                    <a16:creationId xmlns:a16="http://schemas.microsoft.com/office/drawing/2014/main" id="{94AE6C0F-B74A-4E8E-BCEE-E40B79F28988}"/>
                  </a:ext>
                </a:extLst>
              </p:cNvPr>
              <p:cNvSpPr>
                <a:spLocks noChangeShapeType="1"/>
              </p:cNvSpPr>
              <p:nvPr/>
            </p:nvSpPr>
            <p:spPr bwMode="auto">
              <a:xfrm flipH="1" flipV="1">
                <a:off x="2108"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99" name="Freeform 36">
                <a:extLst>
                  <a:ext uri="{FF2B5EF4-FFF2-40B4-BE49-F238E27FC236}">
                    <a16:creationId xmlns:a16="http://schemas.microsoft.com/office/drawing/2014/main" id="{1001655C-9B3B-4DA4-ACA4-B68EE4F18A85}"/>
                  </a:ext>
                </a:extLst>
              </p:cNvPr>
              <p:cNvSpPr>
                <a:spLocks/>
              </p:cNvSpPr>
              <p:nvPr/>
            </p:nvSpPr>
            <p:spPr bwMode="auto">
              <a:xfrm>
                <a:off x="2093" y="1798"/>
                <a:ext cx="104" cy="83"/>
              </a:xfrm>
              <a:custGeom>
                <a:avLst/>
                <a:gdLst>
                  <a:gd name="T0" fmla="*/ 0 w 104"/>
                  <a:gd name="T1" fmla="*/ 83 h 83"/>
                  <a:gd name="T2" fmla="*/ 104 w 104"/>
                  <a:gd name="T3" fmla="*/ 0 h 83"/>
                  <a:gd name="T4" fmla="*/ 0 w 104"/>
                  <a:gd name="T5" fmla="*/ 83 h 83"/>
                </a:gdLst>
                <a:ahLst/>
                <a:cxnLst>
                  <a:cxn ang="0">
                    <a:pos x="T0" y="T1"/>
                  </a:cxn>
                  <a:cxn ang="0">
                    <a:pos x="T2" y="T3"/>
                  </a:cxn>
                  <a:cxn ang="0">
                    <a:pos x="T4" y="T5"/>
                  </a:cxn>
                </a:cxnLst>
                <a:rect l="0" t="0" r="r" b="b"/>
                <a:pathLst>
                  <a:path w="104" h="83">
                    <a:moveTo>
                      <a:pt x="0" y="83"/>
                    </a:moveTo>
                    <a:lnTo>
                      <a:pt x="104" y="0"/>
                    </a:lnTo>
                    <a:lnTo>
                      <a:pt x="0" y="83"/>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0" name="Line 37">
                <a:extLst>
                  <a:ext uri="{FF2B5EF4-FFF2-40B4-BE49-F238E27FC236}">
                    <a16:creationId xmlns:a16="http://schemas.microsoft.com/office/drawing/2014/main" id="{B768604E-A285-464C-BF2E-E60BC90510FE}"/>
                  </a:ext>
                </a:extLst>
              </p:cNvPr>
              <p:cNvSpPr>
                <a:spLocks noChangeShapeType="1"/>
              </p:cNvSpPr>
              <p:nvPr/>
            </p:nvSpPr>
            <p:spPr bwMode="auto">
              <a:xfrm flipV="1">
                <a:off x="2093"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1" name="Freeform 38">
                <a:extLst>
                  <a:ext uri="{FF2B5EF4-FFF2-40B4-BE49-F238E27FC236}">
                    <a16:creationId xmlns:a16="http://schemas.microsoft.com/office/drawing/2014/main" id="{04B30B27-5F46-4777-BCA1-FE835BBB700B}"/>
                  </a:ext>
                </a:extLst>
              </p:cNvPr>
              <p:cNvSpPr>
                <a:spLocks/>
              </p:cNvSpPr>
              <p:nvPr/>
            </p:nvSpPr>
            <p:spPr bwMode="auto">
              <a:xfrm>
                <a:off x="2115" y="1747"/>
                <a:ext cx="75" cy="0"/>
              </a:xfrm>
              <a:custGeom>
                <a:avLst/>
                <a:gdLst>
                  <a:gd name="T0" fmla="*/ 0 w 75"/>
                  <a:gd name="T1" fmla="*/ 75 w 75"/>
                  <a:gd name="T2" fmla="*/ 0 w 75"/>
                </a:gdLst>
                <a:ahLst/>
                <a:cxnLst>
                  <a:cxn ang="0">
                    <a:pos x="T0" y="0"/>
                  </a:cxn>
                  <a:cxn ang="0">
                    <a:pos x="T1" y="0"/>
                  </a:cxn>
                  <a:cxn ang="0">
                    <a:pos x="T2" y="0"/>
                  </a:cxn>
                </a:cxnLst>
                <a:rect l="0" t="0" r="r" b="b"/>
                <a:pathLst>
                  <a:path w="75">
                    <a:moveTo>
                      <a:pt x="0" y="0"/>
                    </a:moveTo>
                    <a:lnTo>
                      <a:pt x="75"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2" name="Line 39">
                <a:extLst>
                  <a:ext uri="{FF2B5EF4-FFF2-40B4-BE49-F238E27FC236}">
                    <a16:creationId xmlns:a16="http://schemas.microsoft.com/office/drawing/2014/main" id="{244E74A5-41D8-4156-BB9D-3769CE7489EA}"/>
                  </a:ext>
                </a:extLst>
              </p:cNvPr>
              <p:cNvSpPr>
                <a:spLocks noChangeShapeType="1"/>
              </p:cNvSpPr>
              <p:nvPr/>
            </p:nvSpPr>
            <p:spPr bwMode="auto">
              <a:xfrm>
                <a:off x="2115" y="1747"/>
                <a:ext cx="7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3" name="Oval 40">
                <a:extLst>
                  <a:ext uri="{FF2B5EF4-FFF2-40B4-BE49-F238E27FC236}">
                    <a16:creationId xmlns:a16="http://schemas.microsoft.com/office/drawing/2014/main" id="{B9CBA209-DB55-47BC-A0F1-7DF74DDEBCB6}"/>
                  </a:ext>
                </a:extLst>
              </p:cNvPr>
              <p:cNvSpPr>
                <a:spLocks noChangeArrowheads="1"/>
              </p:cNvSpPr>
              <p:nvPr/>
            </p:nvSpPr>
            <p:spPr bwMode="auto">
              <a:xfrm>
                <a:off x="2142" y="1699"/>
                <a:ext cx="20" cy="2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4" name="Freeform 41">
                <a:extLst>
                  <a:ext uri="{FF2B5EF4-FFF2-40B4-BE49-F238E27FC236}">
                    <a16:creationId xmlns:a16="http://schemas.microsoft.com/office/drawing/2014/main" id="{E7CF95A9-2FA8-402A-A182-B5209696A73E}"/>
                  </a:ext>
                </a:extLst>
              </p:cNvPr>
              <p:cNvSpPr>
                <a:spLocks/>
              </p:cNvSpPr>
              <p:nvPr/>
            </p:nvSpPr>
            <p:spPr bwMode="auto">
              <a:xfrm>
                <a:off x="2000" y="1787"/>
                <a:ext cx="0" cy="85"/>
              </a:xfrm>
              <a:custGeom>
                <a:avLst/>
                <a:gdLst>
                  <a:gd name="T0" fmla="*/ 0 h 85"/>
                  <a:gd name="T1" fmla="*/ 85 h 85"/>
                  <a:gd name="T2" fmla="*/ 0 h 85"/>
                </a:gdLst>
                <a:ahLst/>
                <a:cxnLst>
                  <a:cxn ang="0">
                    <a:pos x="0" y="T0"/>
                  </a:cxn>
                  <a:cxn ang="0">
                    <a:pos x="0" y="T1"/>
                  </a:cxn>
                  <a:cxn ang="0">
                    <a:pos x="0" y="T2"/>
                  </a:cxn>
                </a:cxnLst>
                <a:rect l="0" t="0" r="r" b="b"/>
                <a:pathLst>
                  <a:path h="85">
                    <a:moveTo>
                      <a:pt x="0" y="0"/>
                    </a:moveTo>
                    <a:lnTo>
                      <a:pt x="0" y="8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5" name="Line 42">
                <a:extLst>
                  <a:ext uri="{FF2B5EF4-FFF2-40B4-BE49-F238E27FC236}">
                    <a16:creationId xmlns:a16="http://schemas.microsoft.com/office/drawing/2014/main" id="{4935B3E9-33B6-4848-AD04-AFF334CD82F3}"/>
                  </a:ext>
                </a:extLst>
              </p:cNvPr>
              <p:cNvSpPr>
                <a:spLocks noChangeShapeType="1"/>
              </p:cNvSpPr>
              <p:nvPr/>
            </p:nvSpPr>
            <p:spPr bwMode="auto">
              <a:xfrm>
                <a:off x="2000" y="1787"/>
                <a:ext cx="0" cy="8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6" name="Line 43">
                <a:extLst>
                  <a:ext uri="{FF2B5EF4-FFF2-40B4-BE49-F238E27FC236}">
                    <a16:creationId xmlns:a16="http://schemas.microsoft.com/office/drawing/2014/main" id="{EA9AC31A-F9A7-463E-BB4E-6A20F64CFEFA}"/>
                  </a:ext>
                </a:extLst>
              </p:cNvPr>
              <p:cNvSpPr>
                <a:spLocks noChangeShapeType="1"/>
              </p:cNvSpPr>
              <p:nvPr/>
            </p:nvSpPr>
            <p:spPr bwMode="auto">
              <a:xfrm>
                <a:off x="2334" y="1690"/>
                <a:ext cx="0" cy="0"/>
              </a:xfrm>
              <a:prstGeom prst="line">
                <a:avLst/>
              </a:prstGeom>
              <a:grpFill/>
              <a:ln w="19050">
                <a:solidFill>
                  <a:schemeClr val="tx2"/>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8" name="Line 44">
                <a:extLst>
                  <a:ext uri="{FF2B5EF4-FFF2-40B4-BE49-F238E27FC236}">
                    <a16:creationId xmlns:a16="http://schemas.microsoft.com/office/drawing/2014/main" id="{DF88F36B-80D5-4920-8E1A-27A1DBCF20B8}"/>
                  </a:ext>
                </a:extLst>
              </p:cNvPr>
              <p:cNvSpPr>
                <a:spLocks noChangeShapeType="1"/>
              </p:cNvSpPr>
              <p:nvPr/>
            </p:nvSpPr>
            <p:spPr bwMode="auto">
              <a:xfrm>
                <a:off x="2334" y="1690"/>
                <a:ext cx="0"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9" name="Freeform 45">
                <a:extLst>
                  <a:ext uri="{FF2B5EF4-FFF2-40B4-BE49-F238E27FC236}">
                    <a16:creationId xmlns:a16="http://schemas.microsoft.com/office/drawing/2014/main" id="{25664A5D-AD95-475A-9581-CF2FC8BDBF6D}"/>
                  </a:ext>
                </a:extLst>
              </p:cNvPr>
              <p:cNvSpPr>
                <a:spLocks/>
              </p:cNvSpPr>
              <p:nvPr/>
            </p:nvSpPr>
            <p:spPr bwMode="auto">
              <a:xfrm>
                <a:off x="1956" y="1719"/>
                <a:ext cx="90" cy="77"/>
              </a:xfrm>
              <a:custGeom>
                <a:avLst/>
                <a:gdLst>
                  <a:gd name="T0" fmla="*/ 90 w 90"/>
                  <a:gd name="T1" fmla="*/ 51 h 77"/>
                  <a:gd name="T2" fmla="*/ 19 w 90"/>
                  <a:gd name="T3" fmla="*/ 77 h 77"/>
                  <a:gd name="T4" fmla="*/ 0 w 90"/>
                  <a:gd name="T5" fmla="*/ 28 h 77"/>
                  <a:gd name="T6" fmla="*/ 72 w 90"/>
                  <a:gd name="T7" fmla="*/ 0 h 77"/>
                  <a:gd name="T8" fmla="*/ 90 w 90"/>
                  <a:gd name="T9" fmla="*/ 51 h 77"/>
                </a:gdLst>
                <a:ahLst/>
                <a:cxnLst>
                  <a:cxn ang="0">
                    <a:pos x="T0" y="T1"/>
                  </a:cxn>
                  <a:cxn ang="0">
                    <a:pos x="T2" y="T3"/>
                  </a:cxn>
                  <a:cxn ang="0">
                    <a:pos x="T4" y="T5"/>
                  </a:cxn>
                  <a:cxn ang="0">
                    <a:pos x="T6" y="T7"/>
                  </a:cxn>
                  <a:cxn ang="0">
                    <a:pos x="T8" y="T9"/>
                  </a:cxn>
                </a:cxnLst>
                <a:rect l="0" t="0" r="r" b="b"/>
                <a:pathLst>
                  <a:path w="90" h="77">
                    <a:moveTo>
                      <a:pt x="90" y="51"/>
                    </a:moveTo>
                    <a:lnTo>
                      <a:pt x="19" y="77"/>
                    </a:lnTo>
                    <a:lnTo>
                      <a:pt x="0" y="28"/>
                    </a:lnTo>
                    <a:lnTo>
                      <a:pt x="72" y="0"/>
                    </a:lnTo>
                    <a:lnTo>
                      <a:pt x="90" y="51"/>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0" name="Freeform 46">
                <a:extLst>
                  <a:ext uri="{FF2B5EF4-FFF2-40B4-BE49-F238E27FC236}">
                    <a16:creationId xmlns:a16="http://schemas.microsoft.com/office/drawing/2014/main" id="{80D2C0FD-4927-4D9C-B1F7-D3F678C0E754}"/>
                  </a:ext>
                </a:extLst>
              </p:cNvPr>
              <p:cNvSpPr>
                <a:spLocks/>
              </p:cNvSpPr>
              <p:nvPr/>
            </p:nvSpPr>
            <p:spPr bwMode="auto">
              <a:xfrm>
                <a:off x="1986" y="1743"/>
                <a:ext cx="31" cy="31"/>
              </a:xfrm>
              <a:custGeom>
                <a:avLst/>
                <a:gdLst>
                  <a:gd name="T0" fmla="*/ 15 w 17"/>
                  <a:gd name="T1" fmla="*/ 6 h 17"/>
                  <a:gd name="T2" fmla="*/ 6 w 17"/>
                  <a:gd name="T3" fmla="*/ 1 h 17"/>
                  <a:gd name="T4" fmla="*/ 1 w 17"/>
                  <a:gd name="T5" fmla="*/ 11 h 17"/>
                  <a:gd name="T6" fmla="*/ 11 w 17"/>
                  <a:gd name="T7" fmla="*/ 15 h 17"/>
                  <a:gd name="T8" fmla="*/ 15 w 17"/>
                  <a:gd name="T9" fmla="*/ 6 h 17"/>
                </a:gdLst>
                <a:ahLst/>
                <a:cxnLst>
                  <a:cxn ang="0">
                    <a:pos x="T0" y="T1"/>
                  </a:cxn>
                  <a:cxn ang="0">
                    <a:pos x="T2" y="T3"/>
                  </a:cxn>
                  <a:cxn ang="0">
                    <a:pos x="T4" y="T5"/>
                  </a:cxn>
                  <a:cxn ang="0">
                    <a:pos x="T6" y="T7"/>
                  </a:cxn>
                  <a:cxn ang="0">
                    <a:pos x="T8" y="T9"/>
                  </a:cxn>
                </a:cxnLst>
                <a:rect l="0" t="0" r="r" b="b"/>
                <a:pathLst>
                  <a:path w="17" h="17">
                    <a:moveTo>
                      <a:pt x="15" y="6"/>
                    </a:moveTo>
                    <a:cubicBezTo>
                      <a:pt x="14" y="2"/>
                      <a:pt x="9" y="0"/>
                      <a:pt x="6" y="1"/>
                    </a:cubicBezTo>
                    <a:cubicBezTo>
                      <a:pt x="2" y="3"/>
                      <a:pt x="0" y="7"/>
                      <a:pt x="1" y="11"/>
                    </a:cubicBezTo>
                    <a:cubicBezTo>
                      <a:pt x="3" y="15"/>
                      <a:pt x="7" y="17"/>
                      <a:pt x="11" y="15"/>
                    </a:cubicBezTo>
                    <a:cubicBezTo>
                      <a:pt x="15" y="14"/>
                      <a:pt x="17" y="10"/>
                      <a:pt x="15" y="6"/>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4" name="Group 433">
            <a:extLst>
              <a:ext uri="{FF2B5EF4-FFF2-40B4-BE49-F238E27FC236}">
                <a16:creationId xmlns:a16="http://schemas.microsoft.com/office/drawing/2014/main" id="{C30FF6AE-BB6B-4AA1-AE99-CBA950CCE746}"/>
              </a:ext>
            </a:extLst>
          </p:cNvPr>
          <p:cNvGrpSpPr/>
          <p:nvPr/>
        </p:nvGrpSpPr>
        <p:grpSpPr>
          <a:xfrm>
            <a:off x="2327012" y="4267828"/>
            <a:ext cx="1265196" cy="767442"/>
            <a:chOff x="2373673" y="4352910"/>
            <a:chExt cx="1290566" cy="782831"/>
          </a:xfrm>
        </p:grpSpPr>
        <p:sp>
          <p:nvSpPr>
            <p:cNvPr id="110" name="TextBox 109"/>
            <p:cNvSpPr txBox="1"/>
            <p:nvPr/>
          </p:nvSpPr>
          <p:spPr>
            <a:xfrm>
              <a:off x="2373673" y="4966209"/>
              <a:ext cx="129056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Ship engineering</a:t>
              </a:r>
            </a:p>
          </p:txBody>
        </p:sp>
        <p:grpSp>
          <p:nvGrpSpPr>
            <p:cNvPr id="161" name="Group 49">
              <a:extLst>
                <a:ext uri="{FF2B5EF4-FFF2-40B4-BE49-F238E27FC236}">
                  <a16:creationId xmlns:a16="http://schemas.microsoft.com/office/drawing/2014/main" id="{5C87BFCB-82EF-4BB8-AE8E-0AD65242EC5D}"/>
                </a:ext>
              </a:extLst>
            </p:cNvPr>
            <p:cNvGrpSpPr>
              <a:grpSpLocks noChangeAspect="1"/>
            </p:cNvGrpSpPr>
            <p:nvPr/>
          </p:nvGrpSpPr>
          <p:grpSpPr bwMode="auto">
            <a:xfrm>
              <a:off x="2672881" y="4352910"/>
              <a:ext cx="692150" cy="450850"/>
              <a:chOff x="1896" y="2649"/>
              <a:chExt cx="436" cy="284"/>
            </a:xfrm>
            <a:solidFill>
              <a:srgbClr val="E6E6E6"/>
            </a:solidFill>
          </p:grpSpPr>
          <p:sp>
            <p:nvSpPr>
              <p:cNvPr id="163" name="Freeform 50">
                <a:extLst>
                  <a:ext uri="{FF2B5EF4-FFF2-40B4-BE49-F238E27FC236}">
                    <a16:creationId xmlns:a16="http://schemas.microsoft.com/office/drawing/2014/main" id="{02A06938-3472-405D-B4CE-13BDE8586ECE}"/>
                  </a:ext>
                </a:extLst>
              </p:cNvPr>
              <p:cNvSpPr>
                <a:spLocks/>
              </p:cNvSpPr>
              <p:nvPr/>
            </p:nvSpPr>
            <p:spPr bwMode="auto">
              <a:xfrm>
                <a:off x="1896" y="2764"/>
                <a:ext cx="436" cy="169"/>
              </a:xfrm>
              <a:custGeom>
                <a:avLst/>
                <a:gdLst>
                  <a:gd name="T0" fmla="*/ 340 w 436"/>
                  <a:gd name="T1" fmla="*/ 169 h 169"/>
                  <a:gd name="T2" fmla="*/ 12 w 436"/>
                  <a:gd name="T3" fmla="*/ 169 h 169"/>
                  <a:gd name="T4" fmla="*/ 0 w 436"/>
                  <a:gd name="T5" fmla="*/ 33 h 169"/>
                  <a:gd name="T6" fmla="*/ 245 w 436"/>
                  <a:gd name="T7" fmla="*/ 33 h 169"/>
                  <a:gd name="T8" fmla="*/ 245 w 436"/>
                  <a:gd name="T9" fmla="*/ 0 h 169"/>
                  <a:gd name="T10" fmla="*/ 436 w 436"/>
                  <a:gd name="T11" fmla="*/ 0 h 169"/>
                  <a:gd name="T12" fmla="*/ 340 w 436"/>
                  <a:gd name="T13" fmla="*/ 169 h 169"/>
                </a:gdLst>
                <a:ahLst/>
                <a:cxnLst>
                  <a:cxn ang="0">
                    <a:pos x="T0" y="T1"/>
                  </a:cxn>
                  <a:cxn ang="0">
                    <a:pos x="T2" y="T3"/>
                  </a:cxn>
                  <a:cxn ang="0">
                    <a:pos x="T4" y="T5"/>
                  </a:cxn>
                  <a:cxn ang="0">
                    <a:pos x="T6" y="T7"/>
                  </a:cxn>
                  <a:cxn ang="0">
                    <a:pos x="T8" y="T9"/>
                  </a:cxn>
                  <a:cxn ang="0">
                    <a:pos x="T10" y="T11"/>
                  </a:cxn>
                  <a:cxn ang="0">
                    <a:pos x="T12" y="T13"/>
                  </a:cxn>
                </a:cxnLst>
                <a:rect l="0" t="0" r="r" b="b"/>
                <a:pathLst>
                  <a:path w="436" h="169">
                    <a:moveTo>
                      <a:pt x="340" y="169"/>
                    </a:moveTo>
                    <a:lnTo>
                      <a:pt x="12" y="169"/>
                    </a:lnTo>
                    <a:lnTo>
                      <a:pt x="0" y="33"/>
                    </a:lnTo>
                    <a:lnTo>
                      <a:pt x="245" y="33"/>
                    </a:lnTo>
                    <a:lnTo>
                      <a:pt x="245" y="0"/>
                    </a:lnTo>
                    <a:lnTo>
                      <a:pt x="436" y="0"/>
                    </a:lnTo>
                    <a:lnTo>
                      <a:pt x="340" y="16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4" name="Oval 51">
                <a:extLst>
                  <a:ext uri="{FF2B5EF4-FFF2-40B4-BE49-F238E27FC236}">
                    <a16:creationId xmlns:a16="http://schemas.microsoft.com/office/drawing/2014/main" id="{31ABE4A5-F275-4F3B-926D-B84921908E92}"/>
                  </a:ext>
                </a:extLst>
              </p:cNvPr>
              <p:cNvSpPr>
                <a:spLocks noChangeArrowheads="1"/>
              </p:cNvSpPr>
              <p:nvPr/>
            </p:nvSpPr>
            <p:spPr bwMode="auto">
              <a:xfrm>
                <a:off x="2092"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5" name="Oval 52">
                <a:extLst>
                  <a:ext uri="{FF2B5EF4-FFF2-40B4-BE49-F238E27FC236}">
                    <a16:creationId xmlns:a16="http://schemas.microsoft.com/office/drawing/2014/main" id="{8F171735-5CF6-47DB-B75F-6FF5C536AC09}"/>
                  </a:ext>
                </a:extLst>
              </p:cNvPr>
              <p:cNvSpPr>
                <a:spLocks noChangeArrowheads="1"/>
              </p:cNvSpPr>
              <p:nvPr/>
            </p:nvSpPr>
            <p:spPr bwMode="auto">
              <a:xfrm>
                <a:off x="2147"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6" name="Oval 53">
                <a:extLst>
                  <a:ext uri="{FF2B5EF4-FFF2-40B4-BE49-F238E27FC236}">
                    <a16:creationId xmlns:a16="http://schemas.microsoft.com/office/drawing/2014/main" id="{C3305633-7C90-4553-97E0-C803A8BDDADB}"/>
                  </a:ext>
                </a:extLst>
              </p:cNvPr>
              <p:cNvSpPr>
                <a:spLocks noChangeArrowheads="1"/>
              </p:cNvSpPr>
              <p:nvPr/>
            </p:nvSpPr>
            <p:spPr bwMode="auto">
              <a:xfrm>
                <a:off x="2201"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7" name="Rectangle 54">
                <a:extLst>
                  <a:ext uri="{FF2B5EF4-FFF2-40B4-BE49-F238E27FC236}">
                    <a16:creationId xmlns:a16="http://schemas.microsoft.com/office/drawing/2014/main" id="{A53EDF53-97F0-4CD6-AC4E-2A8D4A054039}"/>
                  </a:ext>
                </a:extLst>
              </p:cNvPr>
              <p:cNvSpPr>
                <a:spLocks noChangeArrowheads="1"/>
              </p:cNvSpPr>
              <p:nvPr/>
            </p:nvSpPr>
            <p:spPr bwMode="auto">
              <a:xfrm>
                <a:off x="1921" y="2715"/>
                <a:ext cx="191" cy="8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8" name="Freeform 55">
                <a:extLst>
                  <a:ext uri="{FF2B5EF4-FFF2-40B4-BE49-F238E27FC236}">
                    <a16:creationId xmlns:a16="http://schemas.microsoft.com/office/drawing/2014/main" id="{7F6784A7-72B8-4412-B4E7-B56829567E05}"/>
                  </a:ext>
                </a:extLst>
              </p:cNvPr>
              <p:cNvSpPr>
                <a:spLocks/>
              </p:cNvSpPr>
              <p:nvPr/>
            </p:nvSpPr>
            <p:spPr bwMode="auto">
              <a:xfrm>
                <a:off x="1952"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9" name="Line 56">
                <a:extLst>
                  <a:ext uri="{FF2B5EF4-FFF2-40B4-BE49-F238E27FC236}">
                    <a16:creationId xmlns:a16="http://schemas.microsoft.com/office/drawing/2014/main" id="{41BE26A5-988B-423C-AC34-BA54974DC388}"/>
                  </a:ext>
                </a:extLst>
              </p:cNvPr>
              <p:cNvSpPr>
                <a:spLocks noChangeShapeType="1"/>
              </p:cNvSpPr>
              <p:nvPr/>
            </p:nvSpPr>
            <p:spPr bwMode="auto">
              <a:xfrm>
                <a:off x="1952"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0" name="Freeform 57">
                <a:extLst>
                  <a:ext uri="{FF2B5EF4-FFF2-40B4-BE49-F238E27FC236}">
                    <a16:creationId xmlns:a16="http://schemas.microsoft.com/office/drawing/2014/main" id="{AB27F6DA-43F1-4736-93EE-1ABDCB5B9152}"/>
                  </a:ext>
                </a:extLst>
              </p:cNvPr>
              <p:cNvSpPr>
                <a:spLocks/>
              </p:cNvSpPr>
              <p:nvPr/>
            </p:nvSpPr>
            <p:spPr bwMode="auto">
              <a:xfrm>
                <a:off x="1999"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2" name="Line 58">
                <a:extLst>
                  <a:ext uri="{FF2B5EF4-FFF2-40B4-BE49-F238E27FC236}">
                    <a16:creationId xmlns:a16="http://schemas.microsoft.com/office/drawing/2014/main" id="{B2026C73-61E4-4BEF-8DA3-31C5A886B3D2}"/>
                  </a:ext>
                </a:extLst>
              </p:cNvPr>
              <p:cNvSpPr>
                <a:spLocks noChangeShapeType="1"/>
              </p:cNvSpPr>
              <p:nvPr/>
            </p:nvSpPr>
            <p:spPr bwMode="auto">
              <a:xfrm>
                <a:off x="1999"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4" name="Rectangle 59">
                <a:extLst>
                  <a:ext uri="{FF2B5EF4-FFF2-40B4-BE49-F238E27FC236}">
                    <a16:creationId xmlns:a16="http://schemas.microsoft.com/office/drawing/2014/main" id="{9321147E-B525-4874-911F-AE257F243059}"/>
                  </a:ext>
                </a:extLst>
              </p:cNvPr>
              <p:cNvSpPr>
                <a:spLocks noChangeArrowheads="1"/>
              </p:cNvSpPr>
              <p:nvPr/>
            </p:nvSpPr>
            <p:spPr bwMode="auto">
              <a:xfrm>
                <a:off x="1952"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5" name="Rectangle 60">
                <a:extLst>
                  <a:ext uri="{FF2B5EF4-FFF2-40B4-BE49-F238E27FC236}">
                    <a16:creationId xmlns:a16="http://schemas.microsoft.com/office/drawing/2014/main" id="{1F8B88BF-9F08-4D55-A669-6008C7EAAD0F}"/>
                  </a:ext>
                </a:extLst>
              </p:cNvPr>
              <p:cNvSpPr>
                <a:spLocks noChangeArrowheads="1"/>
              </p:cNvSpPr>
              <p:nvPr/>
            </p:nvSpPr>
            <p:spPr bwMode="auto">
              <a:xfrm>
                <a:off x="2034"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1" name="Group 430">
            <a:extLst>
              <a:ext uri="{FF2B5EF4-FFF2-40B4-BE49-F238E27FC236}">
                <a16:creationId xmlns:a16="http://schemas.microsoft.com/office/drawing/2014/main" id="{4A1EEEB5-6FFA-4399-BD44-A58A6B1038EC}"/>
              </a:ext>
            </a:extLst>
          </p:cNvPr>
          <p:cNvGrpSpPr/>
          <p:nvPr/>
        </p:nvGrpSpPr>
        <p:grpSpPr>
          <a:xfrm>
            <a:off x="785720" y="2893573"/>
            <a:ext cx="757134" cy="776273"/>
            <a:chOff x="801475" y="2951097"/>
            <a:chExt cx="772316" cy="791839"/>
          </a:xfrm>
        </p:grpSpPr>
        <p:sp>
          <p:nvSpPr>
            <p:cNvPr id="113" name="Rectangle 112"/>
            <p:cNvSpPr/>
            <p:nvPr/>
          </p:nvSpPr>
          <p:spPr>
            <a:xfrm>
              <a:off x="801475" y="3573659"/>
              <a:ext cx="772316" cy="16927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579" rtl="0" eaLnBrk="1" fontAlgn="base" latinLnBrk="0" hangingPunct="1">
                <a:lnSpc>
                  <a:spcPct val="90000"/>
                </a:lnSpc>
                <a:spcBef>
                  <a:spcPct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Banking</a:t>
              </a:r>
            </a:p>
          </p:txBody>
        </p:sp>
        <p:grpSp>
          <p:nvGrpSpPr>
            <p:cNvPr id="176" name="Group 63">
              <a:extLst>
                <a:ext uri="{FF2B5EF4-FFF2-40B4-BE49-F238E27FC236}">
                  <a16:creationId xmlns:a16="http://schemas.microsoft.com/office/drawing/2014/main" id="{5723439B-9AEA-43DE-927A-68BE0D508AF5}"/>
                </a:ext>
              </a:extLst>
            </p:cNvPr>
            <p:cNvGrpSpPr>
              <a:grpSpLocks noChangeAspect="1"/>
            </p:cNvGrpSpPr>
            <p:nvPr/>
          </p:nvGrpSpPr>
          <p:grpSpPr bwMode="auto">
            <a:xfrm>
              <a:off x="845527" y="2951097"/>
              <a:ext cx="684213" cy="482600"/>
              <a:chOff x="523" y="2271"/>
              <a:chExt cx="431" cy="304"/>
            </a:xfrm>
            <a:solidFill>
              <a:srgbClr val="E6E6E6"/>
            </a:solidFill>
          </p:grpSpPr>
          <p:sp>
            <p:nvSpPr>
              <p:cNvPr id="180" name="Freeform 64">
                <a:extLst>
                  <a:ext uri="{FF2B5EF4-FFF2-40B4-BE49-F238E27FC236}">
                    <a16:creationId xmlns:a16="http://schemas.microsoft.com/office/drawing/2014/main" id="{60A83751-282C-4237-94A3-8FC0F4C44146}"/>
                  </a:ext>
                </a:extLst>
              </p:cNvPr>
              <p:cNvSpPr>
                <a:spLocks/>
              </p:cNvSpPr>
              <p:nvPr/>
            </p:nvSpPr>
            <p:spPr bwMode="auto">
              <a:xfrm>
                <a:off x="588" y="2299"/>
                <a:ext cx="366" cy="276"/>
              </a:xfrm>
              <a:custGeom>
                <a:avLst/>
                <a:gdLst>
                  <a:gd name="T0" fmla="*/ 135 w 201"/>
                  <a:gd name="T1" fmla="*/ 19 h 151"/>
                  <a:gd name="T2" fmla="*/ 166 w 201"/>
                  <a:gd name="T3" fmla="*/ 4 h 151"/>
                  <a:gd name="T4" fmla="*/ 160 w 201"/>
                  <a:gd name="T5" fmla="*/ 29 h 151"/>
                  <a:gd name="T6" fmla="*/ 183 w 201"/>
                  <a:gd name="T7" fmla="*/ 63 h 151"/>
                  <a:gd name="T8" fmla="*/ 183 w 201"/>
                  <a:gd name="T9" fmla="*/ 63 h 151"/>
                  <a:gd name="T10" fmla="*/ 198 w 201"/>
                  <a:gd name="T11" fmla="*/ 63 h 151"/>
                  <a:gd name="T12" fmla="*/ 201 w 201"/>
                  <a:gd name="T13" fmla="*/ 67 h 151"/>
                  <a:gd name="T14" fmla="*/ 201 w 201"/>
                  <a:gd name="T15" fmla="*/ 85 h 151"/>
                  <a:gd name="T16" fmla="*/ 198 w 201"/>
                  <a:gd name="T17" fmla="*/ 89 h 151"/>
                  <a:gd name="T18" fmla="*/ 184 w 201"/>
                  <a:gd name="T19" fmla="*/ 89 h 151"/>
                  <a:gd name="T20" fmla="*/ 184 w 201"/>
                  <a:gd name="T21" fmla="*/ 89 h 151"/>
                  <a:gd name="T22" fmla="*/ 146 w 201"/>
                  <a:gd name="T23" fmla="*/ 131 h 151"/>
                  <a:gd name="T24" fmla="*/ 144 w 201"/>
                  <a:gd name="T25" fmla="*/ 131 h 151"/>
                  <a:gd name="T26" fmla="*/ 144 w 201"/>
                  <a:gd name="T27" fmla="*/ 151 h 151"/>
                  <a:gd name="T28" fmla="*/ 120 w 201"/>
                  <a:gd name="T29" fmla="*/ 151 h 151"/>
                  <a:gd name="T30" fmla="*/ 120 w 201"/>
                  <a:gd name="T31" fmla="*/ 134 h 151"/>
                  <a:gd name="T32" fmla="*/ 120 w 201"/>
                  <a:gd name="T33" fmla="*/ 133 h 151"/>
                  <a:gd name="T34" fmla="*/ 61 w 201"/>
                  <a:gd name="T35" fmla="*/ 133 h 151"/>
                  <a:gd name="T36" fmla="*/ 60 w 201"/>
                  <a:gd name="T37" fmla="*/ 133 h 151"/>
                  <a:gd name="T38" fmla="*/ 60 w 201"/>
                  <a:gd name="T39" fmla="*/ 151 h 151"/>
                  <a:gd name="T40" fmla="*/ 36 w 201"/>
                  <a:gd name="T41" fmla="*/ 151 h 151"/>
                  <a:gd name="T42" fmla="*/ 36 w 201"/>
                  <a:gd name="T43" fmla="*/ 130 h 151"/>
                  <a:gd name="T44" fmla="*/ 34 w 201"/>
                  <a:gd name="T45" fmla="*/ 129 h 151"/>
                  <a:gd name="T46" fmla="*/ 0 w 201"/>
                  <a:gd name="T47" fmla="*/ 78 h 151"/>
                  <a:gd name="T48" fmla="*/ 0 w 201"/>
                  <a:gd name="T49" fmla="*/ 75 h 151"/>
                  <a:gd name="T50" fmla="*/ 55 w 201"/>
                  <a:gd name="T51" fmla="*/ 19 h 151"/>
                  <a:gd name="T52" fmla="*/ 129 w 201"/>
                  <a:gd name="T53" fmla="*/ 19 h 151"/>
                  <a:gd name="T54" fmla="*/ 135 w 201"/>
                  <a:gd name="T55" fmla="*/ 1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1" h="151">
                    <a:moveTo>
                      <a:pt x="135" y="19"/>
                    </a:moveTo>
                    <a:cubicBezTo>
                      <a:pt x="140" y="7"/>
                      <a:pt x="153" y="0"/>
                      <a:pt x="166" y="4"/>
                    </a:cubicBezTo>
                    <a:cubicBezTo>
                      <a:pt x="160" y="29"/>
                      <a:pt x="160" y="29"/>
                      <a:pt x="160" y="29"/>
                    </a:cubicBezTo>
                    <a:cubicBezTo>
                      <a:pt x="172" y="36"/>
                      <a:pt x="180" y="49"/>
                      <a:pt x="183" y="63"/>
                    </a:cubicBezTo>
                    <a:cubicBezTo>
                      <a:pt x="183" y="63"/>
                      <a:pt x="183" y="63"/>
                      <a:pt x="183" y="63"/>
                    </a:cubicBezTo>
                    <a:cubicBezTo>
                      <a:pt x="198" y="63"/>
                      <a:pt x="198" y="63"/>
                      <a:pt x="198" y="63"/>
                    </a:cubicBezTo>
                    <a:cubicBezTo>
                      <a:pt x="200" y="63"/>
                      <a:pt x="201" y="65"/>
                      <a:pt x="201" y="67"/>
                    </a:cubicBezTo>
                    <a:cubicBezTo>
                      <a:pt x="201" y="85"/>
                      <a:pt x="201" y="85"/>
                      <a:pt x="201" y="85"/>
                    </a:cubicBezTo>
                    <a:cubicBezTo>
                      <a:pt x="201" y="87"/>
                      <a:pt x="200" y="89"/>
                      <a:pt x="198" y="89"/>
                    </a:cubicBezTo>
                    <a:cubicBezTo>
                      <a:pt x="184" y="89"/>
                      <a:pt x="184" y="89"/>
                      <a:pt x="184" y="89"/>
                    </a:cubicBezTo>
                    <a:cubicBezTo>
                      <a:pt x="184" y="89"/>
                      <a:pt x="184" y="89"/>
                      <a:pt x="184" y="89"/>
                    </a:cubicBezTo>
                    <a:cubicBezTo>
                      <a:pt x="180" y="109"/>
                      <a:pt x="165" y="125"/>
                      <a:pt x="146" y="131"/>
                    </a:cubicBezTo>
                    <a:cubicBezTo>
                      <a:pt x="144" y="131"/>
                      <a:pt x="144" y="131"/>
                      <a:pt x="144" y="131"/>
                    </a:cubicBezTo>
                    <a:cubicBezTo>
                      <a:pt x="144" y="151"/>
                      <a:pt x="144" y="151"/>
                      <a:pt x="144" y="151"/>
                    </a:cubicBezTo>
                    <a:cubicBezTo>
                      <a:pt x="120" y="151"/>
                      <a:pt x="120" y="151"/>
                      <a:pt x="120" y="151"/>
                    </a:cubicBezTo>
                    <a:cubicBezTo>
                      <a:pt x="120" y="134"/>
                      <a:pt x="120" y="134"/>
                      <a:pt x="120" y="134"/>
                    </a:cubicBezTo>
                    <a:cubicBezTo>
                      <a:pt x="120" y="133"/>
                      <a:pt x="120" y="133"/>
                      <a:pt x="120" y="133"/>
                    </a:cubicBezTo>
                    <a:cubicBezTo>
                      <a:pt x="61" y="133"/>
                      <a:pt x="61" y="133"/>
                      <a:pt x="61" y="133"/>
                    </a:cubicBezTo>
                    <a:cubicBezTo>
                      <a:pt x="60" y="133"/>
                      <a:pt x="60" y="133"/>
                      <a:pt x="60" y="133"/>
                    </a:cubicBezTo>
                    <a:cubicBezTo>
                      <a:pt x="60" y="151"/>
                      <a:pt x="60" y="151"/>
                      <a:pt x="60" y="151"/>
                    </a:cubicBezTo>
                    <a:cubicBezTo>
                      <a:pt x="36" y="151"/>
                      <a:pt x="36" y="151"/>
                      <a:pt x="36" y="151"/>
                    </a:cubicBezTo>
                    <a:cubicBezTo>
                      <a:pt x="36" y="130"/>
                      <a:pt x="36" y="130"/>
                      <a:pt x="36" y="130"/>
                    </a:cubicBezTo>
                    <a:cubicBezTo>
                      <a:pt x="34" y="129"/>
                      <a:pt x="34" y="129"/>
                      <a:pt x="34" y="129"/>
                    </a:cubicBezTo>
                    <a:cubicBezTo>
                      <a:pt x="14" y="120"/>
                      <a:pt x="0" y="101"/>
                      <a:pt x="0" y="78"/>
                    </a:cubicBezTo>
                    <a:cubicBezTo>
                      <a:pt x="0" y="75"/>
                      <a:pt x="0" y="75"/>
                      <a:pt x="0" y="75"/>
                    </a:cubicBezTo>
                    <a:cubicBezTo>
                      <a:pt x="0" y="44"/>
                      <a:pt x="25" y="19"/>
                      <a:pt x="55" y="19"/>
                    </a:cubicBezTo>
                    <a:cubicBezTo>
                      <a:pt x="129" y="19"/>
                      <a:pt x="129" y="19"/>
                      <a:pt x="129" y="19"/>
                    </a:cubicBezTo>
                    <a:cubicBezTo>
                      <a:pt x="130" y="19"/>
                      <a:pt x="134" y="19"/>
                      <a:pt x="135" y="19"/>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82" name="Freeform 65">
                <a:extLst>
                  <a:ext uri="{FF2B5EF4-FFF2-40B4-BE49-F238E27FC236}">
                    <a16:creationId xmlns:a16="http://schemas.microsoft.com/office/drawing/2014/main" id="{B915E2F8-5BA3-477F-A238-133498E9B3A8}"/>
                  </a:ext>
                </a:extLst>
              </p:cNvPr>
              <p:cNvSpPr>
                <a:spLocks/>
              </p:cNvSpPr>
              <p:nvPr/>
            </p:nvSpPr>
            <p:spPr bwMode="auto">
              <a:xfrm>
                <a:off x="523" y="2403"/>
                <a:ext cx="65" cy="66"/>
              </a:xfrm>
              <a:custGeom>
                <a:avLst/>
                <a:gdLst>
                  <a:gd name="T0" fmla="*/ 36 w 36"/>
                  <a:gd name="T1" fmla="*/ 18 h 36"/>
                  <a:gd name="T2" fmla="*/ 18 w 36"/>
                  <a:gd name="T3" fmla="*/ 36 h 36"/>
                  <a:gd name="T4" fmla="*/ 0 w 36"/>
                  <a:gd name="T5" fmla="*/ 18 h 36"/>
                  <a:gd name="T6" fmla="*/ 18 w 36"/>
                  <a:gd name="T7" fmla="*/ 0 h 36"/>
                </a:gdLst>
                <a:ahLst/>
                <a:cxnLst>
                  <a:cxn ang="0">
                    <a:pos x="T0" y="T1"/>
                  </a:cxn>
                  <a:cxn ang="0">
                    <a:pos x="T2" y="T3"/>
                  </a:cxn>
                  <a:cxn ang="0">
                    <a:pos x="T4" y="T5"/>
                  </a:cxn>
                  <a:cxn ang="0">
                    <a:pos x="T6" y="T7"/>
                  </a:cxn>
                </a:cxnLst>
                <a:rect l="0" t="0" r="r" b="b"/>
                <a:pathLst>
                  <a:path w="36" h="36">
                    <a:moveTo>
                      <a:pt x="36" y="18"/>
                    </a:moveTo>
                    <a:cubicBezTo>
                      <a:pt x="36" y="28"/>
                      <a:pt x="28" y="36"/>
                      <a:pt x="18" y="36"/>
                    </a:cubicBezTo>
                    <a:cubicBezTo>
                      <a:pt x="8" y="36"/>
                      <a:pt x="0" y="28"/>
                      <a:pt x="0" y="18"/>
                    </a:cubicBezTo>
                    <a:cubicBezTo>
                      <a:pt x="0" y="8"/>
                      <a:pt x="8" y="0"/>
                      <a:pt x="18"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4" name="Oval 66">
                <a:extLst>
                  <a:ext uri="{FF2B5EF4-FFF2-40B4-BE49-F238E27FC236}">
                    <a16:creationId xmlns:a16="http://schemas.microsoft.com/office/drawing/2014/main" id="{E8089449-4AAD-4F50-9A5F-058A1D29F5BF}"/>
                  </a:ext>
                </a:extLst>
              </p:cNvPr>
              <p:cNvSpPr>
                <a:spLocks noChangeArrowheads="1"/>
              </p:cNvSpPr>
              <p:nvPr/>
            </p:nvSpPr>
            <p:spPr bwMode="auto">
              <a:xfrm>
                <a:off x="837" y="2383"/>
                <a:ext cx="24" cy="2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5" name="Freeform 67">
                <a:extLst>
                  <a:ext uri="{FF2B5EF4-FFF2-40B4-BE49-F238E27FC236}">
                    <a16:creationId xmlns:a16="http://schemas.microsoft.com/office/drawing/2014/main" id="{C6F0B668-C055-44B1-9994-482F5023792B}"/>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6" name="Freeform 68">
                <a:extLst>
                  <a:ext uri="{FF2B5EF4-FFF2-40B4-BE49-F238E27FC236}">
                    <a16:creationId xmlns:a16="http://schemas.microsoft.com/office/drawing/2014/main" id="{12DC0CF6-6802-4799-A557-3E45852ED170}"/>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3" name="Group 432">
            <a:extLst>
              <a:ext uri="{FF2B5EF4-FFF2-40B4-BE49-F238E27FC236}">
                <a16:creationId xmlns:a16="http://schemas.microsoft.com/office/drawing/2014/main" id="{BEC114B5-C182-4535-919E-AF20780D0031}"/>
              </a:ext>
            </a:extLst>
          </p:cNvPr>
          <p:cNvGrpSpPr/>
          <p:nvPr/>
        </p:nvGrpSpPr>
        <p:grpSpPr>
          <a:xfrm>
            <a:off x="642252" y="4144881"/>
            <a:ext cx="1044070" cy="881055"/>
            <a:chOff x="655130" y="4227497"/>
            <a:chExt cx="1065006" cy="898722"/>
          </a:xfrm>
        </p:grpSpPr>
        <p:sp>
          <p:nvSpPr>
            <p:cNvPr id="116" name="TextBox 115"/>
            <p:cNvSpPr txBox="1"/>
            <p:nvPr/>
          </p:nvSpPr>
          <p:spPr>
            <a:xfrm>
              <a:off x="655130" y="4956942"/>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Insurance</a:t>
              </a:r>
            </a:p>
          </p:txBody>
        </p:sp>
        <p:grpSp>
          <p:nvGrpSpPr>
            <p:cNvPr id="187" name="Group 71">
              <a:extLst>
                <a:ext uri="{FF2B5EF4-FFF2-40B4-BE49-F238E27FC236}">
                  <a16:creationId xmlns:a16="http://schemas.microsoft.com/office/drawing/2014/main" id="{E78B92B0-9DBC-4D96-A9D8-8BAAF76F41EE}"/>
                </a:ext>
              </a:extLst>
            </p:cNvPr>
            <p:cNvGrpSpPr>
              <a:grpSpLocks noChangeAspect="1"/>
            </p:cNvGrpSpPr>
            <p:nvPr/>
          </p:nvGrpSpPr>
          <p:grpSpPr bwMode="auto">
            <a:xfrm>
              <a:off x="906646" y="4227497"/>
              <a:ext cx="561975" cy="576263"/>
              <a:chOff x="698" y="3256"/>
              <a:chExt cx="354" cy="363"/>
            </a:xfrm>
            <a:solidFill>
              <a:srgbClr val="E6E6E6"/>
            </a:solidFill>
          </p:grpSpPr>
          <p:sp>
            <p:nvSpPr>
              <p:cNvPr id="197" name="Freeform 72">
                <a:extLst>
                  <a:ext uri="{FF2B5EF4-FFF2-40B4-BE49-F238E27FC236}">
                    <a16:creationId xmlns:a16="http://schemas.microsoft.com/office/drawing/2014/main" id="{BAE71EE8-1CD0-4779-8748-9BC826638CF2}"/>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98" name="Freeform 73">
                <a:extLst>
                  <a:ext uri="{FF2B5EF4-FFF2-40B4-BE49-F238E27FC236}">
                    <a16:creationId xmlns:a16="http://schemas.microsoft.com/office/drawing/2014/main" id="{B6EEC712-8917-4514-9A26-536F8F718AF5}"/>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99" name="Freeform 74">
                <a:extLst>
                  <a:ext uri="{FF2B5EF4-FFF2-40B4-BE49-F238E27FC236}">
                    <a16:creationId xmlns:a16="http://schemas.microsoft.com/office/drawing/2014/main" id="{537DEE3D-A161-4B29-91D4-9AE4B3A50E8D}"/>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0" name="Freeform 75">
                <a:extLst>
                  <a:ext uri="{FF2B5EF4-FFF2-40B4-BE49-F238E27FC236}">
                    <a16:creationId xmlns:a16="http://schemas.microsoft.com/office/drawing/2014/main" id="{C4144338-5F90-4E7E-8EA9-FAD1BA785378}"/>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1" name="Freeform 76">
                <a:extLst>
                  <a:ext uri="{FF2B5EF4-FFF2-40B4-BE49-F238E27FC236}">
                    <a16:creationId xmlns:a16="http://schemas.microsoft.com/office/drawing/2014/main" id="{8A5ECA4C-C062-4B53-B7B2-C1FC3CF8964B}"/>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2" name="Freeform 77">
                <a:extLst>
                  <a:ext uri="{FF2B5EF4-FFF2-40B4-BE49-F238E27FC236}">
                    <a16:creationId xmlns:a16="http://schemas.microsoft.com/office/drawing/2014/main" id="{9EA8C7EA-A9DE-4AE7-90B4-6FD0C4A1341E}"/>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3" name="Freeform 78">
                <a:extLst>
                  <a:ext uri="{FF2B5EF4-FFF2-40B4-BE49-F238E27FC236}">
                    <a16:creationId xmlns:a16="http://schemas.microsoft.com/office/drawing/2014/main" id="{4E742E9A-35CA-498C-9786-8E8BD89725E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4" name="Freeform 79">
                <a:extLst>
                  <a:ext uri="{FF2B5EF4-FFF2-40B4-BE49-F238E27FC236}">
                    <a16:creationId xmlns:a16="http://schemas.microsoft.com/office/drawing/2014/main" id="{4755CE01-C332-476D-B3DB-4EF5BCB8F2B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5" name="Freeform 80">
                <a:extLst>
                  <a:ext uri="{FF2B5EF4-FFF2-40B4-BE49-F238E27FC236}">
                    <a16:creationId xmlns:a16="http://schemas.microsoft.com/office/drawing/2014/main" id="{54F58100-E19C-4F57-87E7-75B5A763D5FB}"/>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7" name="Freeform 81">
                <a:extLst>
                  <a:ext uri="{FF2B5EF4-FFF2-40B4-BE49-F238E27FC236}">
                    <a16:creationId xmlns:a16="http://schemas.microsoft.com/office/drawing/2014/main" id="{E673E9EA-5B12-4065-9D33-38607A732B86}"/>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8" name="Freeform 82">
                <a:extLst>
                  <a:ext uri="{FF2B5EF4-FFF2-40B4-BE49-F238E27FC236}">
                    <a16:creationId xmlns:a16="http://schemas.microsoft.com/office/drawing/2014/main" id="{808E8B37-6595-42AD-8D1E-23CBAE5DA644}"/>
                  </a:ext>
                </a:extLst>
              </p:cNvPr>
              <p:cNvSpPr>
                <a:spLocks/>
              </p:cNvSpPr>
              <p:nvPr/>
            </p:nvSpPr>
            <p:spPr bwMode="auto">
              <a:xfrm>
                <a:off x="875" y="3256"/>
                <a:ext cx="0" cy="326"/>
              </a:xfrm>
              <a:custGeom>
                <a:avLst/>
                <a:gdLst>
                  <a:gd name="T0" fmla="*/ 0 h 326"/>
                  <a:gd name="T1" fmla="*/ 326 h 326"/>
                  <a:gd name="T2" fmla="*/ 0 h 326"/>
                </a:gdLst>
                <a:ahLst/>
                <a:cxnLst>
                  <a:cxn ang="0">
                    <a:pos x="0" y="T0"/>
                  </a:cxn>
                  <a:cxn ang="0">
                    <a:pos x="0" y="T1"/>
                  </a:cxn>
                  <a:cxn ang="0">
                    <a:pos x="0" y="T2"/>
                  </a:cxn>
                </a:cxnLst>
                <a:rect l="0" t="0" r="r" b="b"/>
                <a:pathLst>
                  <a:path h="326">
                    <a:moveTo>
                      <a:pt x="0" y="0"/>
                    </a:moveTo>
                    <a:lnTo>
                      <a:pt x="0" y="32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9" name="Line 83">
                <a:extLst>
                  <a:ext uri="{FF2B5EF4-FFF2-40B4-BE49-F238E27FC236}">
                    <a16:creationId xmlns:a16="http://schemas.microsoft.com/office/drawing/2014/main" id="{287F6A01-6602-41D9-B95E-FB7F10C44BDA}"/>
                  </a:ext>
                </a:extLst>
              </p:cNvPr>
              <p:cNvSpPr>
                <a:spLocks noChangeShapeType="1"/>
              </p:cNvSpPr>
              <p:nvPr/>
            </p:nvSpPr>
            <p:spPr bwMode="auto">
              <a:xfrm>
                <a:off x="875" y="3256"/>
                <a:ext cx="0" cy="32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0" name="Freeform 84">
                <a:extLst>
                  <a:ext uri="{FF2B5EF4-FFF2-40B4-BE49-F238E27FC236}">
                    <a16:creationId xmlns:a16="http://schemas.microsoft.com/office/drawing/2014/main" id="{87EEF8BF-42B3-43A2-85BB-AEF6E6F3717F}"/>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2" name="Freeform 85">
                <a:extLst>
                  <a:ext uri="{FF2B5EF4-FFF2-40B4-BE49-F238E27FC236}">
                    <a16:creationId xmlns:a16="http://schemas.microsoft.com/office/drawing/2014/main" id="{C9F67C83-79D4-40CC-9583-A3E04D45D5D7}"/>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3" name="Freeform 86">
                <a:extLst>
                  <a:ext uri="{FF2B5EF4-FFF2-40B4-BE49-F238E27FC236}">
                    <a16:creationId xmlns:a16="http://schemas.microsoft.com/office/drawing/2014/main" id="{02341F5B-A916-43E3-A8E9-D4987F1E74DD}"/>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5" name="Freeform 87">
                <a:extLst>
                  <a:ext uri="{FF2B5EF4-FFF2-40B4-BE49-F238E27FC236}">
                    <a16:creationId xmlns:a16="http://schemas.microsoft.com/office/drawing/2014/main" id="{86124955-E8A0-4D8F-B516-FCA1880D93E4}"/>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5" name="Group 434">
            <a:extLst>
              <a:ext uri="{FF2B5EF4-FFF2-40B4-BE49-F238E27FC236}">
                <a16:creationId xmlns:a16="http://schemas.microsoft.com/office/drawing/2014/main" id="{4E64C12E-8E47-4A3C-9385-A78A3EC16407}"/>
              </a:ext>
            </a:extLst>
          </p:cNvPr>
          <p:cNvGrpSpPr/>
          <p:nvPr/>
        </p:nvGrpSpPr>
        <p:grpSpPr>
          <a:xfrm>
            <a:off x="642252" y="5440730"/>
            <a:ext cx="1044070" cy="978378"/>
            <a:chOff x="655130" y="5549334"/>
            <a:chExt cx="1065006" cy="997997"/>
          </a:xfrm>
        </p:grpSpPr>
        <p:sp>
          <p:nvSpPr>
            <p:cNvPr id="143" name="TextBox 142"/>
            <p:cNvSpPr txBox="1"/>
            <p:nvPr/>
          </p:nvSpPr>
          <p:spPr>
            <a:xfrm>
              <a:off x="655130" y="6208267"/>
              <a:ext cx="1065006"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Chemical engineering</a:t>
              </a:r>
            </a:p>
          </p:txBody>
        </p:sp>
        <p:grpSp>
          <p:nvGrpSpPr>
            <p:cNvPr id="256" name="Group 90">
              <a:extLst>
                <a:ext uri="{FF2B5EF4-FFF2-40B4-BE49-F238E27FC236}">
                  <a16:creationId xmlns:a16="http://schemas.microsoft.com/office/drawing/2014/main" id="{F730468D-6A09-4DC2-B5A1-3D7E062ABF74}"/>
                </a:ext>
              </a:extLst>
            </p:cNvPr>
            <p:cNvGrpSpPr>
              <a:grpSpLocks noChangeAspect="1"/>
            </p:cNvGrpSpPr>
            <p:nvPr/>
          </p:nvGrpSpPr>
          <p:grpSpPr bwMode="auto">
            <a:xfrm>
              <a:off x="924108" y="5549334"/>
              <a:ext cx="527050" cy="530225"/>
              <a:chOff x="1724" y="3524"/>
              <a:chExt cx="332" cy="334"/>
            </a:xfrm>
            <a:solidFill>
              <a:srgbClr val="E6E6E6"/>
            </a:solidFill>
          </p:grpSpPr>
          <p:sp>
            <p:nvSpPr>
              <p:cNvPr id="258" name="Oval 91">
                <a:extLst>
                  <a:ext uri="{FF2B5EF4-FFF2-40B4-BE49-F238E27FC236}">
                    <a16:creationId xmlns:a16="http://schemas.microsoft.com/office/drawing/2014/main" id="{77208EE9-9C87-47A2-9398-A96E5C2F9EE5}"/>
                  </a:ext>
                </a:extLst>
              </p:cNvPr>
              <p:cNvSpPr>
                <a:spLocks noChangeArrowheads="1"/>
              </p:cNvSpPr>
              <p:nvPr/>
            </p:nvSpPr>
            <p:spPr bwMode="auto">
              <a:xfrm>
                <a:off x="1724" y="3524"/>
                <a:ext cx="332" cy="33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0" name="Freeform 93">
                <a:extLst>
                  <a:ext uri="{FF2B5EF4-FFF2-40B4-BE49-F238E27FC236}">
                    <a16:creationId xmlns:a16="http://schemas.microsoft.com/office/drawing/2014/main" id="{2A174B7D-58E9-4E7B-B276-9A1C539F5015}"/>
                  </a:ext>
                </a:extLst>
              </p:cNvPr>
              <p:cNvSpPr>
                <a:spLocks/>
              </p:cNvSpPr>
              <p:nvPr/>
            </p:nvSpPr>
            <p:spPr bwMode="auto">
              <a:xfrm>
                <a:off x="1821" y="3594"/>
                <a:ext cx="69" cy="152"/>
              </a:xfrm>
              <a:custGeom>
                <a:avLst/>
                <a:gdLst>
                  <a:gd name="T0" fmla="*/ 69 w 69"/>
                  <a:gd name="T1" fmla="*/ 0 h 152"/>
                  <a:gd name="T2" fmla="*/ 69 w 69"/>
                  <a:gd name="T3" fmla="*/ 93 h 152"/>
                  <a:gd name="T4" fmla="*/ 0 w 69"/>
                  <a:gd name="T5" fmla="*/ 152 h 152"/>
                </a:gdLst>
                <a:ahLst/>
                <a:cxnLst>
                  <a:cxn ang="0">
                    <a:pos x="T0" y="T1"/>
                  </a:cxn>
                  <a:cxn ang="0">
                    <a:pos x="T2" y="T3"/>
                  </a:cxn>
                  <a:cxn ang="0">
                    <a:pos x="T4" y="T5"/>
                  </a:cxn>
                </a:cxnLst>
                <a:rect l="0" t="0" r="r" b="b"/>
                <a:pathLst>
                  <a:path w="69" h="152">
                    <a:moveTo>
                      <a:pt x="69" y="0"/>
                    </a:moveTo>
                    <a:lnTo>
                      <a:pt x="69" y="93"/>
                    </a:lnTo>
                    <a:lnTo>
                      <a:pt x="0" y="152"/>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1" name="Freeform 94">
                <a:extLst>
                  <a:ext uri="{FF2B5EF4-FFF2-40B4-BE49-F238E27FC236}">
                    <a16:creationId xmlns:a16="http://schemas.microsoft.com/office/drawing/2014/main" id="{5537A6E9-6166-4079-8F2A-0E39E305B37F}"/>
                  </a:ext>
                </a:extLst>
              </p:cNvPr>
              <p:cNvSpPr>
                <a:spLocks/>
              </p:cNvSpPr>
              <p:nvPr/>
            </p:nvSpPr>
            <p:spPr bwMode="auto">
              <a:xfrm>
                <a:off x="1890" y="3687"/>
                <a:ext cx="68" cy="61"/>
              </a:xfrm>
              <a:custGeom>
                <a:avLst/>
                <a:gdLst>
                  <a:gd name="T0" fmla="*/ 68 w 68"/>
                  <a:gd name="T1" fmla="*/ 61 h 61"/>
                  <a:gd name="T2" fmla="*/ 0 w 68"/>
                  <a:gd name="T3" fmla="*/ 0 h 61"/>
                  <a:gd name="T4" fmla="*/ 68 w 68"/>
                  <a:gd name="T5" fmla="*/ 61 h 61"/>
                </a:gdLst>
                <a:ahLst/>
                <a:cxnLst>
                  <a:cxn ang="0">
                    <a:pos x="T0" y="T1"/>
                  </a:cxn>
                  <a:cxn ang="0">
                    <a:pos x="T2" y="T3"/>
                  </a:cxn>
                  <a:cxn ang="0">
                    <a:pos x="T4" y="T5"/>
                  </a:cxn>
                </a:cxnLst>
                <a:rect l="0" t="0" r="r" b="b"/>
                <a:pathLst>
                  <a:path w="68" h="61">
                    <a:moveTo>
                      <a:pt x="68" y="61"/>
                    </a:moveTo>
                    <a:lnTo>
                      <a:pt x="0" y="0"/>
                    </a:lnTo>
                    <a:lnTo>
                      <a:pt x="68" y="61"/>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2" name="Line 95">
                <a:extLst>
                  <a:ext uri="{FF2B5EF4-FFF2-40B4-BE49-F238E27FC236}">
                    <a16:creationId xmlns:a16="http://schemas.microsoft.com/office/drawing/2014/main" id="{96C872FF-D255-4C78-83D0-DBA15649EADE}"/>
                  </a:ext>
                </a:extLst>
              </p:cNvPr>
              <p:cNvSpPr>
                <a:spLocks noChangeShapeType="1"/>
              </p:cNvSpPr>
              <p:nvPr/>
            </p:nvSpPr>
            <p:spPr bwMode="auto">
              <a:xfrm flipH="1" flipV="1">
                <a:off x="1890" y="3687"/>
                <a:ext cx="68" cy="61"/>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3" name="Oval 96">
                <a:extLst>
                  <a:ext uri="{FF2B5EF4-FFF2-40B4-BE49-F238E27FC236}">
                    <a16:creationId xmlns:a16="http://schemas.microsoft.com/office/drawing/2014/main" id="{BE488648-CF3F-44D6-BE1D-6512878F55B6}"/>
                  </a:ext>
                </a:extLst>
              </p:cNvPr>
              <p:cNvSpPr>
                <a:spLocks noChangeArrowheads="1"/>
              </p:cNvSpPr>
              <p:nvPr/>
            </p:nvSpPr>
            <p:spPr bwMode="auto">
              <a:xfrm>
                <a:off x="1795" y="3720"/>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4" name="Oval 97">
                <a:extLst>
                  <a:ext uri="{FF2B5EF4-FFF2-40B4-BE49-F238E27FC236}">
                    <a16:creationId xmlns:a16="http://schemas.microsoft.com/office/drawing/2014/main" id="{B4D32A86-E9BC-40C0-AFBE-D930627F2E3D}"/>
                  </a:ext>
                </a:extLst>
              </p:cNvPr>
              <p:cNvSpPr>
                <a:spLocks noChangeArrowheads="1"/>
              </p:cNvSpPr>
              <p:nvPr/>
            </p:nvSpPr>
            <p:spPr bwMode="auto">
              <a:xfrm>
                <a:off x="1932" y="3722"/>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5" name="Oval 98">
                <a:extLst>
                  <a:ext uri="{FF2B5EF4-FFF2-40B4-BE49-F238E27FC236}">
                    <a16:creationId xmlns:a16="http://schemas.microsoft.com/office/drawing/2014/main" id="{505E04C9-7C79-4713-B42D-AB830D0387FC}"/>
                  </a:ext>
                </a:extLst>
              </p:cNvPr>
              <p:cNvSpPr>
                <a:spLocks noChangeArrowheads="1"/>
              </p:cNvSpPr>
              <p:nvPr/>
            </p:nvSpPr>
            <p:spPr bwMode="auto">
              <a:xfrm>
                <a:off x="1864" y="3576"/>
                <a:ext cx="52" cy="49"/>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6" name="Oval 99">
                <a:extLst>
                  <a:ext uri="{FF2B5EF4-FFF2-40B4-BE49-F238E27FC236}">
                    <a16:creationId xmlns:a16="http://schemas.microsoft.com/office/drawing/2014/main" id="{455F5D4F-2B48-4CD5-B93E-660CFEFC8C3F}"/>
                  </a:ext>
                </a:extLst>
              </p:cNvPr>
              <p:cNvSpPr>
                <a:spLocks noChangeArrowheads="1"/>
              </p:cNvSpPr>
              <p:nvPr/>
            </p:nvSpPr>
            <p:spPr bwMode="auto">
              <a:xfrm>
                <a:off x="1864" y="3662"/>
                <a:ext cx="52"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6" name="Group 435">
            <a:extLst>
              <a:ext uri="{FF2B5EF4-FFF2-40B4-BE49-F238E27FC236}">
                <a16:creationId xmlns:a16="http://schemas.microsoft.com/office/drawing/2014/main" id="{F89680FA-9A62-4B0A-B593-51EBEB4ED289}"/>
              </a:ext>
            </a:extLst>
          </p:cNvPr>
          <p:cNvGrpSpPr/>
          <p:nvPr/>
        </p:nvGrpSpPr>
        <p:grpSpPr>
          <a:xfrm>
            <a:off x="2437575" y="5453184"/>
            <a:ext cx="1044070" cy="781311"/>
            <a:chOff x="2486453" y="5562034"/>
            <a:chExt cx="1065006" cy="796978"/>
          </a:xfrm>
        </p:grpSpPr>
        <p:sp>
          <p:nvSpPr>
            <p:cNvPr id="119" name="TextBox 118"/>
            <p:cNvSpPr txBox="1"/>
            <p:nvPr/>
          </p:nvSpPr>
          <p:spPr>
            <a:xfrm>
              <a:off x="2486453" y="6189735"/>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Energy</a:t>
              </a:r>
            </a:p>
          </p:txBody>
        </p:sp>
        <p:grpSp>
          <p:nvGrpSpPr>
            <p:cNvPr id="267" name="Group 102">
              <a:extLst>
                <a:ext uri="{FF2B5EF4-FFF2-40B4-BE49-F238E27FC236}">
                  <a16:creationId xmlns:a16="http://schemas.microsoft.com/office/drawing/2014/main" id="{68B4322B-38DC-4E9C-8269-74FF2B8734DB}"/>
                </a:ext>
              </a:extLst>
            </p:cNvPr>
            <p:cNvGrpSpPr>
              <a:grpSpLocks noChangeAspect="1"/>
            </p:cNvGrpSpPr>
            <p:nvPr/>
          </p:nvGrpSpPr>
          <p:grpSpPr bwMode="auto">
            <a:xfrm>
              <a:off x="2760194" y="5562034"/>
              <a:ext cx="517525" cy="517525"/>
              <a:chOff x="2516" y="3606"/>
              <a:chExt cx="326" cy="326"/>
            </a:xfrm>
            <a:solidFill>
              <a:srgbClr val="E6E6E6"/>
            </a:solidFill>
          </p:grpSpPr>
          <p:sp>
            <p:nvSpPr>
              <p:cNvPr id="269" name="Oval 103">
                <a:extLst>
                  <a:ext uri="{FF2B5EF4-FFF2-40B4-BE49-F238E27FC236}">
                    <a16:creationId xmlns:a16="http://schemas.microsoft.com/office/drawing/2014/main" id="{E0CEF450-F8DC-4878-88C9-618A3E504621}"/>
                  </a:ext>
                </a:extLst>
              </p:cNvPr>
              <p:cNvSpPr>
                <a:spLocks noChangeArrowheads="1"/>
              </p:cNvSpPr>
              <p:nvPr/>
            </p:nvSpPr>
            <p:spPr bwMode="auto">
              <a:xfrm>
                <a:off x="2516" y="3606"/>
                <a:ext cx="326" cy="3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0" name="Freeform 104">
                <a:extLst>
                  <a:ext uri="{FF2B5EF4-FFF2-40B4-BE49-F238E27FC236}">
                    <a16:creationId xmlns:a16="http://schemas.microsoft.com/office/drawing/2014/main" id="{B1348DAD-FC4C-4025-8E21-27DDD7408B21}"/>
                  </a:ext>
                </a:extLst>
              </p:cNvPr>
              <p:cNvSpPr>
                <a:spLocks/>
              </p:cNvSpPr>
              <p:nvPr/>
            </p:nvSpPr>
            <p:spPr bwMode="auto">
              <a:xfrm>
                <a:off x="2621" y="3760"/>
                <a:ext cx="118" cy="75"/>
              </a:xfrm>
              <a:custGeom>
                <a:avLst/>
                <a:gdLst>
                  <a:gd name="T0" fmla="*/ 0 w 65"/>
                  <a:gd name="T1" fmla="*/ 8 h 41"/>
                  <a:gd name="T2" fmla="*/ 32 w 65"/>
                  <a:gd name="T3" fmla="*/ 41 h 41"/>
                  <a:gd name="T4" fmla="*/ 65 w 65"/>
                  <a:gd name="T5" fmla="*/ 8 h 41"/>
                  <a:gd name="T6" fmla="*/ 65 w 65"/>
                  <a:gd name="T7" fmla="*/ 0 h 41"/>
                  <a:gd name="T8" fmla="*/ 0 w 65"/>
                  <a:gd name="T9" fmla="*/ 0 h 41"/>
                  <a:gd name="T10" fmla="*/ 0 w 65"/>
                  <a:gd name="T11" fmla="*/ 8 h 41"/>
                </a:gdLst>
                <a:ahLst/>
                <a:cxnLst>
                  <a:cxn ang="0">
                    <a:pos x="T0" y="T1"/>
                  </a:cxn>
                  <a:cxn ang="0">
                    <a:pos x="T2" y="T3"/>
                  </a:cxn>
                  <a:cxn ang="0">
                    <a:pos x="T4" y="T5"/>
                  </a:cxn>
                  <a:cxn ang="0">
                    <a:pos x="T6" y="T7"/>
                  </a:cxn>
                  <a:cxn ang="0">
                    <a:pos x="T8" y="T9"/>
                  </a:cxn>
                  <a:cxn ang="0">
                    <a:pos x="T10" y="T11"/>
                  </a:cxn>
                </a:cxnLst>
                <a:rect l="0" t="0" r="r" b="b"/>
                <a:pathLst>
                  <a:path w="65" h="41">
                    <a:moveTo>
                      <a:pt x="0" y="8"/>
                    </a:moveTo>
                    <a:cubicBezTo>
                      <a:pt x="0" y="26"/>
                      <a:pt x="14" y="41"/>
                      <a:pt x="32" y="41"/>
                    </a:cubicBezTo>
                    <a:cubicBezTo>
                      <a:pt x="51" y="41"/>
                      <a:pt x="65" y="26"/>
                      <a:pt x="65" y="8"/>
                    </a:cubicBezTo>
                    <a:cubicBezTo>
                      <a:pt x="65" y="0"/>
                      <a:pt x="65" y="0"/>
                      <a:pt x="65" y="0"/>
                    </a:cubicBezTo>
                    <a:cubicBezTo>
                      <a:pt x="0" y="0"/>
                      <a:pt x="0" y="0"/>
                      <a:pt x="0" y="0"/>
                    </a:cubicBezTo>
                    <a:lnTo>
                      <a:pt x="0" y="8"/>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1" name="Freeform 105">
                <a:extLst>
                  <a:ext uri="{FF2B5EF4-FFF2-40B4-BE49-F238E27FC236}">
                    <a16:creationId xmlns:a16="http://schemas.microsoft.com/office/drawing/2014/main" id="{CE0A3B09-3C2B-4D00-BD3C-74D73E23745D}"/>
                  </a:ext>
                </a:extLst>
              </p:cNvPr>
              <p:cNvSpPr>
                <a:spLocks/>
              </p:cNvSpPr>
              <p:nvPr/>
            </p:nvSpPr>
            <p:spPr bwMode="auto">
              <a:xfrm>
                <a:off x="2646"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2" name="Line 106">
                <a:extLst>
                  <a:ext uri="{FF2B5EF4-FFF2-40B4-BE49-F238E27FC236}">
                    <a16:creationId xmlns:a16="http://schemas.microsoft.com/office/drawing/2014/main" id="{910B5F55-71F7-4FDC-B798-4C69473AC01F}"/>
                  </a:ext>
                </a:extLst>
              </p:cNvPr>
              <p:cNvSpPr>
                <a:spLocks noChangeShapeType="1"/>
              </p:cNvSpPr>
              <p:nvPr/>
            </p:nvSpPr>
            <p:spPr bwMode="auto">
              <a:xfrm>
                <a:off x="2646"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3" name="Freeform 107">
                <a:extLst>
                  <a:ext uri="{FF2B5EF4-FFF2-40B4-BE49-F238E27FC236}">
                    <a16:creationId xmlns:a16="http://schemas.microsoft.com/office/drawing/2014/main" id="{87F0B539-CB4D-40C9-9077-15D1C284C578}"/>
                  </a:ext>
                </a:extLst>
              </p:cNvPr>
              <p:cNvSpPr>
                <a:spLocks/>
              </p:cNvSpPr>
              <p:nvPr/>
            </p:nvSpPr>
            <p:spPr bwMode="auto">
              <a:xfrm>
                <a:off x="2714"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4" name="Line 108">
                <a:extLst>
                  <a:ext uri="{FF2B5EF4-FFF2-40B4-BE49-F238E27FC236}">
                    <a16:creationId xmlns:a16="http://schemas.microsoft.com/office/drawing/2014/main" id="{BE8AE52A-6B8C-45C1-B60E-1B6853582120}"/>
                  </a:ext>
                </a:extLst>
              </p:cNvPr>
              <p:cNvSpPr>
                <a:spLocks noChangeShapeType="1"/>
              </p:cNvSpPr>
              <p:nvPr/>
            </p:nvSpPr>
            <p:spPr bwMode="auto">
              <a:xfrm>
                <a:off x="2714"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5" name="Freeform 109">
                <a:extLst>
                  <a:ext uri="{FF2B5EF4-FFF2-40B4-BE49-F238E27FC236}">
                    <a16:creationId xmlns:a16="http://schemas.microsoft.com/office/drawing/2014/main" id="{A9723657-7183-4E0A-B366-72E8E400DBD4}"/>
                  </a:ext>
                </a:extLst>
              </p:cNvPr>
              <p:cNvSpPr>
                <a:spLocks/>
              </p:cNvSpPr>
              <p:nvPr/>
            </p:nvSpPr>
            <p:spPr bwMode="auto">
              <a:xfrm>
                <a:off x="2679" y="3835"/>
                <a:ext cx="0" cy="97"/>
              </a:xfrm>
              <a:custGeom>
                <a:avLst/>
                <a:gdLst>
                  <a:gd name="T0" fmla="*/ 0 h 97"/>
                  <a:gd name="T1" fmla="*/ 97 h 97"/>
                  <a:gd name="T2" fmla="*/ 0 h 97"/>
                </a:gdLst>
                <a:ahLst/>
                <a:cxnLst>
                  <a:cxn ang="0">
                    <a:pos x="0" y="T0"/>
                  </a:cxn>
                  <a:cxn ang="0">
                    <a:pos x="0" y="T1"/>
                  </a:cxn>
                  <a:cxn ang="0">
                    <a:pos x="0" y="T2"/>
                  </a:cxn>
                </a:cxnLst>
                <a:rect l="0" t="0" r="r" b="b"/>
                <a:pathLst>
                  <a:path h="97">
                    <a:moveTo>
                      <a:pt x="0" y="0"/>
                    </a:moveTo>
                    <a:lnTo>
                      <a:pt x="0" y="97"/>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6" name="Line 110">
                <a:extLst>
                  <a:ext uri="{FF2B5EF4-FFF2-40B4-BE49-F238E27FC236}">
                    <a16:creationId xmlns:a16="http://schemas.microsoft.com/office/drawing/2014/main" id="{4C5A59A9-CA7A-4D08-8AAC-8AAEBA21A83C}"/>
                  </a:ext>
                </a:extLst>
              </p:cNvPr>
              <p:cNvSpPr>
                <a:spLocks noChangeShapeType="1"/>
              </p:cNvSpPr>
              <p:nvPr/>
            </p:nvSpPr>
            <p:spPr bwMode="auto">
              <a:xfrm>
                <a:off x="2679" y="3835"/>
                <a:ext cx="0" cy="97"/>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7" name="Group 436">
            <a:extLst>
              <a:ext uri="{FF2B5EF4-FFF2-40B4-BE49-F238E27FC236}">
                <a16:creationId xmlns:a16="http://schemas.microsoft.com/office/drawing/2014/main" id="{CD4A3826-042F-4BE9-9EF9-48862C9588F1}"/>
              </a:ext>
            </a:extLst>
          </p:cNvPr>
          <p:cNvGrpSpPr/>
          <p:nvPr/>
        </p:nvGrpSpPr>
        <p:grpSpPr>
          <a:xfrm>
            <a:off x="8665324" y="5411162"/>
            <a:ext cx="1140357" cy="1007947"/>
            <a:chOff x="8839081" y="5519172"/>
            <a:chExt cx="1163224" cy="1028159"/>
          </a:xfrm>
        </p:grpSpPr>
        <p:sp>
          <p:nvSpPr>
            <p:cNvPr id="147" name="TextBox 146"/>
            <p:cNvSpPr txBox="1"/>
            <p:nvPr/>
          </p:nvSpPr>
          <p:spPr>
            <a:xfrm>
              <a:off x="8839081" y="6208267"/>
              <a:ext cx="1163224"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Engineering &amp; construction</a:t>
              </a:r>
            </a:p>
          </p:txBody>
        </p:sp>
        <p:grpSp>
          <p:nvGrpSpPr>
            <p:cNvPr id="277" name="Group 113">
              <a:extLst>
                <a:ext uri="{FF2B5EF4-FFF2-40B4-BE49-F238E27FC236}">
                  <a16:creationId xmlns:a16="http://schemas.microsoft.com/office/drawing/2014/main" id="{4E0BB9A1-F87E-4088-80C8-7A01D71AD898}"/>
                </a:ext>
              </a:extLst>
            </p:cNvPr>
            <p:cNvGrpSpPr>
              <a:grpSpLocks noChangeAspect="1"/>
            </p:cNvGrpSpPr>
            <p:nvPr/>
          </p:nvGrpSpPr>
          <p:grpSpPr bwMode="auto">
            <a:xfrm>
              <a:off x="9192887" y="5519172"/>
              <a:ext cx="455613" cy="560387"/>
              <a:chOff x="5342" y="3564"/>
              <a:chExt cx="287" cy="353"/>
            </a:xfrm>
            <a:solidFill>
              <a:srgbClr val="E6E6E6"/>
            </a:solidFill>
          </p:grpSpPr>
          <p:sp>
            <p:nvSpPr>
              <p:cNvPr id="279" name="Freeform 114">
                <a:extLst>
                  <a:ext uri="{FF2B5EF4-FFF2-40B4-BE49-F238E27FC236}">
                    <a16:creationId xmlns:a16="http://schemas.microsoft.com/office/drawing/2014/main" id="{6E6E2DFF-9468-43B6-985A-E5BA55D39436}"/>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0" name="Freeform 115">
                <a:extLst>
                  <a:ext uri="{FF2B5EF4-FFF2-40B4-BE49-F238E27FC236}">
                    <a16:creationId xmlns:a16="http://schemas.microsoft.com/office/drawing/2014/main" id="{ACDA98F4-FACF-4F04-B7DE-FEBF0EC27C1F}"/>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1" name="Freeform 116">
                <a:extLst>
                  <a:ext uri="{FF2B5EF4-FFF2-40B4-BE49-F238E27FC236}">
                    <a16:creationId xmlns:a16="http://schemas.microsoft.com/office/drawing/2014/main" id="{6DBA2B32-38C8-479F-AF88-A624E55EE1C9}"/>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4" name="Freeform 119">
                <a:extLst>
                  <a:ext uri="{FF2B5EF4-FFF2-40B4-BE49-F238E27FC236}">
                    <a16:creationId xmlns:a16="http://schemas.microsoft.com/office/drawing/2014/main" id="{B8EE73CA-123F-4DB3-B811-4E76FE175B1B}"/>
                  </a:ext>
                </a:extLst>
              </p:cNvPr>
              <p:cNvSpPr>
                <a:spLocks/>
              </p:cNvSpPr>
              <p:nvPr/>
            </p:nvSpPr>
            <p:spPr bwMode="auto">
              <a:xfrm>
                <a:off x="5564" y="3564"/>
                <a:ext cx="65" cy="24"/>
              </a:xfrm>
              <a:custGeom>
                <a:avLst/>
                <a:gdLst>
                  <a:gd name="T0" fmla="*/ 0 w 65"/>
                  <a:gd name="T1" fmla="*/ 24 h 24"/>
                  <a:gd name="T2" fmla="*/ 27 w 65"/>
                  <a:gd name="T3" fmla="*/ 0 h 24"/>
                  <a:gd name="T4" fmla="*/ 65 w 65"/>
                  <a:gd name="T5" fmla="*/ 13 h 24"/>
                </a:gdLst>
                <a:ahLst/>
                <a:cxnLst>
                  <a:cxn ang="0">
                    <a:pos x="T0" y="T1"/>
                  </a:cxn>
                  <a:cxn ang="0">
                    <a:pos x="T2" y="T3"/>
                  </a:cxn>
                  <a:cxn ang="0">
                    <a:pos x="T4" y="T5"/>
                  </a:cxn>
                </a:cxnLst>
                <a:rect l="0" t="0" r="r" b="b"/>
                <a:pathLst>
                  <a:path w="65" h="24">
                    <a:moveTo>
                      <a:pt x="0" y="24"/>
                    </a:moveTo>
                    <a:lnTo>
                      <a:pt x="27" y="0"/>
                    </a:lnTo>
                    <a:lnTo>
                      <a:pt x="65" y="13"/>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6" name="Freeform 121">
                <a:extLst>
                  <a:ext uri="{FF2B5EF4-FFF2-40B4-BE49-F238E27FC236}">
                    <a16:creationId xmlns:a16="http://schemas.microsoft.com/office/drawing/2014/main" id="{7AE967AE-CEED-4C19-AFCC-46966D1205F6}"/>
                  </a:ext>
                </a:extLst>
              </p:cNvPr>
              <p:cNvSpPr>
                <a:spLocks/>
              </p:cNvSpPr>
              <p:nvPr/>
            </p:nvSpPr>
            <p:spPr bwMode="auto">
              <a:xfrm>
                <a:off x="5564" y="3645"/>
                <a:ext cx="65" cy="23"/>
              </a:xfrm>
              <a:custGeom>
                <a:avLst/>
                <a:gdLst>
                  <a:gd name="T0" fmla="*/ 0 w 65"/>
                  <a:gd name="T1" fmla="*/ 0 h 23"/>
                  <a:gd name="T2" fmla="*/ 27 w 65"/>
                  <a:gd name="T3" fmla="*/ 23 h 23"/>
                  <a:gd name="T4" fmla="*/ 65 w 65"/>
                  <a:gd name="T5" fmla="*/ 9 h 23"/>
                </a:gdLst>
                <a:ahLst/>
                <a:cxnLst>
                  <a:cxn ang="0">
                    <a:pos x="T0" y="T1"/>
                  </a:cxn>
                  <a:cxn ang="0">
                    <a:pos x="T2" y="T3"/>
                  </a:cxn>
                  <a:cxn ang="0">
                    <a:pos x="T4" y="T5"/>
                  </a:cxn>
                </a:cxnLst>
                <a:rect l="0" t="0" r="r" b="b"/>
                <a:pathLst>
                  <a:path w="65" h="23">
                    <a:moveTo>
                      <a:pt x="0" y="0"/>
                    </a:moveTo>
                    <a:lnTo>
                      <a:pt x="27" y="23"/>
                    </a:lnTo>
                    <a:lnTo>
                      <a:pt x="65" y="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7" name="Freeform 122">
                <a:extLst>
                  <a:ext uri="{FF2B5EF4-FFF2-40B4-BE49-F238E27FC236}">
                    <a16:creationId xmlns:a16="http://schemas.microsoft.com/office/drawing/2014/main" id="{64FA0FDA-18F4-4B95-BE01-FF204591E7B5}"/>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9" name="Freeform 124">
                <a:extLst>
                  <a:ext uri="{FF2B5EF4-FFF2-40B4-BE49-F238E27FC236}">
                    <a16:creationId xmlns:a16="http://schemas.microsoft.com/office/drawing/2014/main" id="{669058AA-6872-4E39-A78E-C18C5D7B296E}"/>
                  </a:ext>
                </a:extLst>
              </p:cNvPr>
              <p:cNvSpPr>
                <a:spLocks/>
              </p:cNvSpPr>
              <p:nvPr/>
            </p:nvSpPr>
            <p:spPr bwMode="auto">
              <a:xfrm>
                <a:off x="5423" y="3668"/>
                <a:ext cx="69" cy="86"/>
              </a:xfrm>
              <a:custGeom>
                <a:avLst/>
                <a:gdLst>
                  <a:gd name="T0" fmla="*/ 0 w 69"/>
                  <a:gd name="T1" fmla="*/ 0 h 86"/>
                  <a:gd name="T2" fmla="*/ 69 w 69"/>
                  <a:gd name="T3" fmla="*/ 86 h 86"/>
                  <a:gd name="T4" fmla="*/ 0 w 69"/>
                  <a:gd name="T5" fmla="*/ 0 h 86"/>
                </a:gdLst>
                <a:ahLst/>
                <a:cxnLst>
                  <a:cxn ang="0">
                    <a:pos x="T0" y="T1"/>
                  </a:cxn>
                  <a:cxn ang="0">
                    <a:pos x="T2" y="T3"/>
                  </a:cxn>
                  <a:cxn ang="0">
                    <a:pos x="T4" y="T5"/>
                  </a:cxn>
                </a:cxnLst>
                <a:rect l="0" t="0" r="r" b="b"/>
                <a:pathLst>
                  <a:path w="69" h="86">
                    <a:moveTo>
                      <a:pt x="0" y="0"/>
                    </a:moveTo>
                    <a:lnTo>
                      <a:pt x="69" y="8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6" name="Freeform 131">
                <a:extLst>
                  <a:ext uri="{FF2B5EF4-FFF2-40B4-BE49-F238E27FC236}">
                    <a16:creationId xmlns:a16="http://schemas.microsoft.com/office/drawing/2014/main" id="{0158090D-490E-45F6-A848-49A1304DCAF3}"/>
                  </a:ext>
                </a:extLst>
              </p:cNvPr>
              <p:cNvSpPr>
                <a:spLocks/>
              </p:cNvSpPr>
              <p:nvPr/>
            </p:nvSpPr>
            <p:spPr bwMode="auto">
              <a:xfrm>
                <a:off x="5494" y="3570"/>
                <a:ext cx="53" cy="93"/>
              </a:xfrm>
              <a:custGeom>
                <a:avLst/>
                <a:gdLst>
                  <a:gd name="T0" fmla="*/ 0 w 29"/>
                  <a:gd name="T1" fmla="*/ 8 h 51"/>
                  <a:gd name="T2" fmla="*/ 19 w 29"/>
                  <a:gd name="T3" fmla="*/ 0 h 51"/>
                  <a:gd name="T4" fmla="*/ 18 w 29"/>
                  <a:gd name="T5" fmla="*/ 0 h 51"/>
                  <a:gd name="T6" fmla="*/ 29 w 29"/>
                  <a:gd name="T7" fmla="*/ 0 h 51"/>
                  <a:gd name="T8" fmla="*/ 29 w 29"/>
                  <a:gd name="T9" fmla="*/ 51 h 51"/>
                  <a:gd name="T10" fmla="*/ 18 w 29"/>
                  <a:gd name="T11" fmla="*/ 51 h 51"/>
                  <a:gd name="T12" fmla="*/ 19 w 29"/>
                  <a:gd name="T13" fmla="*/ 51 h 51"/>
                  <a:gd name="T14" fmla="*/ 3 w 29"/>
                  <a:gd name="T15" fmla="*/ 4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51">
                    <a:moveTo>
                      <a:pt x="0" y="8"/>
                    </a:moveTo>
                    <a:cubicBezTo>
                      <a:pt x="5" y="3"/>
                      <a:pt x="11" y="0"/>
                      <a:pt x="19" y="0"/>
                    </a:cubicBezTo>
                    <a:cubicBezTo>
                      <a:pt x="18" y="0"/>
                      <a:pt x="18" y="0"/>
                      <a:pt x="18" y="0"/>
                    </a:cubicBezTo>
                    <a:cubicBezTo>
                      <a:pt x="29" y="0"/>
                      <a:pt x="29" y="0"/>
                      <a:pt x="29" y="0"/>
                    </a:cubicBezTo>
                    <a:cubicBezTo>
                      <a:pt x="29" y="51"/>
                      <a:pt x="29" y="51"/>
                      <a:pt x="29" y="51"/>
                    </a:cubicBezTo>
                    <a:cubicBezTo>
                      <a:pt x="18" y="51"/>
                      <a:pt x="18" y="51"/>
                      <a:pt x="18" y="51"/>
                    </a:cubicBezTo>
                    <a:cubicBezTo>
                      <a:pt x="19" y="51"/>
                      <a:pt x="19" y="51"/>
                      <a:pt x="19" y="51"/>
                    </a:cubicBezTo>
                    <a:cubicBezTo>
                      <a:pt x="13" y="51"/>
                      <a:pt x="8" y="49"/>
                      <a:pt x="3" y="4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1" name="Freeform 126">
                <a:extLst>
                  <a:ext uri="{FF2B5EF4-FFF2-40B4-BE49-F238E27FC236}">
                    <a16:creationId xmlns:a16="http://schemas.microsoft.com/office/drawing/2014/main" id="{5253D2E0-AE18-4D15-8C19-E26005187146}"/>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8" name="Freeform 123">
                <a:extLst>
                  <a:ext uri="{FF2B5EF4-FFF2-40B4-BE49-F238E27FC236}">
                    <a16:creationId xmlns:a16="http://schemas.microsoft.com/office/drawing/2014/main" id="{DFACF9F4-77A3-4E73-830E-BDAB38E81FD0}"/>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2" name="Freeform 127">
                <a:extLst>
                  <a:ext uri="{FF2B5EF4-FFF2-40B4-BE49-F238E27FC236}">
                    <a16:creationId xmlns:a16="http://schemas.microsoft.com/office/drawing/2014/main" id="{040D3CA5-507B-4849-9FD9-CA9095BF1582}"/>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2" name="Freeform 117">
                <a:extLst>
                  <a:ext uri="{FF2B5EF4-FFF2-40B4-BE49-F238E27FC236}">
                    <a16:creationId xmlns:a16="http://schemas.microsoft.com/office/drawing/2014/main" id="{407B15D9-6266-471B-AD5F-705C0586A1CD}"/>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0" name="Line 125">
                <a:extLst>
                  <a:ext uri="{FF2B5EF4-FFF2-40B4-BE49-F238E27FC236}">
                    <a16:creationId xmlns:a16="http://schemas.microsoft.com/office/drawing/2014/main" id="{186DCB56-26B4-454F-B6CB-68A32E335AF2}"/>
                  </a:ext>
                </a:extLst>
              </p:cNvPr>
              <p:cNvSpPr>
                <a:spLocks noChangeShapeType="1"/>
              </p:cNvSpPr>
              <p:nvPr/>
            </p:nvSpPr>
            <p:spPr bwMode="auto">
              <a:xfrm>
                <a:off x="5423" y="3668"/>
                <a:ext cx="69" cy="8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4" name="Freeform 129">
                <a:extLst>
                  <a:ext uri="{FF2B5EF4-FFF2-40B4-BE49-F238E27FC236}">
                    <a16:creationId xmlns:a16="http://schemas.microsoft.com/office/drawing/2014/main" id="{F64F1A46-1720-42E3-854A-72363924E0E1}"/>
                  </a:ext>
                </a:extLst>
              </p:cNvPr>
              <p:cNvSpPr>
                <a:spLocks/>
              </p:cNvSpPr>
              <p:nvPr/>
            </p:nvSpPr>
            <p:spPr bwMode="auto">
              <a:xfrm>
                <a:off x="5397" y="3823"/>
                <a:ext cx="150" cy="94"/>
              </a:xfrm>
              <a:custGeom>
                <a:avLst/>
                <a:gdLst>
                  <a:gd name="T0" fmla="*/ 0 w 150"/>
                  <a:gd name="T1" fmla="*/ 2 h 94"/>
                  <a:gd name="T2" fmla="*/ 0 w 150"/>
                  <a:gd name="T3" fmla="*/ 94 h 94"/>
                  <a:gd name="T4" fmla="*/ 150 w 150"/>
                  <a:gd name="T5" fmla="*/ 94 h 94"/>
                  <a:gd name="T6" fmla="*/ 150 w 150"/>
                  <a:gd name="T7" fmla="*/ 0 h 94"/>
                </a:gdLst>
                <a:ahLst/>
                <a:cxnLst>
                  <a:cxn ang="0">
                    <a:pos x="T0" y="T1"/>
                  </a:cxn>
                  <a:cxn ang="0">
                    <a:pos x="T2" y="T3"/>
                  </a:cxn>
                  <a:cxn ang="0">
                    <a:pos x="T4" y="T5"/>
                  </a:cxn>
                  <a:cxn ang="0">
                    <a:pos x="T6" y="T7"/>
                  </a:cxn>
                </a:cxnLst>
                <a:rect l="0" t="0" r="r" b="b"/>
                <a:pathLst>
                  <a:path w="150" h="94">
                    <a:moveTo>
                      <a:pt x="0" y="2"/>
                    </a:moveTo>
                    <a:lnTo>
                      <a:pt x="0" y="94"/>
                    </a:lnTo>
                    <a:lnTo>
                      <a:pt x="150" y="94"/>
                    </a:lnTo>
                    <a:lnTo>
                      <a:pt x="15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7" name="Oval 132">
                <a:extLst>
                  <a:ext uri="{FF2B5EF4-FFF2-40B4-BE49-F238E27FC236}">
                    <a16:creationId xmlns:a16="http://schemas.microsoft.com/office/drawing/2014/main" id="{D3678D43-7473-4AE2-AE78-ECBE778E8A1D}"/>
                  </a:ext>
                </a:extLst>
              </p:cNvPr>
              <p:cNvSpPr>
                <a:spLocks noChangeArrowheads="1"/>
              </p:cNvSpPr>
              <p:nvPr/>
            </p:nvSpPr>
            <p:spPr bwMode="auto">
              <a:xfrm>
                <a:off x="5459" y="3809"/>
                <a:ext cx="26" cy="2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8" name="Oval 133">
                <a:extLst>
                  <a:ext uri="{FF2B5EF4-FFF2-40B4-BE49-F238E27FC236}">
                    <a16:creationId xmlns:a16="http://schemas.microsoft.com/office/drawing/2014/main" id="{C1170D67-589D-4AB7-AC98-0D020C8164AD}"/>
                  </a:ext>
                </a:extLst>
              </p:cNvPr>
              <p:cNvSpPr>
                <a:spLocks noChangeArrowheads="1"/>
              </p:cNvSpPr>
              <p:nvPr/>
            </p:nvSpPr>
            <p:spPr bwMode="auto">
              <a:xfrm>
                <a:off x="5375" y="3688"/>
                <a:ext cx="28" cy="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9" name="Oval 134">
                <a:extLst>
                  <a:ext uri="{FF2B5EF4-FFF2-40B4-BE49-F238E27FC236}">
                    <a16:creationId xmlns:a16="http://schemas.microsoft.com/office/drawing/2014/main" id="{18888FD0-6AE9-4742-8B15-DBC871098DB3}"/>
                  </a:ext>
                </a:extLst>
              </p:cNvPr>
              <p:cNvSpPr>
                <a:spLocks noChangeArrowheads="1"/>
              </p:cNvSpPr>
              <p:nvPr/>
            </p:nvSpPr>
            <p:spPr bwMode="auto">
              <a:xfrm>
                <a:off x="5465" y="3603"/>
                <a:ext cx="27" cy="27"/>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8" name="Group 437">
            <a:extLst>
              <a:ext uri="{FF2B5EF4-FFF2-40B4-BE49-F238E27FC236}">
                <a16:creationId xmlns:a16="http://schemas.microsoft.com/office/drawing/2014/main" id="{A23E8C51-6516-4E47-A754-0F4D6E10DE2A}"/>
              </a:ext>
            </a:extLst>
          </p:cNvPr>
          <p:cNvGrpSpPr/>
          <p:nvPr/>
        </p:nvGrpSpPr>
        <p:grpSpPr>
          <a:xfrm>
            <a:off x="10459051" y="5448513"/>
            <a:ext cx="1137322" cy="795315"/>
            <a:chOff x="10668776" y="5557271"/>
            <a:chExt cx="1160128" cy="811263"/>
          </a:xfrm>
        </p:grpSpPr>
        <p:sp>
          <p:nvSpPr>
            <p:cNvPr id="134" name="TextBox 133"/>
            <p:cNvSpPr txBox="1"/>
            <p:nvPr/>
          </p:nvSpPr>
          <p:spPr>
            <a:xfrm>
              <a:off x="10668776" y="6199002"/>
              <a:ext cx="1160128"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Bio Science</a:t>
              </a:r>
            </a:p>
          </p:txBody>
        </p:sp>
        <p:grpSp>
          <p:nvGrpSpPr>
            <p:cNvPr id="300" name="Group 137">
              <a:extLst>
                <a:ext uri="{FF2B5EF4-FFF2-40B4-BE49-F238E27FC236}">
                  <a16:creationId xmlns:a16="http://schemas.microsoft.com/office/drawing/2014/main" id="{71B9945E-0D35-4DB2-B387-39019664AB89}"/>
                </a:ext>
              </a:extLst>
            </p:cNvPr>
            <p:cNvGrpSpPr>
              <a:grpSpLocks noChangeAspect="1"/>
            </p:cNvGrpSpPr>
            <p:nvPr/>
          </p:nvGrpSpPr>
          <p:grpSpPr bwMode="auto">
            <a:xfrm>
              <a:off x="11034528" y="5557271"/>
              <a:ext cx="428625" cy="522288"/>
              <a:chOff x="6539" y="3568"/>
              <a:chExt cx="270" cy="329"/>
            </a:xfrm>
          </p:grpSpPr>
          <p:sp>
            <p:nvSpPr>
              <p:cNvPr id="302" name="Freeform 138">
                <a:extLst>
                  <a:ext uri="{FF2B5EF4-FFF2-40B4-BE49-F238E27FC236}">
                    <a16:creationId xmlns:a16="http://schemas.microsoft.com/office/drawing/2014/main" id="{77ECFDCE-6135-4BD7-BC0A-E007C07A08E7}"/>
                  </a:ext>
                </a:extLst>
              </p:cNvPr>
              <p:cNvSpPr>
                <a:spLocks/>
              </p:cNvSpPr>
              <p:nvPr/>
            </p:nvSpPr>
            <p:spPr bwMode="auto">
              <a:xfrm>
                <a:off x="6539" y="3568"/>
                <a:ext cx="270" cy="329"/>
              </a:xfrm>
              <a:custGeom>
                <a:avLst/>
                <a:gdLst>
                  <a:gd name="T0" fmla="*/ 144 w 147"/>
                  <a:gd name="T1" fmla="*/ 163 h 180"/>
                  <a:gd name="T2" fmla="*/ 94 w 147"/>
                  <a:gd name="T3" fmla="*/ 57 h 180"/>
                  <a:gd name="T4" fmla="*/ 94 w 147"/>
                  <a:gd name="T5" fmla="*/ 0 h 180"/>
                  <a:gd name="T6" fmla="*/ 53 w 147"/>
                  <a:gd name="T7" fmla="*/ 0 h 180"/>
                  <a:gd name="T8" fmla="*/ 53 w 147"/>
                  <a:gd name="T9" fmla="*/ 60 h 180"/>
                  <a:gd name="T10" fmla="*/ 4 w 147"/>
                  <a:gd name="T11" fmla="*/ 163 h 180"/>
                  <a:gd name="T12" fmla="*/ 12 w 147"/>
                  <a:gd name="T13" fmla="*/ 180 h 180"/>
                  <a:gd name="T14" fmla="*/ 135 w 147"/>
                  <a:gd name="T15" fmla="*/ 180 h 180"/>
                  <a:gd name="T16" fmla="*/ 144 w 147"/>
                  <a:gd name="T17" fmla="*/ 16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180">
                    <a:moveTo>
                      <a:pt x="144" y="163"/>
                    </a:moveTo>
                    <a:cubicBezTo>
                      <a:pt x="94" y="57"/>
                      <a:pt x="94" y="57"/>
                      <a:pt x="94" y="57"/>
                    </a:cubicBezTo>
                    <a:cubicBezTo>
                      <a:pt x="94" y="0"/>
                      <a:pt x="94" y="0"/>
                      <a:pt x="94" y="0"/>
                    </a:cubicBezTo>
                    <a:cubicBezTo>
                      <a:pt x="53" y="0"/>
                      <a:pt x="53" y="0"/>
                      <a:pt x="53" y="0"/>
                    </a:cubicBezTo>
                    <a:cubicBezTo>
                      <a:pt x="53" y="60"/>
                      <a:pt x="53" y="60"/>
                      <a:pt x="53" y="60"/>
                    </a:cubicBezTo>
                    <a:cubicBezTo>
                      <a:pt x="4" y="163"/>
                      <a:pt x="4" y="163"/>
                      <a:pt x="4" y="163"/>
                    </a:cubicBezTo>
                    <a:cubicBezTo>
                      <a:pt x="0" y="171"/>
                      <a:pt x="5" y="180"/>
                      <a:pt x="12" y="180"/>
                    </a:cubicBezTo>
                    <a:cubicBezTo>
                      <a:pt x="135" y="180"/>
                      <a:pt x="135" y="180"/>
                      <a:pt x="135" y="180"/>
                    </a:cubicBezTo>
                    <a:cubicBezTo>
                      <a:pt x="143" y="180"/>
                      <a:pt x="147" y="171"/>
                      <a:pt x="144" y="163"/>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3" name="Freeform 139">
                <a:extLst>
                  <a:ext uri="{FF2B5EF4-FFF2-40B4-BE49-F238E27FC236}">
                    <a16:creationId xmlns:a16="http://schemas.microsoft.com/office/drawing/2014/main" id="{5040951B-2411-4DA5-9E27-DDE8C44C398A}"/>
                  </a:ext>
                </a:extLst>
              </p:cNvPr>
              <p:cNvSpPr>
                <a:spLocks/>
              </p:cNvSpPr>
              <p:nvPr/>
            </p:nvSpPr>
            <p:spPr bwMode="auto">
              <a:xfrm>
                <a:off x="6670" y="3738"/>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4" name="Line 140">
                <a:extLst>
                  <a:ext uri="{FF2B5EF4-FFF2-40B4-BE49-F238E27FC236}">
                    <a16:creationId xmlns:a16="http://schemas.microsoft.com/office/drawing/2014/main" id="{A4F64B50-B507-455F-BE3B-2FD81935C960}"/>
                  </a:ext>
                </a:extLst>
              </p:cNvPr>
              <p:cNvSpPr>
                <a:spLocks noChangeShapeType="1"/>
              </p:cNvSpPr>
              <p:nvPr/>
            </p:nvSpPr>
            <p:spPr bwMode="auto">
              <a:xfrm>
                <a:off x="6670" y="3738"/>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5" name="Freeform 141">
                <a:extLst>
                  <a:ext uri="{FF2B5EF4-FFF2-40B4-BE49-F238E27FC236}">
                    <a16:creationId xmlns:a16="http://schemas.microsoft.com/office/drawing/2014/main" id="{3071043E-CD0E-418C-8A0A-B556BBDA900D}"/>
                  </a:ext>
                </a:extLst>
              </p:cNvPr>
              <p:cNvSpPr>
                <a:spLocks/>
              </p:cNvSpPr>
              <p:nvPr/>
            </p:nvSpPr>
            <p:spPr bwMode="auto">
              <a:xfrm>
                <a:off x="6670" y="3775"/>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6" name="Line 142">
                <a:extLst>
                  <a:ext uri="{FF2B5EF4-FFF2-40B4-BE49-F238E27FC236}">
                    <a16:creationId xmlns:a16="http://schemas.microsoft.com/office/drawing/2014/main" id="{F2CF9F2E-3230-48A3-98FB-534F836799CF}"/>
                  </a:ext>
                </a:extLst>
              </p:cNvPr>
              <p:cNvSpPr>
                <a:spLocks noChangeShapeType="1"/>
              </p:cNvSpPr>
              <p:nvPr/>
            </p:nvSpPr>
            <p:spPr bwMode="auto">
              <a:xfrm>
                <a:off x="6670" y="3775"/>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7" name="Freeform 143">
                <a:extLst>
                  <a:ext uri="{FF2B5EF4-FFF2-40B4-BE49-F238E27FC236}">
                    <a16:creationId xmlns:a16="http://schemas.microsoft.com/office/drawing/2014/main" id="{5EF8AFA8-2C56-4705-96D1-E7F253B6BC4A}"/>
                  </a:ext>
                </a:extLst>
              </p:cNvPr>
              <p:cNvSpPr>
                <a:spLocks/>
              </p:cNvSpPr>
              <p:nvPr/>
            </p:nvSpPr>
            <p:spPr bwMode="auto">
              <a:xfrm>
                <a:off x="6670" y="3850"/>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8" name="Line 144">
                <a:extLst>
                  <a:ext uri="{FF2B5EF4-FFF2-40B4-BE49-F238E27FC236}">
                    <a16:creationId xmlns:a16="http://schemas.microsoft.com/office/drawing/2014/main" id="{80E03CE8-2DE4-4F6F-94B9-D78A8A3EE1E3}"/>
                  </a:ext>
                </a:extLst>
              </p:cNvPr>
              <p:cNvSpPr>
                <a:spLocks noChangeShapeType="1"/>
              </p:cNvSpPr>
              <p:nvPr/>
            </p:nvSpPr>
            <p:spPr bwMode="auto">
              <a:xfrm>
                <a:off x="6670" y="3850"/>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9" name="Freeform 145">
                <a:extLst>
                  <a:ext uri="{FF2B5EF4-FFF2-40B4-BE49-F238E27FC236}">
                    <a16:creationId xmlns:a16="http://schemas.microsoft.com/office/drawing/2014/main" id="{2F54852F-6320-47D4-9470-FB2CC5D580C9}"/>
                  </a:ext>
                </a:extLst>
              </p:cNvPr>
              <p:cNvSpPr>
                <a:spLocks/>
              </p:cNvSpPr>
              <p:nvPr/>
            </p:nvSpPr>
            <p:spPr bwMode="auto">
              <a:xfrm>
                <a:off x="6670" y="3812"/>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0" name="Line 146">
                <a:extLst>
                  <a:ext uri="{FF2B5EF4-FFF2-40B4-BE49-F238E27FC236}">
                    <a16:creationId xmlns:a16="http://schemas.microsoft.com/office/drawing/2014/main" id="{171E780D-ABBA-4060-986C-023119CA173C}"/>
                  </a:ext>
                </a:extLst>
              </p:cNvPr>
              <p:cNvSpPr>
                <a:spLocks noChangeShapeType="1"/>
              </p:cNvSpPr>
              <p:nvPr/>
            </p:nvSpPr>
            <p:spPr bwMode="auto">
              <a:xfrm>
                <a:off x="6670" y="3812"/>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2" name="Line 148">
                <a:extLst>
                  <a:ext uri="{FF2B5EF4-FFF2-40B4-BE49-F238E27FC236}">
                    <a16:creationId xmlns:a16="http://schemas.microsoft.com/office/drawing/2014/main" id="{42F9ABE5-963A-4603-BA03-ED9092E46CDB}"/>
                  </a:ext>
                </a:extLst>
              </p:cNvPr>
              <p:cNvSpPr>
                <a:spLocks noChangeShapeType="1"/>
              </p:cNvSpPr>
              <p:nvPr/>
            </p:nvSpPr>
            <p:spPr bwMode="auto">
              <a:xfrm flipV="1">
                <a:off x="6647" y="3733"/>
                <a:ext cx="0" cy="12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4" name="Line 150">
                <a:extLst>
                  <a:ext uri="{FF2B5EF4-FFF2-40B4-BE49-F238E27FC236}">
                    <a16:creationId xmlns:a16="http://schemas.microsoft.com/office/drawing/2014/main" id="{1A586CB2-BB76-470C-B13C-FF74AEF51837}"/>
                  </a:ext>
                </a:extLst>
              </p:cNvPr>
              <p:cNvSpPr>
                <a:spLocks noChangeShapeType="1"/>
              </p:cNvSpPr>
              <p:nvPr/>
            </p:nvSpPr>
            <p:spPr bwMode="auto">
              <a:xfrm>
                <a:off x="6636" y="3594"/>
                <a:ext cx="76"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0" name="Group 439">
            <a:extLst>
              <a:ext uri="{FF2B5EF4-FFF2-40B4-BE49-F238E27FC236}">
                <a16:creationId xmlns:a16="http://schemas.microsoft.com/office/drawing/2014/main" id="{47C4AE6A-362D-44C4-BBE9-6D28657BF85F}"/>
              </a:ext>
            </a:extLst>
          </p:cNvPr>
          <p:cNvGrpSpPr/>
          <p:nvPr/>
        </p:nvGrpSpPr>
        <p:grpSpPr>
          <a:xfrm>
            <a:off x="8713467" y="4188457"/>
            <a:ext cx="1044070" cy="846813"/>
            <a:chOff x="8888190" y="4271947"/>
            <a:chExt cx="1065006" cy="863794"/>
          </a:xfrm>
        </p:grpSpPr>
        <p:sp>
          <p:nvSpPr>
            <p:cNvPr id="125" name="TextBox 124"/>
            <p:cNvSpPr txBox="1"/>
            <p:nvPr/>
          </p:nvSpPr>
          <p:spPr>
            <a:xfrm>
              <a:off x="8888190" y="4966209"/>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Pharmaceutical</a:t>
              </a:r>
            </a:p>
          </p:txBody>
        </p:sp>
        <p:grpSp>
          <p:nvGrpSpPr>
            <p:cNvPr id="315" name="Group 153">
              <a:extLst>
                <a:ext uri="{FF2B5EF4-FFF2-40B4-BE49-F238E27FC236}">
                  <a16:creationId xmlns:a16="http://schemas.microsoft.com/office/drawing/2014/main" id="{28F08007-7438-4BDD-B4D5-38F90D31F41F}"/>
                </a:ext>
              </a:extLst>
            </p:cNvPr>
            <p:cNvGrpSpPr>
              <a:grpSpLocks noChangeAspect="1"/>
            </p:cNvGrpSpPr>
            <p:nvPr/>
          </p:nvGrpSpPr>
          <p:grpSpPr bwMode="auto">
            <a:xfrm>
              <a:off x="9157168" y="4271947"/>
              <a:ext cx="527050" cy="531813"/>
              <a:chOff x="5925" y="2830"/>
              <a:chExt cx="332" cy="335"/>
            </a:xfrm>
            <a:solidFill>
              <a:srgbClr val="E6E6E6"/>
            </a:solidFill>
          </p:grpSpPr>
          <p:sp>
            <p:nvSpPr>
              <p:cNvPr id="317" name="Oval 154">
                <a:extLst>
                  <a:ext uri="{FF2B5EF4-FFF2-40B4-BE49-F238E27FC236}">
                    <a16:creationId xmlns:a16="http://schemas.microsoft.com/office/drawing/2014/main" id="{A4B04031-A13A-4E84-B795-DA7F34964281}"/>
                  </a:ext>
                </a:extLst>
              </p:cNvPr>
              <p:cNvSpPr>
                <a:spLocks noChangeArrowheads="1"/>
              </p:cNvSpPr>
              <p:nvPr/>
            </p:nvSpPr>
            <p:spPr bwMode="auto">
              <a:xfrm>
                <a:off x="5925" y="2830"/>
                <a:ext cx="332" cy="33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8" name="Freeform 155">
                <a:extLst>
                  <a:ext uri="{FF2B5EF4-FFF2-40B4-BE49-F238E27FC236}">
                    <a16:creationId xmlns:a16="http://schemas.microsoft.com/office/drawing/2014/main" id="{26B051E0-9285-4DDF-96EF-4402FE4FC78E}"/>
                  </a:ext>
                </a:extLst>
              </p:cNvPr>
              <p:cNvSpPr>
                <a:spLocks/>
              </p:cNvSpPr>
              <p:nvPr/>
            </p:nvSpPr>
            <p:spPr bwMode="auto">
              <a:xfrm>
                <a:off x="6011" y="2916"/>
                <a:ext cx="160" cy="161"/>
              </a:xfrm>
              <a:custGeom>
                <a:avLst/>
                <a:gdLst>
                  <a:gd name="T0" fmla="*/ 160 w 160"/>
                  <a:gd name="T1" fmla="*/ 49 h 161"/>
                  <a:gd name="T2" fmla="*/ 111 w 160"/>
                  <a:gd name="T3" fmla="*/ 49 h 161"/>
                  <a:gd name="T4" fmla="*/ 111 w 160"/>
                  <a:gd name="T5" fmla="*/ 0 h 161"/>
                  <a:gd name="T6" fmla="*/ 49 w 160"/>
                  <a:gd name="T7" fmla="*/ 0 h 161"/>
                  <a:gd name="T8" fmla="*/ 49 w 160"/>
                  <a:gd name="T9" fmla="*/ 49 h 161"/>
                  <a:gd name="T10" fmla="*/ 0 w 160"/>
                  <a:gd name="T11" fmla="*/ 49 h 161"/>
                  <a:gd name="T12" fmla="*/ 0 w 160"/>
                  <a:gd name="T13" fmla="*/ 113 h 161"/>
                  <a:gd name="T14" fmla="*/ 49 w 160"/>
                  <a:gd name="T15" fmla="*/ 113 h 161"/>
                  <a:gd name="T16" fmla="*/ 49 w 160"/>
                  <a:gd name="T17" fmla="*/ 161 h 161"/>
                  <a:gd name="T18" fmla="*/ 111 w 160"/>
                  <a:gd name="T19" fmla="*/ 161 h 161"/>
                  <a:gd name="T20" fmla="*/ 111 w 160"/>
                  <a:gd name="T21" fmla="*/ 113 h 161"/>
                  <a:gd name="T22" fmla="*/ 160 w 160"/>
                  <a:gd name="T23" fmla="*/ 113 h 161"/>
                  <a:gd name="T24" fmla="*/ 160 w 160"/>
                  <a:gd name="T25" fmla="*/ 4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161">
                    <a:moveTo>
                      <a:pt x="160" y="49"/>
                    </a:moveTo>
                    <a:lnTo>
                      <a:pt x="111" y="49"/>
                    </a:lnTo>
                    <a:lnTo>
                      <a:pt x="111" y="0"/>
                    </a:lnTo>
                    <a:lnTo>
                      <a:pt x="49" y="0"/>
                    </a:lnTo>
                    <a:lnTo>
                      <a:pt x="49" y="49"/>
                    </a:lnTo>
                    <a:lnTo>
                      <a:pt x="0" y="49"/>
                    </a:lnTo>
                    <a:lnTo>
                      <a:pt x="0" y="113"/>
                    </a:lnTo>
                    <a:lnTo>
                      <a:pt x="49" y="113"/>
                    </a:lnTo>
                    <a:lnTo>
                      <a:pt x="49" y="161"/>
                    </a:lnTo>
                    <a:lnTo>
                      <a:pt x="111" y="161"/>
                    </a:lnTo>
                    <a:lnTo>
                      <a:pt x="111" y="113"/>
                    </a:lnTo>
                    <a:lnTo>
                      <a:pt x="160" y="113"/>
                    </a:lnTo>
                    <a:lnTo>
                      <a:pt x="160" y="4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9" name="Group 438">
            <a:extLst>
              <a:ext uri="{FF2B5EF4-FFF2-40B4-BE49-F238E27FC236}">
                <a16:creationId xmlns:a16="http://schemas.microsoft.com/office/drawing/2014/main" id="{DA179FD9-8F25-4C35-BD78-77F7A87197DC}"/>
              </a:ext>
            </a:extLst>
          </p:cNvPr>
          <p:cNvGrpSpPr/>
          <p:nvPr/>
        </p:nvGrpSpPr>
        <p:grpSpPr>
          <a:xfrm>
            <a:off x="10505677" y="4292729"/>
            <a:ext cx="1044070" cy="742541"/>
            <a:chOff x="10716337" y="4378310"/>
            <a:chExt cx="1065006" cy="757431"/>
          </a:xfrm>
        </p:grpSpPr>
        <p:sp>
          <p:nvSpPr>
            <p:cNvPr id="131" name="TextBox 130"/>
            <p:cNvSpPr txBox="1"/>
            <p:nvPr/>
          </p:nvSpPr>
          <p:spPr>
            <a:xfrm>
              <a:off x="10716337" y="4966209"/>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Healthcare</a:t>
              </a:r>
            </a:p>
          </p:txBody>
        </p:sp>
        <p:grpSp>
          <p:nvGrpSpPr>
            <p:cNvPr id="319" name="Group 158">
              <a:extLst>
                <a:ext uri="{FF2B5EF4-FFF2-40B4-BE49-F238E27FC236}">
                  <a16:creationId xmlns:a16="http://schemas.microsoft.com/office/drawing/2014/main" id="{0CE07304-6C36-43C4-8DD1-BBA936939642}"/>
                </a:ext>
              </a:extLst>
            </p:cNvPr>
            <p:cNvGrpSpPr>
              <a:grpSpLocks noChangeAspect="1"/>
            </p:cNvGrpSpPr>
            <p:nvPr/>
          </p:nvGrpSpPr>
          <p:grpSpPr bwMode="auto">
            <a:xfrm>
              <a:off x="10977378" y="4378310"/>
              <a:ext cx="542925" cy="425450"/>
              <a:chOff x="7133" y="2920"/>
              <a:chExt cx="342" cy="268"/>
            </a:xfrm>
            <a:solidFill>
              <a:srgbClr val="E6E6E6"/>
            </a:solidFill>
          </p:grpSpPr>
          <p:sp>
            <p:nvSpPr>
              <p:cNvPr id="321" name="Freeform 159">
                <a:extLst>
                  <a:ext uri="{FF2B5EF4-FFF2-40B4-BE49-F238E27FC236}">
                    <a16:creationId xmlns:a16="http://schemas.microsoft.com/office/drawing/2014/main" id="{931DCFCA-B01B-453B-A0D2-51441EEB0FF4}"/>
                  </a:ext>
                </a:extLst>
              </p:cNvPr>
              <p:cNvSpPr>
                <a:spLocks/>
              </p:cNvSpPr>
              <p:nvPr/>
            </p:nvSpPr>
            <p:spPr bwMode="auto">
              <a:xfrm>
                <a:off x="7133" y="2920"/>
                <a:ext cx="342" cy="268"/>
              </a:xfrm>
              <a:custGeom>
                <a:avLst/>
                <a:gdLst>
                  <a:gd name="T0" fmla="*/ 172 w 187"/>
                  <a:gd name="T1" fmla="*/ 147 h 147"/>
                  <a:gd name="T2" fmla="*/ 16 w 187"/>
                  <a:gd name="T3" fmla="*/ 147 h 147"/>
                  <a:gd name="T4" fmla="*/ 0 w 187"/>
                  <a:gd name="T5" fmla="*/ 132 h 147"/>
                  <a:gd name="T6" fmla="*/ 0 w 187"/>
                  <a:gd name="T7" fmla="*/ 16 h 147"/>
                  <a:gd name="T8" fmla="*/ 16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6" y="147"/>
                      <a:pt x="16" y="147"/>
                      <a:pt x="16" y="147"/>
                    </a:cubicBezTo>
                    <a:cubicBezTo>
                      <a:pt x="7" y="147"/>
                      <a:pt x="0" y="140"/>
                      <a:pt x="0" y="132"/>
                    </a:cubicBezTo>
                    <a:cubicBezTo>
                      <a:pt x="0" y="16"/>
                      <a:pt x="0" y="16"/>
                      <a:pt x="0" y="16"/>
                    </a:cubicBezTo>
                    <a:cubicBezTo>
                      <a:pt x="0" y="7"/>
                      <a:pt x="7" y="0"/>
                      <a:pt x="16" y="0"/>
                    </a:cubicBezTo>
                    <a:cubicBezTo>
                      <a:pt x="172" y="0"/>
                      <a:pt x="172" y="0"/>
                      <a:pt x="172" y="0"/>
                    </a:cubicBezTo>
                    <a:cubicBezTo>
                      <a:pt x="181" y="0"/>
                      <a:pt x="187" y="7"/>
                      <a:pt x="187" y="16"/>
                    </a:cubicBezTo>
                    <a:cubicBezTo>
                      <a:pt x="187" y="132"/>
                      <a:pt x="187" y="132"/>
                      <a:pt x="187" y="132"/>
                    </a:cubicBezTo>
                    <a:cubicBezTo>
                      <a:pt x="187" y="140"/>
                      <a:pt x="181" y="147"/>
                      <a:pt x="172" y="147"/>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2" name="Rectangle 160">
                <a:extLst>
                  <a:ext uri="{FF2B5EF4-FFF2-40B4-BE49-F238E27FC236}">
                    <a16:creationId xmlns:a16="http://schemas.microsoft.com/office/drawing/2014/main" id="{BC7B4D12-0053-4084-A9E0-77FEE28C102B}"/>
                  </a:ext>
                </a:extLst>
              </p:cNvPr>
              <p:cNvSpPr>
                <a:spLocks noChangeArrowheads="1"/>
              </p:cNvSpPr>
              <p:nvPr/>
            </p:nvSpPr>
            <p:spPr bwMode="auto">
              <a:xfrm>
                <a:off x="7164" y="2949"/>
                <a:ext cx="282" cy="21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4" name="Freeform 162">
                <a:extLst>
                  <a:ext uri="{FF2B5EF4-FFF2-40B4-BE49-F238E27FC236}">
                    <a16:creationId xmlns:a16="http://schemas.microsoft.com/office/drawing/2014/main" id="{DD59EE83-98CF-4144-B644-8B3DE27A5FB6}"/>
                  </a:ext>
                </a:extLst>
              </p:cNvPr>
              <p:cNvSpPr>
                <a:spLocks/>
              </p:cNvSpPr>
              <p:nvPr/>
            </p:nvSpPr>
            <p:spPr bwMode="auto">
              <a:xfrm>
                <a:off x="7184" y="3013"/>
                <a:ext cx="241" cy="69"/>
              </a:xfrm>
              <a:custGeom>
                <a:avLst/>
                <a:gdLst>
                  <a:gd name="T0" fmla="*/ 0 w 241"/>
                  <a:gd name="T1" fmla="*/ 49 h 69"/>
                  <a:gd name="T2" fmla="*/ 75 w 241"/>
                  <a:gd name="T3" fmla="*/ 49 h 69"/>
                  <a:gd name="T4" fmla="*/ 86 w 241"/>
                  <a:gd name="T5" fmla="*/ 38 h 69"/>
                  <a:gd name="T6" fmla="*/ 101 w 241"/>
                  <a:gd name="T7" fmla="*/ 69 h 69"/>
                  <a:gd name="T8" fmla="*/ 126 w 241"/>
                  <a:gd name="T9" fmla="*/ 0 h 69"/>
                  <a:gd name="T10" fmla="*/ 148 w 241"/>
                  <a:gd name="T11" fmla="*/ 69 h 69"/>
                  <a:gd name="T12" fmla="*/ 170 w 241"/>
                  <a:gd name="T13" fmla="*/ 38 h 69"/>
                  <a:gd name="T14" fmla="*/ 181 w 241"/>
                  <a:gd name="T15" fmla="*/ 51 h 69"/>
                  <a:gd name="T16" fmla="*/ 241 w 241"/>
                  <a:gd name="T17" fmla="*/ 5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 h="69">
                    <a:moveTo>
                      <a:pt x="0" y="49"/>
                    </a:moveTo>
                    <a:lnTo>
                      <a:pt x="75" y="49"/>
                    </a:lnTo>
                    <a:lnTo>
                      <a:pt x="86" y="38"/>
                    </a:lnTo>
                    <a:lnTo>
                      <a:pt x="101" y="69"/>
                    </a:lnTo>
                    <a:lnTo>
                      <a:pt x="126" y="0"/>
                    </a:lnTo>
                    <a:lnTo>
                      <a:pt x="148" y="69"/>
                    </a:lnTo>
                    <a:lnTo>
                      <a:pt x="170" y="38"/>
                    </a:lnTo>
                    <a:lnTo>
                      <a:pt x="181" y="51"/>
                    </a:lnTo>
                    <a:lnTo>
                      <a:pt x="241" y="51"/>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2" name="Group 441">
            <a:extLst>
              <a:ext uri="{FF2B5EF4-FFF2-40B4-BE49-F238E27FC236}">
                <a16:creationId xmlns:a16="http://schemas.microsoft.com/office/drawing/2014/main" id="{F3B71DE1-6F69-4E41-8415-3BEF79579908}"/>
              </a:ext>
            </a:extLst>
          </p:cNvPr>
          <p:cNvGrpSpPr/>
          <p:nvPr/>
        </p:nvGrpSpPr>
        <p:grpSpPr>
          <a:xfrm>
            <a:off x="10505677" y="2993174"/>
            <a:ext cx="1044070" cy="686005"/>
            <a:chOff x="10716337" y="3052697"/>
            <a:chExt cx="1065006" cy="699761"/>
          </a:xfrm>
        </p:grpSpPr>
        <p:sp>
          <p:nvSpPr>
            <p:cNvPr id="137" name="TextBox 136"/>
            <p:cNvSpPr txBox="1"/>
            <p:nvPr/>
          </p:nvSpPr>
          <p:spPr>
            <a:xfrm>
              <a:off x="10716337" y="3582926"/>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Oceaneering</a:t>
              </a:r>
            </a:p>
          </p:txBody>
        </p:sp>
        <p:grpSp>
          <p:nvGrpSpPr>
            <p:cNvPr id="325" name="Group 165">
              <a:extLst>
                <a:ext uri="{FF2B5EF4-FFF2-40B4-BE49-F238E27FC236}">
                  <a16:creationId xmlns:a16="http://schemas.microsoft.com/office/drawing/2014/main" id="{7EEC84BE-5554-422E-BF61-77F7F76184AD}"/>
                </a:ext>
              </a:extLst>
            </p:cNvPr>
            <p:cNvGrpSpPr>
              <a:grpSpLocks noChangeAspect="1"/>
            </p:cNvGrpSpPr>
            <p:nvPr/>
          </p:nvGrpSpPr>
          <p:grpSpPr bwMode="auto">
            <a:xfrm>
              <a:off x="10948803" y="3052697"/>
              <a:ext cx="600075" cy="381000"/>
              <a:chOff x="6934" y="1932"/>
              <a:chExt cx="378" cy="240"/>
            </a:xfrm>
            <a:solidFill>
              <a:srgbClr val="E6E6E6"/>
            </a:solidFill>
          </p:grpSpPr>
          <p:sp>
            <p:nvSpPr>
              <p:cNvPr id="327" name="Freeform 166">
                <a:extLst>
                  <a:ext uri="{FF2B5EF4-FFF2-40B4-BE49-F238E27FC236}">
                    <a16:creationId xmlns:a16="http://schemas.microsoft.com/office/drawing/2014/main" id="{956E88D3-4805-4A4C-97FA-EF23D9BA55BF}"/>
                  </a:ext>
                </a:extLst>
              </p:cNvPr>
              <p:cNvSpPr>
                <a:spLocks/>
              </p:cNvSpPr>
              <p:nvPr/>
            </p:nvSpPr>
            <p:spPr bwMode="auto">
              <a:xfrm>
                <a:off x="6934" y="2056"/>
                <a:ext cx="327" cy="116"/>
              </a:xfrm>
              <a:custGeom>
                <a:avLst/>
                <a:gdLst>
                  <a:gd name="T0" fmla="*/ 141 w 179"/>
                  <a:gd name="T1" fmla="*/ 0 h 63"/>
                  <a:gd name="T2" fmla="*/ 38 w 179"/>
                  <a:gd name="T3" fmla="*/ 0 h 63"/>
                  <a:gd name="T4" fmla="*/ 0 w 179"/>
                  <a:gd name="T5" fmla="*/ 32 h 63"/>
                  <a:gd name="T6" fmla="*/ 38 w 179"/>
                  <a:gd name="T7" fmla="*/ 63 h 63"/>
                  <a:gd name="T8" fmla="*/ 141 w 179"/>
                  <a:gd name="T9" fmla="*/ 63 h 63"/>
                  <a:gd name="T10" fmla="*/ 179 w 179"/>
                  <a:gd name="T11" fmla="*/ 31 h 63"/>
                  <a:gd name="T12" fmla="*/ 141 w 179"/>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179" h="63">
                    <a:moveTo>
                      <a:pt x="141" y="0"/>
                    </a:moveTo>
                    <a:cubicBezTo>
                      <a:pt x="38" y="0"/>
                      <a:pt x="38" y="0"/>
                      <a:pt x="38" y="0"/>
                    </a:cubicBezTo>
                    <a:cubicBezTo>
                      <a:pt x="17" y="0"/>
                      <a:pt x="0" y="15"/>
                      <a:pt x="0" y="32"/>
                    </a:cubicBezTo>
                    <a:cubicBezTo>
                      <a:pt x="0" y="49"/>
                      <a:pt x="17" y="63"/>
                      <a:pt x="38" y="63"/>
                    </a:cubicBezTo>
                    <a:cubicBezTo>
                      <a:pt x="141" y="63"/>
                      <a:pt x="141" y="63"/>
                      <a:pt x="141" y="63"/>
                    </a:cubicBezTo>
                    <a:cubicBezTo>
                      <a:pt x="162" y="63"/>
                      <a:pt x="179" y="49"/>
                      <a:pt x="179" y="31"/>
                    </a:cubicBezTo>
                    <a:cubicBezTo>
                      <a:pt x="179" y="14"/>
                      <a:pt x="162" y="0"/>
                      <a:pt x="141" y="0"/>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8" name="Freeform 167">
                <a:extLst>
                  <a:ext uri="{FF2B5EF4-FFF2-40B4-BE49-F238E27FC236}">
                    <a16:creationId xmlns:a16="http://schemas.microsoft.com/office/drawing/2014/main" id="{6A704F57-6F61-45F0-B3C7-DE50E5200A81}"/>
                  </a:ext>
                </a:extLst>
              </p:cNvPr>
              <p:cNvSpPr>
                <a:spLocks/>
              </p:cNvSpPr>
              <p:nvPr/>
            </p:nvSpPr>
            <p:spPr bwMode="auto">
              <a:xfrm>
                <a:off x="7261" y="2061"/>
                <a:ext cx="51" cy="54"/>
              </a:xfrm>
              <a:custGeom>
                <a:avLst/>
                <a:gdLst>
                  <a:gd name="T0" fmla="*/ 0 w 28"/>
                  <a:gd name="T1" fmla="*/ 29 h 29"/>
                  <a:gd name="T2" fmla="*/ 28 w 28"/>
                  <a:gd name="T3" fmla="*/ 0 h 29"/>
                  <a:gd name="T4" fmla="*/ 28 w 28"/>
                  <a:gd name="T5" fmla="*/ 29 h 29"/>
                  <a:gd name="T6" fmla="*/ 0 w 28"/>
                  <a:gd name="T7" fmla="*/ 29 h 29"/>
                </a:gdLst>
                <a:ahLst/>
                <a:cxnLst>
                  <a:cxn ang="0">
                    <a:pos x="T0" y="T1"/>
                  </a:cxn>
                  <a:cxn ang="0">
                    <a:pos x="T2" y="T3"/>
                  </a:cxn>
                  <a:cxn ang="0">
                    <a:pos x="T4" y="T5"/>
                  </a:cxn>
                  <a:cxn ang="0">
                    <a:pos x="T6" y="T7"/>
                  </a:cxn>
                </a:cxnLst>
                <a:rect l="0" t="0" r="r" b="b"/>
                <a:pathLst>
                  <a:path w="28" h="29">
                    <a:moveTo>
                      <a:pt x="0" y="29"/>
                    </a:moveTo>
                    <a:cubicBezTo>
                      <a:pt x="0" y="13"/>
                      <a:pt x="12" y="0"/>
                      <a:pt x="28" y="0"/>
                    </a:cubicBezTo>
                    <a:cubicBezTo>
                      <a:pt x="28" y="29"/>
                      <a:pt x="28" y="29"/>
                      <a:pt x="28" y="29"/>
                    </a:cubicBezTo>
                    <a:lnTo>
                      <a:pt x="0" y="2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9" name="Freeform 168">
                <a:extLst>
                  <a:ext uri="{FF2B5EF4-FFF2-40B4-BE49-F238E27FC236}">
                    <a16:creationId xmlns:a16="http://schemas.microsoft.com/office/drawing/2014/main" id="{838515E5-835B-4407-BA30-935B63B5864E}"/>
                  </a:ext>
                </a:extLst>
              </p:cNvPr>
              <p:cNvSpPr>
                <a:spLocks/>
              </p:cNvSpPr>
              <p:nvPr/>
            </p:nvSpPr>
            <p:spPr bwMode="auto">
              <a:xfrm>
                <a:off x="7261" y="2115"/>
                <a:ext cx="51" cy="51"/>
              </a:xfrm>
              <a:custGeom>
                <a:avLst/>
                <a:gdLst>
                  <a:gd name="T0" fmla="*/ 0 w 28"/>
                  <a:gd name="T1" fmla="*/ 0 h 28"/>
                  <a:gd name="T2" fmla="*/ 28 w 28"/>
                  <a:gd name="T3" fmla="*/ 28 h 28"/>
                  <a:gd name="T4" fmla="*/ 28 w 28"/>
                  <a:gd name="T5" fmla="*/ 0 h 28"/>
                  <a:gd name="T6" fmla="*/ 0 w 28"/>
                  <a:gd name="T7" fmla="*/ 0 h 28"/>
                </a:gdLst>
                <a:ahLst/>
                <a:cxnLst>
                  <a:cxn ang="0">
                    <a:pos x="T0" y="T1"/>
                  </a:cxn>
                  <a:cxn ang="0">
                    <a:pos x="T2" y="T3"/>
                  </a:cxn>
                  <a:cxn ang="0">
                    <a:pos x="T4" y="T5"/>
                  </a:cxn>
                  <a:cxn ang="0">
                    <a:pos x="T6" y="T7"/>
                  </a:cxn>
                </a:cxnLst>
                <a:rect l="0" t="0" r="r" b="b"/>
                <a:pathLst>
                  <a:path w="28" h="28">
                    <a:moveTo>
                      <a:pt x="0" y="0"/>
                    </a:moveTo>
                    <a:cubicBezTo>
                      <a:pt x="0" y="15"/>
                      <a:pt x="12" y="28"/>
                      <a:pt x="28" y="28"/>
                    </a:cubicBezTo>
                    <a:cubicBezTo>
                      <a:pt x="28" y="0"/>
                      <a:pt x="28" y="0"/>
                      <a:pt x="28"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2" name="Freeform 171">
                <a:extLst>
                  <a:ext uri="{FF2B5EF4-FFF2-40B4-BE49-F238E27FC236}">
                    <a16:creationId xmlns:a16="http://schemas.microsoft.com/office/drawing/2014/main" id="{1680413E-D3B3-4EFD-82F9-7036B4AD0BAB}"/>
                  </a:ext>
                </a:extLst>
              </p:cNvPr>
              <p:cNvSpPr>
                <a:spLocks/>
              </p:cNvSpPr>
              <p:nvPr/>
            </p:nvSpPr>
            <p:spPr bwMode="auto">
              <a:xfrm>
                <a:off x="7016" y="2056"/>
                <a:ext cx="0" cy="116"/>
              </a:xfrm>
              <a:custGeom>
                <a:avLst/>
                <a:gdLst>
                  <a:gd name="T0" fmla="*/ 0 h 116"/>
                  <a:gd name="T1" fmla="*/ 116 h 116"/>
                  <a:gd name="T2" fmla="*/ 0 h 116"/>
                </a:gdLst>
                <a:ahLst/>
                <a:cxnLst>
                  <a:cxn ang="0">
                    <a:pos x="0" y="T0"/>
                  </a:cxn>
                  <a:cxn ang="0">
                    <a:pos x="0" y="T1"/>
                  </a:cxn>
                  <a:cxn ang="0">
                    <a:pos x="0" y="T2"/>
                  </a:cxn>
                </a:cxnLst>
                <a:rect l="0" t="0" r="r" b="b"/>
                <a:pathLst>
                  <a:path h="116">
                    <a:moveTo>
                      <a:pt x="0" y="0"/>
                    </a:moveTo>
                    <a:lnTo>
                      <a:pt x="0" y="11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3" name="Line 172">
                <a:extLst>
                  <a:ext uri="{FF2B5EF4-FFF2-40B4-BE49-F238E27FC236}">
                    <a16:creationId xmlns:a16="http://schemas.microsoft.com/office/drawing/2014/main" id="{E6F19EC2-83AA-420D-8710-7B9409767E2F}"/>
                  </a:ext>
                </a:extLst>
              </p:cNvPr>
              <p:cNvSpPr>
                <a:spLocks noChangeShapeType="1"/>
              </p:cNvSpPr>
              <p:nvPr/>
            </p:nvSpPr>
            <p:spPr bwMode="auto">
              <a:xfrm>
                <a:off x="7016" y="2056"/>
                <a:ext cx="0" cy="11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4" name="Freeform 173">
                <a:extLst>
                  <a:ext uri="{FF2B5EF4-FFF2-40B4-BE49-F238E27FC236}">
                    <a16:creationId xmlns:a16="http://schemas.microsoft.com/office/drawing/2014/main" id="{A8A5AC58-DAC5-4071-825D-1315773157A7}"/>
                  </a:ext>
                </a:extLst>
              </p:cNvPr>
              <p:cNvSpPr>
                <a:spLocks/>
              </p:cNvSpPr>
              <p:nvPr/>
            </p:nvSpPr>
            <p:spPr bwMode="auto">
              <a:xfrm>
                <a:off x="7016" y="2010"/>
                <a:ext cx="128" cy="46"/>
              </a:xfrm>
              <a:custGeom>
                <a:avLst/>
                <a:gdLst>
                  <a:gd name="T0" fmla="*/ 128 w 128"/>
                  <a:gd name="T1" fmla="*/ 46 h 46"/>
                  <a:gd name="T2" fmla="*/ 0 w 128"/>
                  <a:gd name="T3" fmla="*/ 46 h 46"/>
                  <a:gd name="T4" fmla="*/ 0 w 128"/>
                  <a:gd name="T5" fmla="*/ 0 h 46"/>
                  <a:gd name="T6" fmla="*/ 108 w 128"/>
                  <a:gd name="T7" fmla="*/ 0 h 46"/>
                  <a:gd name="T8" fmla="*/ 128 w 128"/>
                  <a:gd name="T9" fmla="*/ 46 h 46"/>
                </a:gdLst>
                <a:ahLst/>
                <a:cxnLst>
                  <a:cxn ang="0">
                    <a:pos x="T0" y="T1"/>
                  </a:cxn>
                  <a:cxn ang="0">
                    <a:pos x="T2" y="T3"/>
                  </a:cxn>
                  <a:cxn ang="0">
                    <a:pos x="T4" y="T5"/>
                  </a:cxn>
                  <a:cxn ang="0">
                    <a:pos x="T6" y="T7"/>
                  </a:cxn>
                  <a:cxn ang="0">
                    <a:pos x="T8" y="T9"/>
                  </a:cxn>
                </a:cxnLst>
                <a:rect l="0" t="0" r="r" b="b"/>
                <a:pathLst>
                  <a:path w="128" h="46">
                    <a:moveTo>
                      <a:pt x="128" y="46"/>
                    </a:moveTo>
                    <a:lnTo>
                      <a:pt x="0" y="46"/>
                    </a:lnTo>
                    <a:lnTo>
                      <a:pt x="0" y="0"/>
                    </a:lnTo>
                    <a:lnTo>
                      <a:pt x="108" y="0"/>
                    </a:lnTo>
                    <a:lnTo>
                      <a:pt x="128" y="4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5" name="Freeform 174">
                <a:extLst>
                  <a:ext uri="{FF2B5EF4-FFF2-40B4-BE49-F238E27FC236}">
                    <a16:creationId xmlns:a16="http://schemas.microsoft.com/office/drawing/2014/main" id="{DC6D5FE1-8D19-4594-B87D-DC36A1FF4052}"/>
                  </a:ext>
                </a:extLst>
              </p:cNvPr>
              <p:cNvSpPr>
                <a:spLocks/>
              </p:cNvSpPr>
              <p:nvPr/>
            </p:nvSpPr>
            <p:spPr bwMode="auto">
              <a:xfrm>
                <a:off x="7080" y="1954"/>
                <a:ext cx="0" cy="56"/>
              </a:xfrm>
              <a:custGeom>
                <a:avLst/>
                <a:gdLst>
                  <a:gd name="T0" fmla="*/ 0 h 56"/>
                  <a:gd name="T1" fmla="*/ 56 h 56"/>
                  <a:gd name="T2" fmla="*/ 0 h 56"/>
                </a:gdLst>
                <a:ahLst/>
                <a:cxnLst>
                  <a:cxn ang="0">
                    <a:pos x="0" y="T0"/>
                  </a:cxn>
                  <a:cxn ang="0">
                    <a:pos x="0" y="T1"/>
                  </a:cxn>
                  <a:cxn ang="0">
                    <a:pos x="0" y="T2"/>
                  </a:cxn>
                </a:cxnLst>
                <a:rect l="0" t="0" r="r" b="b"/>
                <a:pathLst>
                  <a:path h="56">
                    <a:moveTo>
                      <a:pt x="0" y="0"/>
                    </a:moveTo>
                    <a:lnTo>
                      <a:pt x="0" y="5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6" name="Line 175">
                <a:extLst>
                  <a:ext uri="{FF2B5EF4-FFF2-40B4-BE49-F238E27FC236}">
                    <a16:creationId xmlns:a16="http://schemas.microsoft.com/office/drawing/2014/main" id="{51B76ADB-5BD0-43FD-8067-0BCE8579F839}"/>
                  </a:ext>
                </a:extLst>
              </p:cNvPr>
              <p:cNvSpPr>
                <a:spLocks noChangeShapeType="1"/>
              </p:cNvSpPr>
              <p:nvPr/>
            </p:nvSpPr>
            <p:spPr bwMode="auto">
              <a:xfrm>
                <a:off x="7080" y="1954"/>
                <a:ext cx="0" cy="5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7" name="Freeform 176">
                <a:extLst>
                  <a:ext uri="{FF2B5EF4-FFF2-40B4-BE49-F238E27FC236}">
                    <a16:creationId xmlns:a16="http://schemas.microsoft.com/office/drawing/2014/main" id="{9A0A6AE1-D6BD-4968-B8D4-8CAD1D2F8230}"/>
                  </a:ext>
                </a:extLst>
              </p:cNvPr>
              <p:cNvSpPr>
                <a:spLocks/>
              </p:cNvSpPr>
              <p:nvPr/>
            </p:nvSpPr>
            <p:spPr bwMode="auto">
              <a:xfrm>
                <a:off x="7057" y="1958"/>
                <a:ext cx="0" cy="52"/>
              </a:xfrm>
              <a:custGeom>
                <a:avLst/>
                <a:gdLst>
                  <a:gd name="T0" fmla="*/ 52 h 52"/>
                  <a:gd name="T1" fmla="*/ 0 h 52"/>
                  <a:gd name="T2" fmla="*/ 52 h 52"/>
                </a:gdLst>
                <a:ahLst/>
                <a:cxnLst>
                  <a:cxn ang="0">
                    <a:pos x="0" y="T0"/>
                  </a:cxn>
                  <a:cxn ang="0">
                    <a:pos x="0" y="T1"/>
                  </a:cxn>
                  <a:cxn ang="0">
                    <a:pos x="0" y="T2"/>
                  </a:cxn>
                </a:cxnLst>
                <a:rect l="0" t="0" r="r" b="b"/>
                <a:pathLst>
                  <a:path h="52">
                    <a:moveTo>
                      <a:pt x="0" y="52"/>
                    </a:moveTo>
                    <a:lnTo>
                      <a:pt x="0" y="0"/>
                    </a:lnTo>
                    <a:lnTo>
                      <a:pt x="0" y="52"/>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8" name="Line 177">
                <a:extLst>
                  <a:ext uri="{FF2B5EF4-FFF2-40B4-BE49-F238E27FC236}">
                    <a16:creationId xmlns:a16="http://schemas.microsoft.com/office/drawing/2014/main" id="{B821B6F7-072B-460D-AE35-A0F00EA85D33}"/>
                  </a:ext>
                </a:extLst>
              </p:cNvPr>
              <p:cNvSpPr>
                <a:spLocks noChangeShapeType="1"/>
              </p:cNvSpPr>
              <p:nvPr/>
            </p:nvSpPr>
            <p:spPr bwMode="auto">
              <a:xfrm flipV="1">
                <a:off x="7057" y="1958"/>
                <a:ext cx="0" cy="5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9" name="Freeform 178">
                <a:extLst>
                  <a:ext uri="{FF2B5EF4-FFF2-40B4-BE49-F238E27FC236}">
                    <a16:creationId xmlns:a16="http://schemas.microsoft.com/office/drawing/2014/main" id="{0655AC84-638E-4037-814F-305F4E65EC0C}"/>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0" name="Freeform 179">
                <a:extLst>
                  <a:ext uri="{FF2B5EF4-FFF2-40B4-BE49-F238E27FC236}">
                    <a16:creationId xmlns:a16="http://schemas.microsoft.com/office/drawing/2014/main" id="{E50EE70D-E696-4F0E-BAC5-448113D3B356}"/>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1" name="Group 440">
            <a:extLst>
              <a:ext uri="{FF2B5EF4-FFF2-40B4-BE49-F238E27FC236}">
                <a16:creationId xmlns:a16="http://schemas.microsoft.com/office/drawing/2014/main" id="{5EF75132-EDAE-42CA-B531-DDBBBB41763A}"/>
              </a:ext>
            </a:extLst>
          </p:cNvPr>
          <p:cNvGrpSpPr/>
          <p:nvPr/>
        </p:nvGrpSpPr>
        <p:grpSpPr>
          <a:xfrm>
            <a:off x="8713467" y="2892016"/>
            <a:ext cx="1044070" cy="943779"/>
            <a:chOff x="8888190" y="2949509"/>
            <a:chExt cx="1065006" cy="962704"/>
          </a:xfrm>
        </p:grpSpPr>
        <p:sp>
          <p:nvSpPr>
            <p:cNvPr id="122" name="TextBox 121"/>
            <p:cNvSpPr txBox="1"/>
            <p:nvPr/>
          </p:nvSpPr>
          <p:spPr>
            <a:xfrm>
              <a:off x="8888190" y="3573659"/>
              <a:ext cx="1065006" cy="338554"/>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Defense &amp; Aerospace</a:t>
              </a:r>
            </a:p>
          </p:txBody>
        </p:sp>
        <p:grpSp>
          <p:nvGrpSpPr>
            <p:cNvPr id="341" name="Group 182">
              <a:extLst>
                <a:ext uri="{FF2B5EF4-FFF2-40B4-BE49-F238E27FC236}">
                  <a16:creationId xmlns:a16="http://schemas.microsoft.com/office/drawing/2014/main" id="{07A431C0-C102-4C67-B676-864830CD052C}"/>
                </a:ext>
              </a:extLst>
            </p:cNvPr>
            <p:cNvGrpSpPr>
              <a:grpSpLocks noChangeAspect="1"/>
            </p:cNvGrpSpPr>
            <p:nvPr/>
          </p:nvGrpSpPr>
          <p:grpSpPr bwMode="auto">
            <a:xfrm>
              <a:off x="9211143" y="2949509"/>
              <a:ext cx="419100" cy="484188"/>
              <a:chOff x="5913" y="1871"/>
              <a:chExt cx="264" cy="305"/>
            </a:xfrm>
            <a:solidFill>
              <a:srgbClr val="E6E6E6"/>
            </a:solidFill>
          </p:grpSpPr>
          <p:sp>
            <p:nvSpPr>
              <p:cNvPr id="343" name="Freeform 183">
                <a:extLst>
                  <a:ext uri="{FF2B5EF4-FFF2-40B4-BE49-F238E27FC236}">
                    <a16:creationId xmlns:a16="http://schemas.microsoft.com/office/drawing/2014/main" id="{01793668-5EC4-44E5-9341-4CB35ABE21E6}"/>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4" name="Freeform 184">
                <a:extLst>
                  <a:ext uri="{FF2B5EF4-FFF2-40B4-BE49-F238E27FC236}">
                    <a16:creationId xmlns:a16="http://schemas.microsoft.com/office/drawing/2014/main" id="{41E9D139-1587-4A46-8BE5-D08CFD20E8DE}"/>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5" name="Freeform 185">
                <a:extLst>
                  <a:ext uri="{FF2B5EF4-FFF2-40B4-BE49-F238E27FC236}">
                    <a16:creationId xmlns:a16="http://schemas.microsoft.com/office/drawing/2014/main" id="{D05E5090-4F07-48A3-8DEB-5ABE1DC87988}"/>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6" name="Freeform 186">
                <a:extLst>
                  <a:ext uri="{FF2B5EF4-FFF2-40B4-BE49-F238E27FC236}">
                    <a16:creationId xmlns:a16="http://schemas.microsoft.com/office/drawing/2014/main" id="{FCD86132-69A9-4F1F-8CD4-E19277ADB057}"/>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7" name="Freeform 187">
                <a:extLst>
                  <a:ext uri="{FF2B5EF4-FFF2-40B4-BE49-F238E27FC236}">
                    <a16:creationId xmlns:a16="http://schemas.microsoft.com/office/drawing/2014/main" id="{37ADE624-D45C-4C3C-9669-95101D34AEEB}"/>
                  </a:ext>
                </a:extLst>
              </p:cNvPr>
              <p:cNvSpPr>
                <a:spLocks/>
              </p:cNvSpPr>
              <p:nvPr/>
            </p:nvSpPr>
            <p:spPr bwMode="auto">
              <a:xfrm>
                <a:off x="5988" y="1956"/>
                <a:ext cx="113" cy="108"/>
              </a:xfrm>
              <a:custGeom>
                <a:avLst/>
                <a:gdLst>
                  <a:gd name="T0" fmla="*/ 57 w 113"/>
                  <a:gd name="T1" fmla="*/ 0 h 108"/>
                  <a:gd name="T2" fmla="*/ 75 w 113"/>
                  <a:gd name="T3" fmla="*/ 35 h 108"/>
                  <a:gd name="T4" fmla="*/ 113 w 113"/>
                  <a:gd name="T5" fmla="*/ 40 h 108"/>
                  <a:gd name="T6" fmla="*/ 86 w 113"/>
                  <a:gd name="T7" fmla="*/ 69 h 108"/>
                  <a:gd name="T8" fmla="*/ 91 w 113"/>
                  <a:gd name="T9" fmla="*/ 108 h 108"/>
                  <a:gd name="T10" fmla="*/ 57 w 113"/>
                  <a:gd name="T11" fmla="*/ 89 h 108"/>
                  <a:gd name="T12" fmla="*/ 22 w 113"/>
                  <a:gd name="T13" fmla="*/ 108 h 108"/>
                  <a:gd name="T14" fmla="*/ 27 w 113"/>
                  <a:gd name="T15" fmla="*/ 69 h 108"/>
                  <a:gd name="T16" fmla="*/ 0 w 113"/>
                  <a:gd name="T17" fmla="*/ 40 h 108"/>
                  <a:gd name="T18" fmla="*/ 38 w 113"/>
                  <a:gd name="T19" fmla="*/ 35 h 108"/>
                  <a:gd name="T20" fmla="*/ 57 w 113"/>
                  <a:gd name="T21"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08">
                    <a:moveTo>
                      <a:pt x="57" y="0"/>
                    </a:moveTo>
                    <a:lnTo>
                      <a:pt x="75" y="35"/>
                    </a:lnTo>
                    <a:lnTo>
                      <a:pt x="113" y="40"/>
                    </a:lnTo>
                    <a:lnTo>
                      <a:pt x="86" y="69"/>
                    </a:lnTo>
                    <a:lnTo>
                      <a:pt x="91" y="108"/>
                    </a:lnTo>
                    <a:lnTo>
                      <a:pt x="57" y="89"/>
                    </a:lnTo>
                    <a:lnTo>
                      <a:pt x="22" y="108"/>
                    </a:lnTo>
                    <a:lnTo>
                      <a:pt x="27" y="69"/>
                    </a:lnTo>
                    <a:lnTo>
                      <a:pt x="0" y="40"/>
                    </a:lnTo>
                    <a:lnTo>
                      <a:pt x="38" y="35"/>
                    </a:lnTo>
                    <a:lnTo>
                      <a:pt x="57"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8" name="Freeform 188">
                <a:extLst>
                  <a:ext uri="{FF2B5EF4-FFF2-40B4-BE49-F238E27FC236}">
                    <a16:creationId xmlns:a16="http://schemas.microsoft.com/office/drawing/2014/main" id="{E7D5B15B-A047-4BC2-AD61-A8EF8C3E43B2}"/>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9" name="Freeform 189">
                <a:extLst>
                  <a:ext uri="{FF2B5EF4-FFF2-40B4-BE49-F238E27FC236}">
                    <a16:creationId xmlns:a16="http://schemas.microsoft.com/office/drawing/2014/main" id="{12FF4FA7-1B65-4D92-9DB8-B5C2059D7667}"/>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29" name="Group 428">
            <a:extLst>
              <a:ext uri="{FF2B5EF4-FFF2-40B4-BE49-F238E27FC236}">
                <a16:creationId xmlns:a16="http://schemas.microsoft.com/office/drawing/2014/main" id="{6F4B1606-15E4-435F-A366-C21A1F6B06A3}"/>
              </a:ext>
            </a:extLst>
          </p:cNvPr>
          <p:cNvGrpSpPr/>
          <p:nvPr/>
        </p:nvGrpSpPr>
        <p:grpSpPr>
          <a:xfrm>
            <a:off x="642252" y="1478361"/>
            <a:ext cx="1044070" cy="983177"/>
            <a:chOff x="655130" y="1507506"/>
            <a:chExt cx="1065006" cy="1002891"/>
          </a:xfrm>
        </p:grpSpPr>
        <p:sp>
          <p:nvSpPr>
            <p:cNvPr id="128" name="TextBox 127"/>
            <p:cNvSpPr txBox="1"/>
            <p:nvPr/>
          </p:nvSpPr>
          <p:spPr>
            <a:xfrm>
              <a:off x="655130" y="2171333"/>
              <a:ext cx="1065006" cy="339064"/>
            </a:xfrm>
            <a:prstGeom prst="rect">
              <a:avLst/>
            </a:prstGeom>
            <a:noFill/>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Food &amp; beverages</a:t>
              </a:r>
            </a:p>
          </p:txBody>
        </p:sp>
        <p:grpSp>
          <p:nvGrpSpPr>
            <p:cNvPr id="4" name="Group 5">
              <a:extLst>
                <a:ext uri="{FF2B5EF4-FFF2-40B4-BE49-F238E27FC236}">
                  <a16:creationId xmlns:a16="http://schemas.microsoft.com/office/drawing/2014/main" id="{5A05C048-AE3C-4276-903B-6A5821389247}"/>
                </a:ext>
              </a:extLst>
            </p:cNvPr>
            <p:cNvGrpSpPr>
              <a:grpSpLocks noChangeAspect="1"/>
            </p:cNvGrpSpPr>
            <p:nvPr/>
          </p:nvGrpSpPr>
          <p:grpSpPr bwMode="auto">
            <a:xfrm>
              <a:off x="905852" y="1507506"/>
              <a:ext cx="563563" cy="504825"/>
              <a:chOff x="932" y="982"/>
              <a:chExt cx="355" cy="318"/>
            </a:xfrm>
            <a:solidFill>
              <a:srgbClr val="E6E6E6"/>
            </a:solidFill>
          </p:grpSpPr>
          <p:sp>
            <p:nvSpPr>
              <p:cNvPr id="8" name="Freeform 6">
                <a:extLst>
                  <a:ext uri="{FF2B5EF4-FFF2-40B4-BE49-F238E27FC236}">
                    <a16:creationId xmlns:a16="http://schemas.microsoft.com/office/drawing/2014/main" id="{B9510F75-0A6F-4963-9299-AA275CECF71E}"/>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 name="T8" fmla="*/ 150 w 150"/>
                  <a:gd name="T9" fmla="*/ 0 h 200"/>
                </a:gdLst>
                <a:ahLst/>
                <a:cxnLst>
                  <a:cxn ang="0">
                    <a:pos x="T0" y="T1"/>
                  </a:cxn>
                  <a:cxn ang="0">
                    <a:pos x="T2" y="T3"/>
                  </a:cxn>
                  <a:cxn ang="0">
                    <a:pos x="T4" y="T5"/>
                  </a:cxn>
                  <a:cxn ang="0">
                    <a:pos x="T6" y="T7"/>
                  </a:cxn>
                  <a:cxn ang="0">
                    <a:pos x="T8" y="T9"/>
                  </a:cxn>
                </a:cxnLst>
                <a:rect l="0" t="0" r="r" b="b"/>
                <a:pathLst>
                  <a:path w="150" h="200">
                    <a:moveTo>
                      <a:pt x="150" y="0"/>
                    </a:moveTo>
                    <a:lnTo>
                      <a:pt x="132" y="200"/>
                    </a:lnTo>
                    <a:lnTo>
                      <a:pt x="18" y="200"/>
                    </a:lnTo>
                    <a:lnTo>
                      <a:pt x="0" y="0"/>
                    </a:lnTo>
                    <a:lnTo>
                      <a:pt x="15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9" name="Freeform 7">
                <a:extLst>
                  <a:ext uri="{FF2B5EF4-FFF2-40B4-BE49-F238E27FC236}">
                    <a16:creationId xmlns:a16="http://schemas.microsoft.com/office/drawing/2014/main" id="{7980D5C9-110D-4BCC-95E1-AD41DE83A661}"/>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Lst>
                <a:ahLst/>
                <a:cxnLst>
                  <a:cxn ang="0">
                    <a:pos x="T0" y="T1"/>
                  </a:cxn>
                  <a:cxn ang="0">
                    <a:pos x="T2" y="T3"/>
                  </a:cxn>
                  <a:cxn ang="0">
                    <a:pos x="T4" y="T5"/>
                  </a:cxn>
                  <a:cxn ang="0">
                    <a:pos x="T6" y="T7"/>
                  </a:cxn>
                </a:cxnLst>
                <a:rect l="0" t="0" r="r" b="b"/>
                <a:pathLst>
                  <a:path w="150" h="200">
                    <a:moveTo>
                      <a:pt x="150" y="0"/>
                    </a:moveTo>
                    <a:lnTo>
                      <a:pt x="132" y="200"/>
                    </a:lnTo>
                    <a:lnTo>
                      <a:pt x="18" y="200"/>
                    </a:lnTo>
                    <a:lnTo>
                      <a:pt x="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1" name="Freeform 9">
                <a:extLst>
                  <a:ext uri="{FF2B5EF4-FFF2-40B4-BE49-F238E27FC236}">
                    <a16:creationId xmlns:a16="http://schemas.microsoft.com/office/drawing/2014/main" id="{12B073A7-8F1E-44D6-B30E-B1159BC7F110}"/>
                  </a:ext>
                </a:extLst>
              </p:cNvPr>
              <p:cNvSpPr>
                <a:spLocks/>
              </p:cNvSpPr>
              <p:nvPr/>
            </p:nvSpPr>
            <p:spPr bwMode="auto">
              <a:xfrm>
                <a:off x="1024" y="982"/>
                <a:ext cx="44" cy="98"/>
              </a:xfrm>
              <a:custGeom>
                <a:avLst/>
                <a:gdLst>
                  <a:gd name="T0" fmla="*/ 0 w 44"/>
                  <a:gd name="T1" fmla="*/ 98 h 98"/>
                  <a:gd name="T2" fmla="*/ 0 w 44"/>
                  <a:gd name="T3" fmla="*/ 40 h 98"/>
                  <a:gd name="T4" fmla="*/ 44 w 44"/>
                  <a:gd name="T5" fmla="*/ 0 h 98"/>
                </a:gdLst>
                <a:ahLst/>
                <a:cxnLst>
                  <a:cxn ang="0">
                    <a:pos x="T0" y="T1"/>
                  </a:cxn>
                  <a:cxn ang="0">
                    <a:pos x="T2" y="T3"/>
                  </a:cxn>
                  <a:cxn ang="0">
                    <a:pos x="T4" y="T5"/>
                  </a:cxn>
                </a:cxnLst>
                <a:rect l="0" t="0" r="r" b="b"/>
                <a:pathLst>
                  <a:path w="44" h="98">
                    <a:moveTo>
                      <a:pt x="0" y="98"/>
                    </a:moveTo>
                    <a:lnTo>
                      <a:pt x="0" y="40"/>
                    </a:lnTo>
                    <a:lnTo>
                      <a:pt x="44" y="0"/>
                    </a:lnTo>
                  </a:path>
                </a:pathLst>
              </a:cu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2" name="Rectangle 10">
                <a:extLst>
                  <a:ext uri="{FF2B5EF4-FFF2-40B4-BE49-F238E27FC236}">
                    <a16:creationId xmlns:a16="http://schemas.microsoft.com/office/drawing/2014/main" id="{E0871CF2-27BF-42A4-B273-9AA6D601C2C6}"/>
                  </a:ext>
                </a:extLst>
              </p:cNvPr>
              <p:cNvSpPr>
                <a:spLocks noChangeArrowheads="1"/>
              </p:cNvSpPr>
              <p:nvPr/>
            </p:nvSpPr>
            <p:spPr bwMode="auto">
              <a:xfrm>
                <a:off x="932" y="1078"/>
                <a:ext cx="183" cy="22"/>
              </a:xfrm>
              <a:prstGeom prst="rect">
                <a:avLst/>
              </a:prstGeom>
              <a:grpFill/>
              <a:ln w="19050" cap="flat">
                <a:solidFill>
                  <a:schemeClr val="tx1">
                    <a:lumMod val="60000"/>
                    <a:lumOff val="4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3" name="Freeform 11">
                <a:extLst>
                  <a:ext uri="{FF2B5EF4-FFF2-40B4-BE49-F238E27FC236}">
                    <a16:creationId xmlns:a16="http://schemas.microsoft.com/office/drawing/2014/main" id="{17D9B279-3F53-4041-8426-0936454E9E3F}"/>
                  </a:ext>
                </a:extLst>
              </p:cNvPr>
              <p:cNvSpPr>
                <a:spLocks/>
              </p:cNvSpPr>
              <p:nvPr/>
            </p:nvSpPr>
            <p:spPr bwMode="auto">
              <a:xfrm>
                <a:off x="1132" y="1162"/>
                <a:ext cx="150" cy="64"/>
              </a:xfrm>
              <a:custGeom>
                <a:avLst/>
                <a:gdLst>
                  <a:gd name="T0" fmla="*/ 0 w 82"/>
                  <a:gd name="T1" fmla="*/ 35 h 35"/>
                  <a:gd name="T2" fmla="*/ 41 w 82"/>
                  <a:gd name="T3" fmla="*/ 0 h 35"/>
                  <a:gd name="T4" fmla="*/ 82 w 82"/>
                  <a:gd name="T5" fmla="*/ 35 h 35"/>
                  <a:gd name="T6" fmla="*/ 0 w 82"/>
                  <a:gd name="T7" fmla="*/ 35 h 35"/>
                </a:gdLst>
                <a:ahLst/>
                <a:cxnLst>
                  <a:cxn ang="0">
                    <a:pos x="T0" y="T1"/>
                  </a:cxn>
                  <a:cxn ang="0">
                    <a:pos x="T2" y="T3"/>
                  </a:cxn>
                  <a:cxn ang="0">
                    <a:pos x="T4" y="T5"/>
                  </a:cxn>
                  <a:cxn ang="0">
                    <a:pos x="T6" y="T7"/>
                  </a:cxn>
                </a:cxnLst>
                <a:rect l="0" t="0" r="r" b="b"/>
                <a:pathLst>
                  <a:path w="82" h="35">
                    <a:moveTo>
                      <a:pt x="0" y="35"/>
                    </a:moveTo>
                    <a:cubicBezTo>
                      <a:pt x="0" y="15"/>
                      <a:pt x="18" y="0"/>
                      <a:pt x="41" y="0"/>
                    </a:cubicBezTo>
                    <a:cubicBezTo>
                      <a:pt x="64" y="0"/>
                      <a:pt x="82" y="15"/>
                      <a:pt x="82" y="35"/>
                    </a:cubicBezTo>
                    <a:lnTo>
                      <a:pt x="0" y="35"/>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4" name="Freeform 12">
                <a:extLst>
                  <a:ext uri="{FF2B5EF4-FFF2-40B4-BE49-F238E27FC236}">
                    <a16:creationId xmlns:a16="http://schemas.microsoft.com/office/drawing/2014/main" id="{0ED2A086-0BC7-4FF8-8CE5-A4C71849B32E}"/>
                  </a:ext>
                </a:extLst>
              </p:cNvPr>
              <p:cNvSpPr>
                <a:spLocks/>
              </p:cNvSpPr>
              <p:nvPr/>
            </p:nvSpPr>
            <p:spPr bwMode="auto">
              <a:xfrm>
                <a:off x="1126" y="1245"/>
                <a:ext cx="161" cy="0"/>
              </a:xfrm>
              <a:custGeom>
                <a:avLst/>
                <a:gdLst>
                  <a:gd name="T0" fmla="*/ 0 w 161"/>
                  <a:gd name="T1" fmla="*/ 161 w 161"/>
                  <a:gd name="T2" fmla="*/ 0 w 161"/>
                </a:gdLst>
                <a:ahLst/>
                <a:cxnLst>
                  <a:cxn ang="0">
                    <a:pos x="T0" y="0"/>
                  </a:cxn>
                  <a:cxn ang="0">
                    <a:pos x="T1" y="0"/>
                  </a:cxn>
                  <a:cxn ang="0">
                    <a:pos x="T2" y="0"/>
                  </a:cxn>
                </a:cxnLst>
                <a:rect l="0" t="0" r="r" b="b"/>
                <a:pathLst>
                  <a:path w="161">
                    <a:moveTo>
                      <a:pt x="0" y="0"/>
                    </a:moveTo>
                    <a:lnTo>
                      <a:pt x="161" y="0"/>
                    </a:lnTo>
                    <a:lnTo>
                      <a:pt x="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 name="Line 13">
                <a:extLst>
                  <a:ext uri="{FF2B5EF4-FFF2-40B4-BE49-F238E27FC236}">
                    <a16:creationId xmlns:a16="http://schemas.microsoft.com/office/drawing/2014/main" id="{E408AEA1-20F0-4FE6-A7F9-3EE90C3C08BE}"/>
                  </a:ext>
                </a:extLst>
              </p:cNvPr>
              <p:cNvSpPr>
                <a:spLocks noChangeShapeType="1"/>
              </p:cNvSpPr>
              <p:nvPr/>
            </p:nvSpPr>
            <p:spPr bwMode="auto">
              <a:xfrm>
                <a:off x="1126" y="1245"/>
                <a:ext cx="161" cy="0"/>
              </a:xfrm>
              <a:prstGeom prst="line">
                <a:avLst/>
              </a:pr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 name="Rectangle 14">
                <a:extLst>
                  <a:ext uri="{FF2B5EF4-FFF2-40B4-BE49-F238E27FC236}">
                    <a16:creationId xmlns:a16="http://schemas.microsoft.com/office/drawing/2014/main" id="{D59454BB-1D55-4F81-9505-9B2A96F244C8}"/>
                  </a:ext>
                </a:extLst>
              </p:cNvPr>
              <p:cNvSpPr>
                <a:spLocks noChangeArrowheads="1"/>
              </p:cNvSpPr>
              <p:nvPr/>
            </p:nvSpPr>
            <p:spPr bwMode="auto">
              <a:xfrm>
                <a:off x="1132" y="1265"/>
                <a:ext cx="150" cy="35"/>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0" name="Group 429">
            <a:extLst>
              <a:ext uri="{FF2B5EF4-FFF2-40B4-BE49-F238E27FC236}">
                <a16:creationId xmlns:a16="http://schemas.microsoft.com/office/drawing/2014/main" id="{2CE2729E-3447-4449-8661-4A2BED1E2AB6}"/>
              </a:ext>
            </a:extLst>
          </p:cNvPr>
          <p:cNvGrpSpPr/>
          <p:nvPr/>
        </p:nvGrpSpPr>
        <p:grpSpPr>
          <a:xfrm>
            <a:off x="2425514" y="1523491"/>
            <a:ext cx="1068193" cy="753427"/>
            <a:chOff x="2474150" y="1553543"/>
            <a:chExt cx="1089612" cy="768535"/>
          </a:xfrm>
        </p:grpSpPr>
        <p:sp>
          <p:nvSpPr>
            <p:cNvPr id="104" name="Rectangle 103"/>
            <p:cNvSpPr/>
            <p:nvPr/>
          </p:nvSpPr>
          <p:spPr>
            <a:xfrm>
              <a:off x="2474150" y="2152801"/>
              <a:ext cx="1089612" cy="169277"/>
            </a:xfrm>
            <a:prstGeom prst="rect">
              <a:avLst/>
            </a:prstGeom>
            <a:ln>
              <a:solidFill>
                <a:schemeClr val="tx2"/>
              </a:solidFill>
            </a:ln>
          </p:spPr>
          <p:txBody>
            <a:bodyPr vert="horz" wrap="square" lIns="0" tIns="0" rIns="0" bIns="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Automotive</a:t>
              </a:r>
            </a:p>
          </p:txBody>
        </p:sp>
        <p:grpSp>
          <p:nvGrpSpPr>
            <p:cNvPr id="17" name="Group 17">
              <a:extLst>
                <a:ext uri="{FF2B5EF4-FFF2-40B4-BE49-F238E27FC236}">
                  <a16:creationId xmlns:a16="http://schemas.microsoft.com/office/drawing/2014/main" id="{8A64BF26-A359-46FE-9BA7-9178E63C3148}"/>
                </a:ext>
              </a:extLst>
            </p:cNvPr>
            <p:cNvGrpSpPr>
              <a:grpSpLocks noChangeAspect="1"/>
            </p:cNvGrpSpPr>
            <p:nvPr/>
          </p:nvGrpSpPr>
          <p:grpSpPr bwMode="auto">
            <a:xfrm>
              <a:off x="2693519" y="1553543"/>
              <a:ext cx="650875" cy="458788"/>
              <a:chOff x="2229" y="815"/>
              <a:chExt cx="410" cy="289"/>
            </a:xfrm>
            <a:solidFill>
              <a:srgbClr val="E6E6E6"/>
            </a:solidFill>
          </p:grpSpPr>
          <p:sp>
            <p:nvSpPr>
              <p:cNvPr id="19" name="Freeform 18">
                <a:extLst>
                  <a:ext uri="{FF2B5EF4-FFF2-40B4-BE49-F238E27FC236}">
                    <a16:creationId xmlns:a16="http://schemas.microsoft.com/office/drawing/2014/main" id="{E651C5AE-D07E-4245-9F29-F0B1C16E15AA}"/>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 name="Freeform 19">
                <a:extLst>
                  <a:ext uri="{FF2B5EF4-FFF2-40B4-BE49-F238E27FC236}">
                    <a16:creationId xmlns:a16="http://schemas.microsoft.com/office/drawing/2014/main" id="{302B5970-6AB5-462B-B408-B0B58A96E421}"/>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 name="Freeform 20">
                <a:extLst>
                  <a:ext uri="{FF2B5EF4-FFF2-40B4-BE49-F238E27FC236}">
                    <a16:creationId xmlns:a16="http://schemas.microsoft.com/office/drawing/2014/main" id="{8FCEC8EE-4DC4-4D54-A063-95CFE654BFC7}"/>
                  </a:ext>
                </a:extLst>
              </p:cNvPr>
              <p:cNvSpPr>
                <a:spLocks/>
              </p:cNvSpPr>
              <p:nvPr/>
            </p:nvSpPr>
            <p:spPr bwMode="auto">
              <a:xfrm>
                <a:off x="2380" y="1053"/>
                <a:ext cx="109" cy="0"/>
              </a:xfrm>
              <a:custGeom>
                <a:avLst/>
                <a:gdLst>
                  <a:gd name="T0" fmla="*/ 0 w 109"/>
                  <a:gd name="T1" fmla="*/ 76 w 109"/>
                  <a:gd name="T2" fmla="*/ 109 w 109"/>
                  <a:gd name="T3" fmla="*/ 0 w 109"/>
                </a:gdLst>
                <a:ahLst/>
                <a:cxnLst>
                  <a:cxn ang="0">
                    <a:pos x="T0" y="0"/>
                  </a:cxn>
                  <a:cxn ang="0">
                    <a:pos x="T1" y="0"/>
                  </a:cxn>
                  <a:cxn ang="0">
                    <a:pos x="T2" y="0"/>
                  </a:cxn>
                  <a:cxn ang="0">
                    <a:pos x="T3" y="0"/>
                  </a:cxn>
                </a:cxnLst>
                <a:rect l="0" t="0" r="r" b="b"/>
                <a:pathLst>
                  <a:path w="109">
                    <a:moveTo>
                      <a:pt x="0" y="0"/>
                    </a:moveTo>
                    <a:lnTo>
                      <a:pt x="76" y="0"/>
                    </a:lnTo>
                    <a:lnTo>
                      <a:pt x="109"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2" name="Freeform 21">
                <a:extLst>
                  <a:ext uri="{FF2B5EF4-FFF2-40B4-BE49-F238E27FC236}">
                    <a16:creationId xmlns:a16="http://schemas.microsoft.com/office/drawing/2014/main" id="{E0EB31E9-18F7-4A8C-803C-F6619FFA69E0}"/>
                  </a:ext>
                </a:extLst>
              </p:cNvPr>
              <p:cNvSpPr>
                <a:spLocks/>
              </p:cNvSpPr>
              <p:nvPr/>
            </p:nvSpPr>
            <p:spPr bwMode="auto">
              <a:xfrm>
                <a:off x="2380" y="1053"/>
                <a:ext cx="109" cy="0"/>
              </a:xfrm>
              <a:custGeom>
                <a:avLst/>
                <a:gdLst>
                  <a:gd name="T0" fmla="*/ 0 w 109"/>
                  <a:gd name="T1" fmla="*/ 76 w 109"/>
                  <a:gd name="T2" fmla="*/ 109 w 109"/>
                </a:gdLst>
                <a:ahLst/>
                <a:cxnLst>
                  <a:cxn ang="0">
                    <a:pos x="T0" y="0"/>
                  </a:cxn>
                  <a:cxn ang="0">
                    <a:pos x="T1" y="0"/>
                  </a:cxn>
                  <a:cxn ang="0">
                    <a:pos x="T2" y="0"/>
                  </a:cxn>
                </a:cxnLst>
                <a:rect l="0" t="0" r="r" b="b"/>
                <a:pathLst>
                  <a:path w="109">
                    <a:moveTo>
                      <a:pt x="0" y="0"/>
                    </a:moveTo>
                    <a:lnTo>
                      <a:pt x="76" y="0"/>
                    </a:lnTo>
                    <a:lnTo>
                      <a:pt x="109"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3" name="Oval 22">
                <a:extLst>
                  <a:ext uri="{FF2B5EF4-FFF2-40B4-BE49-F238E27FC236}">
                    <a16:creationId xmlns:a16="http://schemas.microsoft.com/office/drawing/2014/main" id="{D9278DCA-89B9-4579-8CEC-E75284D182DC}"/>
                  </a:ext>
                </a:extLst>
              </p:cNvPr>
              <p:cNvSpPr>
                <a:spLocks noChangeArrowheads="1"/>
              </p:cNvSpPr>
              <p:nvPr/>
            </p:nvSpPr>
            <p:spPr bwMode="auto">
              <a:xfrm>
                <a:off x="2511"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4" name="Freeform 23">
                <a:extLst>
                  <a:ext uri="{FF2B5EF4-FFF2-40B4-BE49-F238E27FC236}">
                    <a16:creationId xmlns:a16="http://schemas.microsoft.com/office/drawing/2014/main" id="{15194263-16A8-4F85-B47A-99D9AE10E57C}"/>
                  </a:ext>
                </a:extLst>
              </p:cNvPr>
              <p:cNvSpPr>
                <a:spLocks/>
              </p:cNvSpPr>
              <p:nvPr/>
            </p:nvSpPr>
            <p:spPr bwMode="auto">
              <a:xfrm>
                <a:off x="2444" y="842"/>
                <a:ext cx="102" cy="181"/>
              </a:xfrm>
              <a:custGeom>
                <a:avLst/>
                <a:gdLst>
                  <a:gd name="T0" fmla="*/ 0 w 56"/>
                  <a:gd name="T1" fmla="*/ 0 h 99"/>
                  <a:gd name="T2" fmla="*/ 0 w 56"/>
                  <a:gd name="T3" fmla="*/ 99 h 99"/>
                  <a:gd name="T4" fmla="*/ 16 w 56"/>
                  <a:gd name="T5" fmla="*/ 99 h 99"/>
                  <a:gd name="T6" fmla="*/ 56 w 56"/>
                  <a:gd name="T7" fmla="*/ 69 h 99"/>
                  <a:gd name="T8" fmla="*/ 56 w 56"/>
                  <a:gd name="T9" fmla="*/ 50 h 99"/>
                  <a:gd name="T10" fmla="*/ 41 w 56"/>
                  <a:gd name="T11" fmla="*/ 0 h 99"/>
                  <a:gd name="T12" fmla="*/ 0 w 56"/>
                  <a:gd name="T13" fmla="*/ 0 h 99"/>
                </a:gdLst>
                <a:ahLst/>
                <a:cxnLst>
                  <a:cxn ang="0">
                    <a:pos x="T0" y="T1"/>
                  </a:cxn>
                  <a:cxn ang="0">
                    <a:pos x="T2" y="T3"/>
                  </a:cxn>
                  <a:cxn ang="0">
                    <a:pos x="T4" y="T5"/>
                  </a:cxn>
                  <a:cxn ang="0">
                    <a:pos x="T6" y="T7"/>
                  </a:cxn>
                  <a:cxn ang="0">
                    <a:pos x="T8" y="T9"/>
                  </a:cxn>
                  <a:cxn ang="0">
                    <a:pos x="T10" y="T11"/>
                  </a:cxn>
                  <a:cxn ang="0">
                    <a:pos x="T12" y="T13"/>
                  </a:cxn>
                </a:cxnLst>
                <a:rect l="0" t="0" r="r" b="b"/>
                <a:pathLst>
                  <a:path w="56" h="99">
                    <a:moveTo>
                      <a:pt x="0" y="0"/>
                    </a:moveTo>
                    <a:cubicBezTo>
                      <a:pt x="0" y="99"/>
                      <a:pt x="0" y="99"/>
                      <a:pt x="0" y="99"/>
                    </a:cubicBezTo>
                    <a:cubicBezTo>
                      <a:pt x="16" y="99"/>
                      <a:pt x="16" y="99"/>
                      <a:pt x="16" y="99"/>
                    </a:cubicBezTo>
                    <a:cubicBezTo>
                      <a:pt x="16" y="99"/>
                      <a:pt x="24" y="69"/>
                      <a:pt x="56" y="69"/>
                    </a:cubicBezTo>
                    <a:cubicBezTo>
                      <a:pt x="56" y="50"/>
                      <a:pt x="56" y="50"/>
                      <a:pt x="56" y="50"/>
                    </a:cubicBezTo>
                    <a:cubicBezTo>
                      <a:pt x="41" y="0"/>
                      <a:pt x="41" y="0"/>
                      <a:pt x="41"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 name="Oval 24">
                <a:extLst>
                  <a:ext uri="{FF2B5EF4-FFF2-40B4-BE49-F238E27FC236}">
                    <a16:creationId xmlns:a16="http://schemas.microsoft.com/office/drawing/2014/main" id="{388E04AF-8281-428E-8D00-3C8718E58967}"/>
                  </a:ext>
                </a:extLst>
              </p:cNvPr>
              <p:cNvSpPr>
                <a:spLocks noChangeArrowheads="1"/>
              </p:cNvSpPr>
              <p:nvPr/>
            </p:nvSpPr>
            <p:spPr bwMode="auto">
              <a:xfrm>
                <a:off x="2269"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3" name="Group 442">
            <a:extLst>
              <a:ext uri="{FF2B5EF4-FFF2-40B4-BE49-F238E27FC236}">
                <a16:creationId xmlns:a16="http://schemas.microsoft.com/office/drawing/2014/main" id="{B963EA84-12A8-40E7-A75D-071D8728A176}"/>
              </a:ext>
            </a:extLst>
          </p:cNvPr>
          <p:cNvGrpSpPr/>
          <p:nvPr/>
        </p:nvGrpSpPr>
        <p:grpSpPr>
          <a:xfrm>
            <a:off x="8501178" y="1588856"/>
            <a:ext cx="1468653" cy="867614"/>
            <a:chOff x="8671642" y="1620219"/>
            <a:chExt cx="1498103" cy="885012"/>
          </a:xfrm>
        </p:grpSpPr>
        <p:sp>
          <p:nvSpPr>
            <p:cNvPr id="140" name="TextBox 139"/>
            <p:cNvSpPr txBox="1"/>
            <p:nvPr/>
          </p:nvSpPr>
          <p:spPr>
            <a:xfrm>
              <a:off x="8671642" y="2166167"/>
              <a:ext cx="1498103"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Weather </a:t>
              </a:r>
              <a:b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b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forecasting</a:t>
              </a:r>
            </a:p>
          </p:txBody>
        </p:sp>
        <p:grpSp>
          <p:nvGrpSpPr>
            <p:cNvPr id="350" name="Group 192">
              <a:extLst>
                <a:ext uri="{FF2B5EF4-FFF2-40B4-BE49-F238E27FC236}">
                  <a16:creationId xmlns:a16="http://schemas.microsoft.com/office/drawing/2014/main" id="{8E66301F-BAA3-4CE0-B9EC-43A7F11D5692}"/>
                </a:ext>
              </a:extLst>
            </p:cNvPr>
            <p:cNvGrpSpPr>
              <a:grpSpLocks noChangeAspect="1"/>
            </p:cNvGrpSpPr>
            <p:nvPr/>
          </p:nvGrpSpPr>
          <p:grpSpPr bwMode="auto">
            <a:xfrm>
              <a:off x="9121449" y="1620219"/>
              <a:ext cx="598488" cy="392112"/>
              <a:chOff x="5743" y="837"/>
              <a:chExt cx="377" cy="247"/>
            </a:xfrm>
            <a:solidFill>
              <a:srgbClr val="E6E6E6"/>
            </a:solidFill>
          </p:grpSpPr>
          <p:sp>
            <p:nvSpPr>
              <p:cNvPr id="352" name="Freeform 193">
                <a:extLst>
                  <a:ext uri="{FF2B5EF4-FFF2-40B4-BE49-F238E27FC236}">
                    <a16:creationId xmlns:a16="http://schemas.microsoft.com/office/drawing/2014/main" id="{91EFDC25-4566-45FC-828C-775D947F0672}"/>
                  </a:ext>
                </a:extLst>
              </p:cNvPr>
              <p:cNvSpPr>
                <a:spLocks/>
              </p:cNvSpPr>
              <p:nvPr/>
            </p:nvSpPr>
            <p:spPr bwMode="auto">
              <a:xfrm>
                <a:off x="5743" y="837"/>
                <a:ext cx="377" cy="247"/>
              </a:xfrm>
              <a:custGeom>
                <a:avLst/>
                <a:gdLst>
                  <a:gd name="T0" fmla="*/ 207 w 207"/>
                  <a:gd name="T1" fmla="*/ 98 h 135"/>
                  <a:gd name="T2" fmla="*/ 170 w 207"/>
                  <a:gd name="T3" fmla="*/ 61 h 135"/>
                  <a:gd name="T4" fmla="*/ 172 w 207"/>
                  <a:gd name="T5" fmla="*/ 47 h 135"/>
                  <a:gd name="T6" fmla="*/ 125 w 207"/>
                  <a:gd name="T7" fmla="*/ 0 h 135"/>
                  <a:gd name="T8" fmla="*/ 84 w 207"/>
                  <a:gd name="T9" fmla="*/ 24 h 135"/>
                  <a:gd name="T10" fmla="*/ 69 w 207"/>
                  <a:gd name="T11" fmla="*/ 21 h 135"/>
                  <a:gd name="T12" fmla="*/ 32 w 207"/>
                  <a:gd name="T13" fmla="*/ 55 h 135"/>
                  <a:gd name="T14" fmla="*/ 0 w 207"/>
                  <a:gd name="T15" fmla="*/ 95 h 135"/>
                  <a:gd name="T16" fmla="*/ 36 w 207"/>
                  <a:gd name="T17" fmla="*/ 135 h 135"/>
                  <a:gd name="T18" fmla="*/ 36 w 207"/>
                  <a:gd name="T19" fmla="*/ 135 h 135"/>
                  <a:gd name="T20" fmla="*/ 172 w 207"/>
                  <a:gd name="T21" fmla="*/ 135 h 135"/>
                  <a:gd name="T22" fmla="*/ 172 w 207"/>
                  <a:gd name="T23" fmla="*/ 135 h 135"/>
                  <a:gd name="T24" fmla="*/ 207 w 207"/>
                  <a:gd name="T25" fmla="*/ 9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 h="135">
                    <a:moveTo>
                      <a:pt x="207" y="98"/>
                    </a:moveTo>
                    <a:cubicBezTo>
                      <a:pt x="207" y="78"/>
                      <a:pt x="190" y="61"/>
                      <a:pt x="170" y="61"/>
                    </a:cubicBezTo>
                    <a:cubicBezTo>
                      <a:pt x="171" y="57"/>
                      <a:pt x="172" y="52"/>
                      <a:pt x="172" y="47"/>
                    </a:cubicBezTo>
                    <a:cubicBezTo>
                      <a:pt x="172" y="21"/>
                      <a:pt x="151" y="0"/>
                      <a:pt x="125" y="0"/>
                    </a:cubicBezTo>
                    <a:cubicBezTo>
                      <a:pt x="107" y="0"/>
                      <a:pt x="92" y="9"/>
                      <a:pt x="84" y="24"/>
                    </a:cubicBezTo>
                    <a:cubicBezTo>
                      <a:pt x="79" y="22"/>
                      <a:pt x="74" y="21"/>
                      <a:pt x="69" y="21"/>
                    </a:cubicBezTo>
                    <a:cubicBezTo>
                      <a:pt x="50" y="21"/>
                      <a:pt x="34" y="36"/>
                      <a:pt x="32" y="55"/>
                    </a:cubicBezTo>
                    <a:cubicBezTo>
                      <a:pt x="14" y="59"/>
                      <a:pt x="0" y="75"/>
                      <a:pt x="0" y="95"/>
                    </a:cubicBezTo>
                    <a:cubicBezTo>
                      <a:pt x="0" y="115"/>
                      <a:pt x="16" y="132"/>
                      <a:pt x="36" y="135"/>
                    </a:cubicBezTo>
                    <a:cubicBezTo>
                      <a:pt x="36" y="135"/>
                      <a:pt x="36" y="135"/>
                      <a:pt x="36" y="135"/>
                    </a:cubicBezTo>
                    <a:cubicBezTo>
                      <a:pt x="172" y="135"/>
                      <a:pt x="172" y="135"/>
                      <a:pt x="172" y="135"/>
                    </a:cubicBezTo>
                    <a:cubicBezTo>
                      <a:pt x="172" y="135"/>
                      <a:pt x="172" y="135"/>
                      <a:pt x="172" y="135"/>
                    </a:cubicBezTo>
                    <a:cubicBezTo>
                      <a:pt x="191" y="134"/>
                      <a:pt x="207" y="118"/>
                      <a:pt x="207" y="98"/>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3" name="Freeform 194">
                <a:extLst>
                  <a:ext uri="{FF2B5EF4-FFF2-40B4-BE49-F238E27FC236}">
                    <a16:creationId xmlns:a16="http://schemas.microsoft.com/office/drawing/2014/main" id="{7325FBC3-B150-4544-90D0-B6CA6010BB46}"/>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4" name="Freeform 195">
                <a:extLst>
                  <a:ext uri="{FF2B5EF4-FFF2-40B4-BE49-F238E27FC236}">
                    <a16:creationId xmlns:a16="http://schemas.microsoft.com/office/drawing/2014/main" id="{B2C14450-42EE-4209-B97B-15198F7D45A2}"/>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4" name="Group 443">
            <a:extLst>
              <a:ext uri="{FF2B5EF4-FFF2-40B4-BE49-F238E27FC236}">
                <a16:creationId xmlns:a16="http://schemas.microsoft.com/office/drawing/2014/main" id="{2F7A88DF-3110-40C9-B32E-B8D628793018}"/>
              </a:ext>
            </a:extLst>
          </p:cNvPr>
          <p:cNvGrpSpPr/>
          <p:nvPr/>
        </p:nvGrpSpPr>
        <p:grpSpPr>
          <a:xfrm>
            <a:off x="10505677" y="1500147"/>
            <a:ext cx="1044070" cy="775039"/>
            <a:chOff x="10716337" y="1529731"/>
            <a:chExt cx="1065006" cy="790580"/>
          </a:xfrm>
        </p:grpSpPr>
        <p:sp>
          <p:nvSpPr>
            <p:cNvPr id="101" name="TextBox 100"/>
            <p:cNvSpPr txBox="1"/>
            <p:nvPr/>
          </p:nvSpPr>
          <p:spPr>
            <a:xfrm>
              <a:off x="10716337" y="2151034"/>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Academia</a:t>
              </a:r>
            </a:p>
          </p:txBody>
        </p:sp>
        <p:grpSp>
          <p:nvGrpSpPr>
            <p:cNvPr id="355" name="Group 198">
              <a:extLst>
                <a:ext uri="{FF2B5EF4-FFF2-40B4-BE49-F238E27FC236}">
                  <a16:creationId xmlns:a16="http://schemas.microsoft.com/office/drawing/2014/main" id="{83815C41-D377-46DD-BD42-3958077CF19D}"/>
                </a:ext>
              </a:extLst>
            </p:cNvPr>
            <p:cNvGrpSpPr>
              <a:grpSpLocks noChangeAspect="1"/>
            </p:cNvGrpSpPr>
            <p:nvPr/>
          </p:nvGrpSpPr>
          <p:grpSpPr bwMode="auto">
            <a:xfrm>
              <a:off x="11071834" y="1529731"/>
              <a:ext cx="354013" cy="482600"/>
              <a:chOff x="6915" y="800"/>
              <a:chExt cx="223" cy="304"/>
            </a:xfrm>
            <a:solidFill>
              <a:srgbClr val="E6E6E6"/>
            </a:solidFill>
          </p:grpSpPr>
          <p:sp>
            <p:nvSpPr>
              <p:cNvPr id="359" name="Freeform 201">
                <a:extLst>
                  <a:ext uri="{FF2B5EF4-FFF2-40B4-BE49-F238E27FC236}">
                    <a16:creationId xmlns:a16="http://schemas.microsoft.com/office/drawing/2014/main" id="{806B34F1-A1BF-4F6D-BD9F-5AC4A5F55938}"/>
                  </a:ext>
                </a:extLst>
              </p:cNvPr>
              <p:cNvSpPr>
                <a:spLocks/>
              </p:cNvSpPr>
              <p:nvPr/>
            </p:nvSpPr>
            <p:spPr bwMode="auto">
              <a:xfrm>
                <a:off x="6915" y="813"/>
                <a:ext cx="223" cy="267"/>
              </a:xfrm>
              <a:custGeom>
                <a:avLst/>
                <a:gdLst>
                  <a:gd name="T0" fmla="*/ 201 w 223"/>
                  <a:gd name="T1" fmla="*/ 0 h 267"/>
                  <a:gd name="T2" fmla="*/ 223 w 223"/>
                  <a:gd name="T3" fmla="*/ 0 h 267"/>
                  <a:gd name="T4" fmla="*/ 223 w 223"/>
                  <a:gd name="T5" fmla="*/ 267 h 267"/>
                  <a:gd name="T6" fmla="*/ 21 w 223"/>
                  <a:gd name="T7" fmla="*/ 267 h 267"/>
                  <a:gd name="T8" fmla="*/ 0 w 223"/>
                  <a:gd name="T9" fmla="*/ 245 h 267"/>
                </a:gdLst>
                <a:ahLst/>
                <a:cxnLst>
                  <a:cxn ang="0">
                    <a:pos x="T0" y="T1"/>
                  </a:cxn>
                  <a:cxn ang="0">
                    <a:pos x="T2" y="T3"/>
                  </a:cxn>
                  <a:cxn ang="0">
                    <a:pos x="T4" y="T5"/>
                  </a:cxn>
                  <a:cxn ang="0">
                    <a:pos x="T6" y="T7"/>
                  </a:cxn>
                  <a:cxn ang="0">
                    <a:pos x="T8" y="T9"/>
                  </a:cxn>
                </a:cxnLst>
                <a:rect l="0" t="0" r="r" b="b"/>
                <a:pathLst>
                  <a:path w="223" h="267">
                    <a:moveTo>
                      <a:pt x="201" y="0"/>
                    </a:moveTo>
                    <a:lnTo>
                      <a:pt x="223" y="0"/>
                    </a:lnTo>
                    <a:lnTo>
                      <a:pt x="223" y="267"/>
                    </a:lnTo>
                    <a:lnTo>
                      <a:pt x="21" y="267"/>
                    </a:lnTo>
                    <a:lnTo>
                      <a:pt x="0" y="245"/>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0" name="Freeform 202">
                <a:extLst>
                  <a:ext uri="{FF2B5EF4-FFF2-40B4-BE49-F238E27FC236}">
                    <a16:creationId xmlns:a16="http://schemas.microsoft.com/office/drawing/2014/main" id="{15181D7A-715D-4B23-B08D-A7D1097E4D1C}"/>
                  </a:ext>
                </a:extLst>
              </p:cNvPr>
              <p:cNvSpPr>
                <a:spLocks/>
              </p:cNvSpPr>
              <p:nvPr/>
            </p:nvSpPr>
            <p:spPr bwMode="auto">
              <a:xfrm>
                <a:off x="7054" y="1051"/>
                <a:ext cx="42" cy="53"/>
              </a:xfrm>
              <a:custGeom>
                <a:avLst/>
                <a:gdLst>
                  <a:gd name="T0" fmla="*/ 0 w 42"/>
                  <a:gd name="T1" fmla="*/ 0 h 53"/>
                  <a:gd name="T2" fmla="*/ 42 w 42"/>
                  <a:gd name="T3" fmla="*/ 0 h 53"/>
                  <a:gd name="T4" fmla="*/ 42 w 42"/>
                  <a:gd name="T5" fmla="*/ 53 h 53"/>
                  <a:gd name="T6" fmla="*/ 22 w 42"/>
                  <a:gd name="T7" fmla="*/ 44 h 53"/>
                  <a:gd name="T8" fmla="*/ 0 w 42"/>
                  <a:gd name="T9" fmla="*/ 53 h 53"/>
                  <a:gd name="T10" fmla="*/ 0 w 42"/>
                  <a:gd name="T11" fmla="*/ 0 h 53"/>
                </a:gdLst>
                <a:ahLst/>
                <a:cxnLst>
                  <a:cxn ang="0">
                    <a:pos x="T0" y="T1"/>
                  </a:cxn>
                  <a:cxn ang="0">
                    <a:pos x="T2" y="T3"/>
                  </a:cxn>
                  <a:cxn ang="0">
                    <a:pos x="T4" y="T5"/>
                  </a:cxn>
                  <a:cxn ang="0">
                    <a:pos x="T6" y="T7"/>
                  </a:cxn>
                  <a:cxn ang="0">
                    <a:pos x="T8" y="T9"/>
                  </a:cxn>
                  <a:cxn ang="0">
                    <a:pos x="T10" y="T11"/>
                  </a:cxn>
                </a:cxnLst>
                <a:rect l="0" t="0" r="r" b="b"/>
                <a:pathLst>
                  <a:path w="42" h="53">
                    <a:moveTo>
                      <a:pt x="0" y="0"/>
                    </a:moveTo>
                    <a:lnTo>
                      <a:pt x="42" y="0"/>
                    </a:lnTo>
                    <a:lnTo>
                      <a:pt x="42" y="53"/>
                    </a:lnTo>
                    <a:lnTo>
                      <a:pt x="22" y="44"/>
                    </a:lnTo>
                    <a:lnTo>
                      <a:pt x="0" y="53"/>
                    </a:ln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1" name="Freeform 203">
                <a:extLst>
                  <a:ext uri="{FF2B5EF4-FFF2-40B4-BE49-F238E27FC236}">
                    <a16:creationId xmlns:a16="http://schemas.microsoft.com/office/drawing/2014/main" id="{877F7A02-F903-402C-9354-739034870230}"/>
                  </a:ext>
                </a:extLst>
              </p:cNvPr>
              <p:cNvSpPr>
                <a:spLocks/>
              </p:cNvSpPr>
              <p:nvPr/>
            </p:nvSpPr>
            <p:spPr bwMode="auto">
              <a:xfrm>
                <a:off x="6950" y="800"/>
                <a:ext cx="0" cy="258"/>
              </a:xfrm>
              <a:custGeom>
                <a:avLst/>
                <a:gdLst>
                  <a:gd name="T0" fmla="*/ 0 h 258"/>
                  <a:gd name="T1" fmla="*/ 258 h 258"/>
                  <a:gd name="T2" fmla="*/ 0 h 258"/>
                </a:gdLst>
                <a:ahLst/>
                <a:cxnLst>
                  <a:cxn ang="0">
                    <a:pos x="0" y="T0"/>
                  </a:cxn>
                  <a:cxn ang="0">
                    <a:pos x="0" y="T1"/>
                  </a:cxn>
                  <a:cxn ang="0">
                    <a:pos x="0" y="T2"/>
                  </a:cxn>
                </a:cxnLst>
                <a:rect l="0" t="0" r="r" b="b"/>
                <a:pathLst>
                  <a:path h="258">
                    <a:moveTo>
                      <a:pt x="0" y="0"/>
                    </a:moveTo>
                    <a:lnTo>
                      <a:pt x="0" y="258"/>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7" name="Rectangle 199">
                <a:extLst>
                  <a:ext uri="{FF2B5EF4-FFF2-40B4-BE49-F238E27FC236}">
                    <a16:creationId xmlns:a16="http://schemas.microsoft.com/office/drawing/2014/main" id="{438537D7-190A-4849-BB60-07A43FDF161B}"/>
                  </a:ext>
                </a:extLst>
              </p:cNvPr>
              <p:cNvSpPr>
                <a:spLocks noChangeArrowheads="1"/>
              </p:cNvSpPr>
              <p:nvPr/>
            </p:nvSpPr>
            <p:spPr bwMode="auto">
              <a:xfrm>
                <a:off x="6915" y="800"/>
                <a:ext cx="203" cy="258"/>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2" name="Line 204">
                <a:extLst>
                  <a:ext uri="{FF2B5EF4-FFF2-40B4-BE49-F238E27FC236}">
                    <a16:creationId xmlns:a16="http://schemas.microsoft.com/office/drawing/2014/main" id="{FC4F7DAA-CDCB-428A-9289-5F5A087D73C9}"/>
                  </a:ext>
                </a:extLst>
              </p:cNvPr>
              <p:cNvSpPr>
                <a:spLocks noChangeShapeType="1"/>
              </p:cNvSpPr>
              <p:nvPr/>
            </p:nvSpPr>
            <p:spPr bwMode="auto">
              <a:xfrm>
                <a:off x="6950" y="800"/>
                <a:ext cx="0" cy="258"/>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3" name="Freeform 205">
                <a:extLst>
                  <a:ext uri="{FF2B5EF4-FFF2-40B4-BE49-F238E27FC236}">
                    <a16:creationId xmlns:a16="http://schemas.microsoft.com/office/drawing/2014/main" id="{5F602D05-ACDB-44C7-9872-856ABC17ED2A}"/>
                  </a:ext>
                </a:extLst>
              </p:cNvPr>
              <p:cNvSpPr>
                <a:spLocks/>
              </p:cNvSpPr>
              <p:nvPr/>
            </p:nvSpPr>
            <p:spPr bwMode="auto">
              <a:xfrm>
                <a:off x="6974" y="842"/>
                <a:ext cx="122" cy="0"/>
              </a:xfrm>
              <a:custGeom>
                <a:avLst/>
                <a:gdLst>
                  <a:gd name="T0" fmla="*/ 0 w 122"/>
                  <a:gd name="T1" fmla="*/ 122 w 122"/>
                  <a:gd name="T2" fmla="*/ 0 w 122"/>
                </a:gdLst>
                <a:ahLst/>
                <a:cxnLst>
                  <a:cxn ang="0">
                    <a:pos x="T0" y="0"/>
                  </a:cxn>
                  <a:cxn ang="0">
                    <a:pos x="T1" y="0"/>
                  </a:cxn>
                  <a:cxn ang="0">
                    <a:pos x="T2" y="0"/>
                  </a:cxn>
                </a:cxnLst>
                <a:rect l="0" t="0" r="r" b="b"/>
                <a:pathLst>
                  <a:path w="122">
                    <a:moveTo>
                      <a:pt x="0" y="0"/>
                    </a:moveTo>
                    <a:lnTo>
                      <a:pt x="122"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4" name="Line 206">
                <a:extLst>
                  <a:ext uri="{FF2B5EF4-FFF2-40B4-BE49-F238E27FC236}">
                    <a16:creationId xmlns:a16="http://schemas.microsoft.com/office/drawing/2014/main" id="{418CE580-4728-44CD-98F0-B799F9DC23F9}"/>
                  </a:ext>
                </a:extLst>
              </p:cNvPr>
              <p:cNvSpPr>
                <a:spLocks noChangeShapeType="1"/>
              </p:cNvSpPr>
              <p:nvPr/>
            </p:nvSpPr>
            <p:spPr bwMode="auto">
              <a:xfrm>
                <a:off x="6974" y="842"/>
                <a:ext cx="122"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sp>
        <p:nvSpPr>
          <p:cNvPr id="98" name="TextBox 97"/>
          <p:cNvSpPr txBox="1"/>
          <p:nvPr/>
        </p:nvSpPr>
        <p:spPr>
          <a:xfrm>
            <a:off x="5541324" y="4029330"/>
            <a:ext cx="1109453" cy="729911"/>
          </a:xfrm>
          <a:prstGeom prst="rect">
            <a:avLst/>
          </a:prstGeom>
          <a:noFill/>
        </p:spPr>
        <p:txBody>
          <a:bodyPr wrap="none" lIns="182837" tIns="146271" rIns="182837" bIns="146271" rtlCol="0">
            <a:spAutoFit/>
          </a:bodyPr>
          <a:lstStyle/>
          <a:p>
            <a:pPr marL="0" marR="0" lvl="0" indent="0" algn="ctr" defTabSz="914140" rtl="0" eaLnBrk="1" fontAlgn="auto" latinLnBrk="0" hangingPunct="1">
              <a:lnSpc>
                <a:spcPct val="90000"/>
              </a:lnSpc>
              <a:spcBef>
                <a:spcPts val="0"/>
              </a:spcBef>
              <a:spcAft>
                <a:spcPts val="600"/>
              </a:spcAft>
              <a:buClrTx/>
              <a:buSzTx/>
              <a:buFontTx/>
              <a:buNone/>
              <a:tabLst/>
              <a:defRPr/>
            </a:pPr>
            <a:r>
              <a:rPr kumimoji="0" lang="en-US" sz="31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Segoe UI Light" panose="020B0502040204020203" pitchFamily="34" charset="0"/>
              </a:rPr>
              <a:t>HPC</a:t>
            </a:r>
          </a:p>
        </p:txBody>
      </p:sp>
      <p:grpSp>
        <p:nvGrpSpPr>
          <p:cNvPr id="451" name="Group 450">
            <a:extLst>
              <a:ext uri="{FF2B5EF4-FFF2-40B4-BE49-F238E27FC236}">
                <a16:creationId xmlns:a16="http://schemas.microsoft.com/office/drawing/2014/main" id="{7B9F78B0-33C0-4ABF-A575-B28B0655853E}"/>
              </a:ext>
            </a:extLst>
          </p:cNvPr>
          <p:cNvGrpSpPr/>
          <p:nvPr/>
        </p:nvGrpSpPr>
        <p:grpSpPr>
          <a:xfrm>
            <a:off x="3781531" y="1389093"/>
            <a:ext cx="4628941" cy="4643377"/>
            <a:chOff x="3857357" y="1416449"/>
            <a:chExt cx="4721761" cy="4736487"/>
          </a:xfrm>
        </p:grpSpPr>
        <p:grpSp>
          <p:nvGrpSpPr>
            <p:cNvPr id="418" name="Group 417">
              <a:extLst>
                <a:ext uri="{FF2B5EF4-FFF2-40B4-BE49-F238E27FC236}">
                  <a16:creationId xmlns:a16="http://schemas.microsoft.com/office/drawing/2014/main" id="{6A34F78B-9844-4F71-9968-B2EE11F9D696}"/>
                </a:ext>
              </a:extLst>
            </p:cNvPr>
            <p:cNvGrpSpPr/>
            <p:nvPr/>
          </p:nvGrpSpPr>
          <p:grpSpPr>
            <a:xfrm>
              <a:off x="7472688" y="2100308"/>
              <a:ext cx="471012" cy="471012"/>
              <a:chOff x="7472688" y="2085590"/>
              <a:chExt cx="471012" cy="471012"/>
            </a:xfrm>
            <a:solidFill>
              <a:schemeClr val="bg1"/>
            </a:solidFill>
          </p:grpSpPr>
          <p:sp>
            <p:nvSpPr>
              <p:cNvPr id="171" name="Oval 5"/>
              <p:cNvSpPr>
                <a:spLocks noChangeArrowheads="1"/>
              </p:cNvSpPr>
              <p:nvPr/>
            </p:nvSpPr>
            <p:spPr bwMode="auto">
              <a:xfrm>
                <a:off x="7472688" y="2085590"/>
                <a:ext cx="471012" cy="471012"/>
              </a:xfrm>
              <a:prstGeom prst="ellipse">
                <a:avLst/>
              </a:pr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70C0"/>
                  </a:solidFill>
                  <a:effectLst/>
                  <a:uLnTx/>
                  <a:uFillTx/>
                  <a:latin typeface="Segoe UI Semilight"/>
                  <a:ea typeface="+mn-ea"/>
                  <a:cs typeface="Segoe UI Light" panose="020B0502040204020203" pitchFamily="34" charset="0"/>
                </a:endParaRPr>
              </a:p>
            </p:txBody>
          </p:sp>
          <p:sp>
            <p:nvSpPr>
              <p:cNvPr id="173" name="Freeform 6"/>
              <p:cNvSpPr>
                <a:spLocks/>
              </p:cNvSpPr>
              <p:nvPr/>
            </p:nvSpPr>
            <p:spPr bwMode="auto">
              <a:xfrm>
                <a:off x="7643430" y="2209231"/>
                <a:ext cx="195765" cy="225203"/>
              </a:xfrm>
              <a:custGeom>
                <a:avLst/>
                <a:gdLst>
                  <a:gd name="T0" fmla="*/ 74 w 76"/>
                  <a:gd name="T1" fmla="*/ 46 h 87"/>
                  <a:gd name="T2" fmla="*/ 5 w 76"/>
                  <a:gd name="T3" fmla="*/ 85 h 87"/>
                  <a:gd name="T4" fmla="*/ 0 w 76"/>
                  <a:gd name="T5" fmla="*/ 82 h 87"/>
                  <a:gd name="T6" fmla="*/ 0 w 76"/>
                  <a:gd name="T7" fmla="*/ 4 h 87"/>
                  <a:gd name="T8" fmla="*/ 5 w 76"/>
                  <a:gd name="T9" fmla="*/ 1 h 87"/>
                  <a:gd name="T10" fmla="*/ 74 w 76"/>
                  <a:gd name="T11" fmla="*/ 40 h 87"/>
                  <a:gd name="T12" fmla="*/ 74 w 76"/>
                  <a:gd name="T13" fmla="*/ 46 h 87"/>
                </a:gdLst>
                <a:ahLst/>
                <a:cxnLst>
                  <a:cxn ang="0">
                    <a:pos x="T0" y="T1"/>
                  </a:cxn>
                  <a:cxn ang="0">
                    <a:pos x="T2" y="T3"/>
                  </a:cxn>
                  <a:cxn ang="0">
                    <a:pos x="T4" y="T5"/>
                  </a:cxn>
                  <a:cxn ang="0">
                    <a:pos x="T6" y="T7"/>
                  </a:cxn>
                  <a:cxn ang="0">
                    <a:pos x="T8" y="T9"/>
                  </a:cxn>
                  <a:cxn ang="0">
                    <a:pos x="T10" y="T11"/>
                  </a:cxn>
                  <a:cxn ang="0">
                    <a:pos x="T12" y="T13"/>
                  </a:cxn>
                </a:cxnLst>
                <a:rect l="0" t="0" r="r" b="b"/>
                <a:pathLst>
                  <a:path w="76" h="87">
                    <a:moveTo>
                      <a:pt x="74" y="46"/>
                    </a:moveTo>
                    <a:cubicBezTo>
                      <a:pt x="5" y="85"/>
                      <a:pt x="5" y="85"/>
                      <a:pt x="5" y="85"/>
                    </a:cubicBezTo>
                    <a:cubicBezTo>
                      <a:pt x="3" y="87"/>
                      <a:pt x="0" y="85"/>
                      <a:pt x="0" y="82"/>
                    </a:cubicBezTo>
                    <a:cubicBezTo>
                      <a:pt x="0" y="4"/>
                      <a:pt x="0" y="4"/>
                      <a:pt x="0" y="4"/>
                    </a:cubicBezTo>
                    <a:cubicBezTo>
                      <a:pt x="0" y="1"/>
                      <a:pt x="3" y="0"/>
                      <a:pt x="5" y="1"/>
                    </a:cubicBezTo>
                    <a:cubicBezTo>
                      <a:pt x="74" y="40"/>
                      <a:pt x="74" y="40"/>
                      <a:pt x="74" y="40"/>
                    </a:cubicBezTo>
                    <a:cubicBezTo>
                      <a:pt x="76" y="41"/>
                      <a:pt x="76" y="45"/>
                      <a:pt x="74" y="46"/>
                    </a:cubicBezTo>
                    <a:close/>
                  </a:path>
                </a:pathLst>
              </a:cu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70C0"/>
                  </a:solidFill>
                  <a:effectLst/>
                  <a:uLnTx/>
                  <a:uFillTx/>
                  <a:latin typeface="Segoe UI Semilight"/>
                  <a:ea typeface="+mn-ea"/>
                  <a:cs typeface="Segoe UI Light" panose="020B0502040204020203" pitchFamily="34" charset="0"/>
                </a:endParaRPr>
              </a:p>
            </p:txBody>
          </p:sp>
        </p:grpSp>
        <p:sp>
          <p:nvSpPr>
            <p:cNvPr id="157" name="TextBox 156"/>
            <p:cNvSpPr txBox="1"/>
            <p:nvPr/>
          </p:nvSpPr>
          <p:spPr>
            <a:xfrm>
              <a:off x="7234063" y="2636144"/>
              <a:ext cx="914400" cy="339064"/>
            </a:xfrm>
            <a:prstGeom prst="rect">
              <a:avLst/>
            </a:prstGeom>
            <a:noFill/>
          </p:spPr>
          <p:txBody>
            <a:bodyPr vert="horz" wrap="square" lIns="0" tIns="0" rIns="0" bIns="0" rtlCol="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Graphics &amp; rendering</a:t>
              </a:r>
            </a:p>
          </p:txBody>
        </p:sp>
        <p:sp>
          <p:nvSpPr>
            <p:cNvPr id="181" name="Rectangle 180"/>
            <p:cNvSpPr/>
            <p:nvPr/>
          </p:nvSpPr>
          <p:spPr>
            <a:xfrm>
              <a:off x="4412583" y="2636144"/>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Fluid dynamics</a:t>
              </a:r>
            </a:p>
          </p:txBody>
        </p:sp>
        <p:sp>
          <p:nvSpPr>
            <p:cNvPr id="193" name="Rectangle 192"/>
            <p:cNvSpPr/>
            <p:nvPr/>
          </p:nvSpPr>
          <p:spPr>
            <a:xfrm>
              <a:off x="7664718" y="3855449"/>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Crash Simulations</a:t>
              </a:r>
            </a:p>
          </p:txBody>
        </p:sp>
        <p:sp>
          <p:nvSpPr>
            <p:cNvPr id="196" name="Rectangle 195"/>
            <p:cNvSpPr/>
            <p:nvPr/>
          </p:nvSpPr>
          <p:spPr>
            <a:xfrm>
              <a:off x="3857357" y="3860681"/>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Deep Learning</a:t>
              </a:r>
            </a:p>
          </p:txBody>
        </p:sp>
        <p:sp>
          <p:nvSpPr>
            <p:cNvPr id="190" name="Rectangle 189"/>
            <p:cNvSpPr/>
            <p:nvPr/>
          </p:nvSpPr>
          <p:spPr>
            <a:xfrm>
              <a:off x="7234063" y="5134110"/>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Structural</a:t>
              </a:r>
            </a:p>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simulations</a:t>
              </a:r>
            </a:p>
          </p:txBody>
        </p:sp>
        <p:sp>
          <p:nvSpPr>
            <p:cNvPr id="218" name="Rectangle 217"/>
            <p:cNvSpPr/>
            <p:nvPr/>
          </p:nvSpPr>
          <p:spPr>
            <a:xfrm>
              <a:off x="4412583" y="5134110"/>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Molecular Modelling</a:t>
              </a:r>
            </a:p>
          </p:txBody>
        </p:sp>
        <p:grpSp>
          <p:nvGrpSpPr>
            <p:cNvPr id="365" name="Group 209">
              <a:extLst>
                <a:ext uri="{FF2B5EF4-FFF2-40B4-BE49-F238E27FC236}">
                  <a16:creationId xmlns:a16="http://schemas.microsoft.com/office/drawing/2014/main" id="{26834937-72D4-49F7-A6EA-A79EBE0BAAE7}"/>
                </a:ext>
              </a:extLst>
            </p:cNvPr>
            <p:cNvGrpSpPr>
              <a:grpSpLocks noChangeAspect="1"/>
            </p:cNvGrpSpPr>
            <p:nvPr/>
          </p:nvGrpSpPr>
          <p:grpSpPr bwMode="auto">
            <a:xfrm>
              <a:off x="7721868" y="3330690"/>
              <a:ext cx="800100" cy="423863"/>
              <a:chOff x="4899" y="2070"/>
              <a:chExt cx="504" cy="267"/>
            </a:xfrm>
            <a:solidFill>
              <a:schemeClr val="bg1"/>
            </a:solidFill>
          </p:grpSpPr>
          <p:sp>
            <p:nvSpPr>
              <p:cNvPr id="367" name="Freeform 210">
                <a:extLst>
                  <a:ext uri="{FF2B5EF4-FFF2-40B4-BE49-F238E27FC236}">
                    <a16:creationId xmlns:a16="http://schemas.microsoft.com/office/drawing/2014/main" id="{9450885F-EAF3-4542-A4C1-1FD0A8122F6D}"/>
                  </a:ext>
                </a:extLst>
              </p:cNvPr>
              <p:cNvSpPr>
                <a:spLocks/>
              </p:cNvSpPr>
              <p:nvPr/>
            </p:nvSpPr>
            <p:spPr bwMode="auto">
              <a:xfrm>
                <a:off x="5249" y="2070"/>
                <a:ext cx="154" cy="245"/>
              </a:xfrm>
              <a:custGeom>
                <a:avLst/>
                <a:gdLst>
                  <a:gd name="T0" fmla="*/ 0 w 77"/>
                  <a:gd name="T1" fmla="*/ 20 h 121"/>
                  <a:gd name="T2" fmla="*/ 24 w 77"/>
                  <a:gd name="T3" fmla="*/ 0 h 121"/>
                  <a:gd name="T4" fmla="*/ 35 w 77"/>
                  <a:gd name="T5" fmla="*/ 30 h 121"/>
                  <a:gd name="T6" fmla="*/ 66 w 77"/>
                  <a:gd name="T7" fmla="*/ 27 h 121"/>
                  <a:gd name="T8" fmla="*/ 56 w 77"/>
                  <a:gd name="T9" fmla="*/ 58 h 121"/>
                  <a:gd name="T10" fmla="*/ 77 w 77"/>
                  <a:gd name="T11" fmla="*/ 79 h 121"/>
                  <a:gd name="T12" fmla="*/ 56 w 77"/>
                  <a:gd name="T13" fmla="*/ 96 h 121"/>
                  <a:gd name="T14" fmla="*/ 62 w 77"/>
                  <a:gd name="T15" fmla="*/ 121 h 121"/>
                  <a:gd name="T16" fmla="*/ 33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0" y="20"/>
                    </a:moveTo>
                    <a:cubicBezTo>
                      <a:pt x="1" y="20"/>
                      <a:pt x="24" y="0"/>
                      <a:pt x="24" y="0"/>
                    </a:cubicBezTo>
                    <a:cubicBezTo>
                      <a:pt x="35" y="30"/>
                      <a:pt x="35" y="30"/>
                      <a:pt x="35" y="30"/>
                    </a:cubicBezTo>
                    <a:cubicBezTo>
                      <a:pt x="66" y="27"/>
                      <a:pt x="66" y="27"/>
                      <a:pt x="66" y="27"/>
                    </a:cubicBezTo>
                    <a:cubicBezTo>
                      <a:pt x="56" y="58"/>
                      <a:pt x="56" y="58"/>
                      <a:pt x="56" y="58"/>
                    </a:cubicBezTo>
                    <a:cubicBezTo>
                      <a:pt x="77" y="79"/>
                      <a:pt x="77" y="79"/>
                      <a:pt x="77" y="79"/>
                    </a:cubicBezTo>
                    <a:cubicBezTo>
                      <a:pt x="56" y="96"/>
                      <a:pt x="56" y="96"/>
                      <a:pt x="56" y="96"/>
                    </a:cubicBezTo>
                    <a:cubicBezTo>
                      <a:pt x="62" y="121"/>
                      <a:pt x="62" y="121"/>
                      <a:pt x="62" y="121"/>
                    </a:cubicBezTo>
                    <a:cubicBezTo>
                      <a:pt x="33" y="121"/>
                      <a:pt x="33" y="121"/>
                      <a:pt x="33"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8" name="Freeform 211">
                <a:extLst>
                  <a:ext uri="{FF2B5EF4-FFF2-40B4-BE49-F238E27FC236}">
                    <a16:creationId xmlns:a16="http://schemas.microsoft.com/office/drawing/2014/main" id="{E4735BF1-F697-41CC-A94C-CFA016556100}"/>
                  </a:ext>
                </a:extLst>
              </p:cNvPr>
              <p:cNvSpPr>
                <a:spLocks/>
              </p:cNvSpPr>
              <p:nvPr/>
            </p:nvSpPr>
            <p:spPr bwMode="auto">
              <a:xfrm>
                <a:off x="4899" y="2070"/>
                <a:ext cx="154" cy="245"/>
              </a:xfrm>
              <a:custGeom>
                <a:avLst/>
                <a:gdLst>
                  <a:gd name="T0" fmla="*/ 77 w 77"/>
                  <a:gd name="T1" fmla="*/ 20 h 121"/>
                  <a:gd name="T2" fmla="*/ 54 w 77"/>
                  <a:gd name="T3" fmla="*/ 0 h 121"/>
                  <a:gd name="T4" fmla="*/ 42 w 77"/>
                  <a:gd name="T5" fmla="*/ 30 h 121"/>
                  <a:gd name="T6" fmla="*/ 11 w 77"/>
                  <a:gd name="T7" fmla="*/ 27 h 121"/>
                  <a:gd name="T8" fmla="*/ 21 w 77"/>
                  <a:gd name="T9" fmla="*/ 58 h 121"/>
                  <a:gd name="T10" fmla="*/ 0 w 77"/>
                  <a:gd name="T11" fmla="*/ 79 h 121"/>
                  <a:gd name="T12" fmla="*/ 21 w 77"/>
                  <a:gd name="T13" fmla="*/ 96 h 121"/>
                  <a:gd name="T14" fmla="*/ 15 w 77"/>
                  <a:gd name="T15" fmla="*/ 121 h 121"/>
                  <a:gd name="T16" fmla="*/ 44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77" y="20"/>
                    </a:moveTo>
                    <a:cubicBezTo>
                      <a:pt x="76" y="20"/>
                      <a:pt x="54" y="0"/>
                      <a:pt x="54" y="0"/>
                    </a:cubicBezTo>
                    <a:cubicBezTo>
                      <a:pt x="42" y="30"/>
                      <a:pt x="42" y="30"/>
                      <a:pt x="42" y="30"/>
                    </a:cubicBezTo>
                    <a:cubicBezTo>
                      <a:pt x="11" y="27"/>
                      <a:pt x="11" y="27"/>
                      <a:pt x="11" y="27"/>
                    </a:cubicBezTo>
                    <a:cubicBezTo>
                      <a:pt x="21" y="58"/>
                      <a:pt x="21" y="58"/>
                      <a:pt x="21" y="58"/>
                    </a:cubicBezTo>
                    <a:cubicBezTo>
                      <a:pt x="0" y="79"/>
                      <a:pt x="0" y="79"/>
                      <a:pt x="0" y="79"/>
                    </a:cubicBezTo>
                    <a:cubicBezTo>
                      <a:pt x="21" y="96"/>
                      <a:pt x="21" y="96"/>
                      <a:pt x="21" y="96"/>
                    </a:cubicBezTo>
                    <a:cubicBezTo>
                      <a:pt x="15" y="121"/>
                      <a:pt x="15" y="121"/>
                      <a:pt x="15" y="121"/>
                    </a:cubicBezTo>
                    <a:cubicBezTo>
                      <a:pt x="44" y="121"/>
                      <a:pt x="44" y="121"/>
                      <a:pt x="44"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9" name="Rectangle 212">
                <a:extLst>
                  <a:ext uri="{FF2B5EF4-FFF2-40B4-BE49-F238E27FC236}">
                    <a16:creationId xmlns:a16="http://schemas.microsoft.com/office/drawing/2014/main" id="{184E1C44-E75B-4E60-ABD7-92754F9903C1}"/>
                  </a:ext>
                </a:extLst>
              </p:cNvPr>
              <p:cNvSpPr>
                <a:spLocks noChangeArrowheads="1"/>
              </p:cNvSpPr>
              <p:nvPr/>
            </p:nvSpPr>
            <p:spPr bwMode="auto">
              <a:xfrm>
                <a:off x="5049"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0" name="Rectangle 213">
                <a:extLst>
                  <a:ext uri="{FF2B5EF4-FFF2-40B4-BE49-F238E27FC236}">
                    <a16:creationId xmlns:a16="http://schemas.microsoft.com/office/drawing/2014/main" id="{70ABCA25-A892-4733-937C-72200B25FE20}"/>
                  </a:ext>
                </a:extLst>
              </p:cNvPr>
              <p:cNvSpPr>
                <a:spLocks noChangeArrowheads="1"/>
              </p:cNvSpPr>
              <p:nvPr/>
            </p:nvSpPr>
            <p:spPr bwMode="auto">
              <a:xfrm>
                <a:off x="5217"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1" name="Rectangle 214">
                <a:extLst>
                  <a:ext uri="{FF2B5EF4-FFF2-40B4-BE49-F238E27FC236}">
                    <a16:creationId xmlns:a16="http://schemas.microsoft.com/office/drawing/2014/main" id="{6C8C0DDB-26D3-411E-83AC-135ED18D414D}"/>
                  </a:ext>
                </a:extLst>
              </p:cNvPr>
              <p:cNvSpPr>
                <a:spLocks noChangeArrowheads="1"/>
              </p:cNvSpPr>
              <p:nvPr/>
            </p:nvSpPr>
            <p:spPr bwMode="auto">
              <a:xfrm>
                <a:off x="5027" y="2224"/>
                <a:ext cx="248" cy="77"/>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2" name="Freeform 215">
                <a:extLst>
                  <a:ext uri="{FF2B5EF4-FFF2-40B4-BE49-F238E27FC236}">
                    <a16:creationId xmlns:a16="http://schemas.microsoft.com/office/drawing/2014/main" id="{AE77F5B4-12D1-46AA-8CC1-6E0893364605}"/>
                  </a:ext>
                </a:extLst>
              </p:cNvPr>
              <p:cNvSpPr>
                <a:spLocks/>
              </p:cNvSpPr>
              <p:nvPr/>
            </p:nvSpPr>
            <p:spPr bwMode="auto">
              <a:xfrm>
                <a:off x="5027" y="2145"/>
                <a:ext cx="248" cy="79"/>
              </a:xfrm>
              <a:custGeom>
                <a:avLst/>
                <a:gdLst>
                  <a:gd name="T0" fmla="*/ 226 w 248"/>
                  <a:gd name="T1" fmla="*/ 46 h 79"/>
                  <a:gd name="T2" fmla="*/ 208 w 248"/>
                  <a:gd name="T3" fmla="*/ 0 h 79"/>
                  <a:gd name="T4" fmla="*/ 40 w 248"/>
                  <a:gd name="T5" fmla="*/ 0 h 79"/>
                  <a:gd name="T6" fmla="*/ 24 w 248"/>
                  <a:gd name="T7" fmla="*/ 46 h 79"/>
                  <a:gd name="T8" fmla="*/ 0 w 248"/>
                  <a:gd name="T9" fmla="*/ 79 h 79"/>
                  <a:gd name="T10" fmla="*/ 248 w 248"/>
                  <a:gd name="T11" fmla="*/ 79 h 79"/>
                  <a:gd name="T12" fmla="*/ 226 w 248"/>
                  <a:gd name="T13" fmla="*/ 46 h 79"/>
                </a:gdLst>
                <a:ahLst/>
                <a:cxnLst>
                  <a:cxn ang="0">
                    <a:pos x="T0" y="T1"/>
                  </a:cxn>
                  <a:cxn ang="0">
                    <a:pos x="T2" y="T3"/>
                  </a:cxn>
                  <a:cxn ang="0">
                    <a:pos x="T4" y="T5"/>
                  </a:cxn>
                  <a:cxn ang="0">
                    <a:pos x="T6" y="T7"/>
                  </a:cxn>
                  <a:cxn ang="0">
                    <a:pos x="T8" y="T9"/>
                  </a:cxn>
                  <a:cxn ang="0">
                    <a:pos x="T10" y="T11"/>
                  </a:cxn>
                  <a:cxn ang="0">
                    <a:pos x="T12" y="T13"/>
                  </a:cxn>
                </a:cxnLst>
                <a:rect l="0" t="0" r="r" b="b"/>
                <a:pathLst>
                  <a:path w="248" h="79">
                    <a:moveTo>
                      <a:pt x="226" y="46"/>
                    </a:moveTo>
                    <a:lnTo>
                      <a:pt x="208" y="0"/>
                    </a:lnTo>
                    <a:lnTo>
                      <a:pt x="40" y="0"/>
                    </a:lnTo>
                    <a:lnTo>
                      <a:pt x="24" y="46"/>
                    </a:lnTo>
                    <a:lnTo>
                      <a:pt x="0" y="79"/>
                    </a:lnTo>
                    <a:lnTo>
                      <a:pt x="248" y="79"/>
                    </a:lnTo>
                    <a:lnTo>
                      <a:pt x="226" y="46"/>
                    </a:lnTo>
                    <a:close/>
                  </a:path>
                </a:pathLst>
              </a:cu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3" name="Oval 216">
                <a:extLst>
                  <a:ext uri="{FF2B5EF4-FFF2-40B4-BE49-F238E27FC236}">
                    <a16:creationId xmlns:a16="http://schemas.microsoft.com/office/drawing/2014/main" id="{CAB75823-85AA-4BE7-AC09-4165B94DDB0B}"/>
                  </a:ext>
                </a:extLst>
              </p:cNvPr>
              <p:cNvSpPr>
                <a:spLocks noChangeArrowheads="1"/>
              </p:cNvSpPr>
              <p:nvPr/>
            </p:nvSpPr>
            <p:spPr bwMode="auto">
              <a:xfrm>
                <a:off x="506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4" name="Oval 217">
                <a:extLst>
                  <a:ext uri="{FF2B5EF4-FFF2-40B4-BE49-F238E27FC236}">
                    <a16:creationId xmlns:a16="http://schemas.microsoft.com/office/drawing/2014/main" id="{83BF1B34-FEAD-4C6C-93A1-D774006191BC}"/>
                  </a:ext>
                </a:extLst>
              </p:cNvPr>
              <p:cNvSpPr>
                <a:spLocks noChangeArrowheads="1"/>
              </p:cNvSpPr>
              <p:nvPr/>
            </p:nvSpPr>
            <p:spPr bwMode="auto">
              <a:xfrm>
                <a:off x="521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5" name="Line 218">
                <a:extLst>
                  <a:ext uri="{FF2B5EF4-FFF2-40B4-BE49-F238E27FC236}">
                    <a16:creationId xmlns:a16="http://schemas.microsoft.com/office/drawing/2014/main" id="{2BDBE567-F78A-418E-9FAA-AA781872CD49}"/>
                  </a:ext>
                </a:extLst>
              </p:cNvPr>
              <p:cNvSpPr>
                <a:spLocks noChangeShapeType="1"/>
              </p:cNvSpPr>
              <p:nvPr/>
            </p:nvSpPr>
            <p:spPr bwMode="auto">
              <a:xfrm flipV="1">
                <a:off x="5107" y="2183"/>
                <a:ext cx="92" cy="41"/>
              </a:xfrm>
              <a:prstGeom prst="lin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76" name="Group 221">
              <a:extLst>
                <a:ext uri="{FF2B5EF4-FFF2-40B4-BE49-F238E27FC236}">
                  <a16:creationId xmlns:a16="http://schemas.microsoft.com/office/drawing/2014/main" id="{2C78AB0E-C03A-479B-80A2-2D90145705A7}"/>
                </a:ext>
              </a:extLst>
            </p:cNvPr>
            <p:cNvGrpSpPr>
              <a:grpSpLocks noChangeAspect="1"/>
            </p:cNvGrpSpPr>
            <p:nvPr/>
          </p:nvGrpSpPr>
          <p:grpSpPr bwMode="auto">
            <a:xfrm>
              <a:off x="7439033" y="4589785"/>
              <a:ext cx="455613" cy="455613"/>
              <a:chOff x="4686" y="2896"/>
              <a:chExt cx="287" cy="287"/>
            </a:xfrm>
            <a:solidFill>
              <a:schemeClr val="tx2"/>
            </a:solidFill>
          </p:grpSpPr>
          <p:sp>
            <p:nvSpPr>
              <p:cNvPr id="378" name="Freeform 222">
                <a:extLst>
                  <a:ext uri="{FF2B5EF4-FFF2-40B4-BE49-F238E27FC236}">
                    <a16:creationId xmlns:a16="http://schemas.microsoft.com/office/drawing/2014/main" id="{46C13684-8DE6-49FD-B908-76B0CEE53CA0}"/>
                  </a:ext>
                </a:extLst>
              </p:cNvPr>
              <p:cNvSpPr>
                <a:spLocks noEditPoints="1"/>
              </p:cNvSpPr>
              <p:nvPr/>
            </p:nvSpPr>
            <p:spPr bwMode="auto">
              <a:xfrm>
                <a:off x="4686" y="2896"/>
                <a:ext cx="287" cy="287"/>
              </a:xfrm>
              <a:custGeom>
                <a:avLst/>
                <a:gdLst>
                  <a:gd name="T0" fmla="*/ 282 w 287"/>
                  <a:gd name="T1" fmla="*/ 33 h 287"/>
                  <a:gd name="T2" fmla="*/ 287 w 287"/>
                  <a:gd name="T3" fmla="*/ 0 h 287"/>
                  <a:gd name="T4" fmla="*/ 0 w 287"/>
                  <a:gd name="T5" fmla="*/ 33 h 287"/>
                  <a:gd name="T6" fmla="*/ 23 w 287"/>
                  <a:gd name="T7" fmla="*/ 33 h 287"/>
                  <a:gd name="T8" fmla="*/ 0 w 287"/>
                  <a:gd name="T9" fmla="*/ 70 h 287"/>
                  <a:gd name="T10" fmla="*/ 23 w 287"/>
                  <a:gd name="T11" fmla="*/ 118 h 287"/>
                  <a:gd name="T12" fmla="*/ 0 w 287"/>
                  <a:gd name="T13" fmla="*/ 155 h 287"/>
                  <a:gd name="T14" fmla="*/ 23 w 287"/>
                  <a:gd name="T15" fmla="*/ 203 h 287"/>
                  <a:gd name="T16" fmla="*/ 263 w 287"/>
                  <a:gd name="T17" fmla="*/ 287 h 287"/>
                  <a:gd name="T18" fmla="*/ 287 w 287"/>
                  <a:gd name="T19" fmla="*/ 203 h 287"/>
                  <a:gd name="T20" fmla="*/ 263 w 287"/>
                  <a:gd name="T21" fmla="*/ 155 h 287"/>
                  <a:gd name="T22" fmla="*/ 287 w 287"/>
                  <a:gd name="T23" fmla="*/ 118 h 287"/>
                  <a:gd name="T24" fmla="*/ 263 w 287"/>
                  <a:gd name="T25" fmla="*/ 70 h 287"/>
                  <a:gd name="T26" fmla="*/ 10 w 287"/>
                  <a:gd name="T27" fmla="*/ 23 h 287"/>
                  <a:gd name="T28" fmla="*/ 278 w 287"/>
                  <a:gd name="T29" fmla="*/ 10 h 287"/>
                  <a:gd name="T30" fmla="*/ 255 w 287"/>
                  <a:gd name="T31" fmla="*/ 23 h 287"/>
                  <a:gd name="T32" fmla="*/ 10 w 287"/>
                  <a:gd name="T33" fmla="*/ 23 h 287"/>
                  <a:gd name="T34" fmla="*/ 92 w 287"/>
                  <a:gd name="T35" fmla="*/ 78 h 287"/>
                  <a:gd name="T36" fmla="*/ 10 w 287"/>
                  <a:gd name="T37" fmla="*/ 108 h 287"/>
                  <a:gd name="T38" fmla="*/ 84 w 287"/>
                  <a:gd name="T39" fmla="*/ 70 h 287"/>
                  <a:gd name="T40" fmla="*/ 47 w 287"/>
                  <a:gd name="T41" fmla="*/ 51 h 287"/>
                  <a:gd name="T42" fmla="*/ 84 w 287"/>
                  <a:gd name="T43" fmla="*/ 70 h 287"/>
                  <a:gd name="T44" fmla="*/ 92 w 287"/>
                  <a:gd name="T45" fmla="*/ 165 h 287"/>
                  <a:gd name="T46" fmla="*/ 10 w 287"/>
                  <a:gd name="T47" fmla="*/ 195 h 287"/>
                  <a:gd name="T48" fmla="*/ 84 w 287"/>
                  <a:gd name="T49" fmla="*/ 155 h 287"/>
                  <a:gd name="T50" fmla="*/ 47 w 287"/>
                  <a:gd name="T51" fmla="*/ 136 h 287"/>
                  <a:gd name="T52" fmla="*/ 84 w 287"/>
                  <a:gd name="T53" fmla="*/ 155 h 287"/>
                  <a:gd name="T54" fmla="*/ 129 w 287"/>
                  <a:gd name="T55" fmla="*/ 277 h 287"/>
                  <a:gd name="T56" fmla="*/ 158 w 287"/>
                  <a:gd name="T57" fmla="*/ 222 h 287"/>
                  <a:gd name="T58" fmla="*/ 278 w 287"/>
                  <a:gd name="T59" fmla="*/ 195 h 287"/>
                  <a:gd name="T60" fmla="*/ 195 w 287"/>
                  <a:gd name="T61" fmla="*/ 165 h 287"/>
                  <a:gd name="T62" fmla="*/ 278 w 287"/>
                  <a:gd name="T63" fmla="*/ 195 h 287"/>
                  <a:gd name="T64" fmla="*/ 203 w 287"/>
                  <a:gd name="T65" fmla="*/ 155 h 287"/>
                  <a:gd name="T66" fmla="*/ 241 w 287"/>
                  <a:gd name="T67" fmla="*/ 136 h 287"/>
                  <a:gd name="T68" fmla="*/ 255 w 287"/>
                  <a:gd name="T69" fmla="*/ 155 h 287"/>
                  <a:gd name="T70" fmla="*/ 250 w 287"/>
                  <a:gd name="T71" fmla="*/ 128 h 287"/>
                  <a:gd name="T72" fmla="*/ 195 w 287"/>
                  <a:gd name="T73" fmla="*/ 155 h 287"/>
                  <a:gd name="T74" fmla="*/ 185 w 287"/>
                  <a:gd name="T75" fmla="*/ 203 h 287"/>
                  <a:gd name="T76" fmla="*/ 255 w 287"/>
                  <a:gd name="T77" fmla="*/ 277 h 287"/>
                  <a:gd name="T78" fmla="*/ 166 w 287"/>
                  <a:gd name="T79" fmla="*/ 213 h 287"/>
                  <a:gd name="T80" fmla="*/ 121 w 287"/>
                  <a:gd name="T81" fmla="*/ 277 h 287"/>
                  <a:gd name="T82" fmla="*/ 33 w 287"/>
                  <a:gd name="T83" fmla="*/ 203 h 287"/>
                  <a:gd name="T84" fmla="*/ 102 w 287"/>
                  <a:gd name="T85" fmla="*/ 155 h 287"/>
                  <a:gd name="T86" fmla="*/ 92 w 287"/>
                  <a:gd name="T87" fmla="*/ 128 h 287"/>
                  <a:gd name="T88" fmla="*/ 37 w 287"/>
                  <a:gd name="T89" fmla="*/ 155 h 287"/>
                  <a:gd name="T90" fmla="*/ 33 w 287"/>
                  <a:gd name="T91" fmla="*/ 118 h 287"/>
                  <a:gd name="T92" fmla="*/ 102 w 287"/>
                  <a:gd name="T93" fmla="*/ 70 h 287"/>
                  <a:gd name="T94" fmla="*/ 92 w 287"/>
                  <a:gd name="T95" fmla="*/ 41 h 287"/>
                  <a:gd name="T96" fmla="*/ 37 w 287"/>
                  <a:gd name="T97" fmla="*/ 70 h 287"/>
                  <a:gd name="T98" fmla="*/ 33 w 287"/>
                  <a:gd name="T99" fmla="*/ 33 h 287"/>
                  <a:gd name="T100" fmla="*/ 255 w 287"/>
                  <a:gd name="T101" fmla="*/ 70 h 287"/>
                  <a:gd name="T102" fmla="*/ 250 w 287"/>
                  <a:gd name="T103" fmla="*/ 41 h 287"/>
                  <a:gd name="T104" fmla="*/ 195 w 287"/>
                  <a:gd name="T105" fmla="*/ 70 h 287"/>
                  <a:gd name="T106" fmla="*/ 185 w 287"/>
                  <a:gd name="T107" fmla="*/ 118 h 287"/>
                  <a:gd name="T108" fmla="*/ 255 w 287"/>
                  <a:gd name="T109" fmla="*/ 155 h 287"/>
                  <a:gd name="T110" fmla="*/ 203 w 287"/>
                  <a:gd name="T111" fmla="*/ 70 h 287"/>
                  <a:gd name="T112" fmla="*/ 241 w 287"/>
                  <a:gd name="T113" fmla="*/ 51 h 287"/>
                  <a:gd name="T114" fmla="*/ 278 w 287"/>
                  <a:gd name="T115" fmla="*/ 108 h 287"/>
                  <a:gd name="T116" fmla="*/ 195 w 287"/>
                  <a:gd name="T117" fmla="*/ 78 h 287"/>
                  <a:gd name="T118" fmla="*/ 278 w 287"/>
                  <a:gd name="T119" fmla="*/ 10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7" h="287">
                    <a:moveTo>
                      <a:pt x="263" y="33"/>
                    </a:moveTo>
                    <a:lnTo>
                      <a:pt x="282" y="33"/>
                    </a:lnTo>
                    <a:lnTo>
                      <a:pt x="287" y="33"/>
                    </a:lnTo>
                    <a:lnTo>
                      <a:pt x="287" y="0"/>
                    </a:lnTo>
                    <a:lnTo>
                      <a:pt x="0" y="0"/>
                    </a:lnTo>
                    <a:lnTo>
                      <a:pt x="0" y="33"/>
                    </a:lnTo>
                    <a:lnTo>
                      <a:pt x="4" y="33"/>
                    </a:lnTo>
                    <a:lnTo>
                      <a:pt x="23" y="33"/>
                    </a:lnTo>
                    <a:lnTo>
                      <a:pt x="23" y="70"/>
                    </a:lnTo>
                    <a:lnTo>
                      <a:pt x="0" y="70"/>
                    </a:lnTo>
                    <a:lnTo>
                      <a:pt x="0" y="118"/>
                    </a:lnTo>
                    <a:lnTo>
                      <a:pt x="23" y="118"/>
                    </a:lnTo>
                    <a:lnTo>
                      <a:pt x="23" y="155"/>
                    </a:lnTo>
                    <a:lnTo>
                      <a:pt x="0" y="155"/>
                    </a:lnTo>
                    <a:lnTo>
                      <a:pt x="0" y="203"/>
                    </a:lnTo>
                    <a:lnTo>
                      <a:pt x="23" y="203"/>
                    </a:lnTo>
                    <a:lnTo>
                      <a:pt x="23" y="287"/>
                    </a:lnTo>
                    <a:lnTo>
                      <a:pt x="263" y="287"/>
                    </a:lnTo>
                    <a:lnTo>
                      <a:pt x="263" y="203"/>
                    </a:lnTo>
                    <a:lnTo>
                      <a:pt x="287" y="203"/>
                    </a:lnTo>
                    <a:lnTo>
                      <a:pt x="287" y="155"/>
                    </a:lnTo>
                    <a:lnTo>
                      <a:pt x="263" y="155"/>
                    </a:lnTo>
                    <a:lnTo>
                      <a:pt x="263" y="118"/>
                    </a:lnTo>
                    <a:lnTo>
                      <a:pt x="287" y="118"/>
                    </a:lnTo>
                    <a:lnTo>
                      <a:pt x="287" y="70"/>
                    </a:lnTo>
                    <a:lnTo>
                      <a:pt x="263" y="70"/>
                    </a:lnTo>
                    <a:lnTo>
                      <a:pt x="263" y="33"/>
                    </a:lnTo>
                    <a:close/>
                    <a:moveTo>
                      <a:pt x="10" y="23"/>
                    </a:moveTo>
                    <a:lnTo>
                      <a:pt x="10" y="10"/>
                    </a:lnTo>
                    <a:lnTo>
                      <a:pt x="278" y="10"/>
                    </a:lnTo>
                    <a:lnTo>
                      <a:pt x="278" y="23"/>
                    </a:lnTo>
                    <a:lnTo>
                      <a:pt x="255" y="23"/>
                    </a:lnTo>
                    <a:lnTo>
                      <a:pt x="33" y="23"/>
                    </a:lnTo>
                    <a:lnTo>
                      <a:pt x="10" y="23"/>
                    </a:lnTo>
                    <a:close/>
                    <a:moveTo>
                      <a:pt x="10" y="78"/>
                    </a:moveTo>
                    <a:lnTo>
                      <a:pt x="92" y="78"/>
                    </a:lnTo>
                    <a:lnTo>
                      <a:pt x="92" y="108"/>
                    </a:lnTo>
                    <a:lnTo>
                      <a:pt x="10" y="108"/>
                    </a:lnTo>
                    <a:lnTo>
                      <a:pt x="10" y="78"/>
                    </a:lnTo>
                    <a:close/>
                    <a:moveTo>
                      <a:pt x="84" y="70"/>
                    </a:moveTo>
                    <a:lnTo>
                      <a:pt x="47" y="70"/>
                    </a:lnTo>
                    <a:lnTo>
                      <a:pt x="47" y="51"/>
                    </a:lnTo>
                    <a:lnTo>
                      <a:pt x="84" y="51"/>
                    </a:lnTo>
                    <a:lnTo>
                      <a:pt x="84" y="70"/>
                    </a:lnTo>
                    <a:close/>
                    <a:moveTo>
                      <a:pt x="10" y="165"/>
                    </a:moveTo>
                    <a:lnTo>
                      <a:pt x="92" y="165"/>
                    </a:lnTo>
                    <a:lnTo>
                      <a:pt x="92" y="195"/>
                    </a:lnTo>
                    <a:lnTo>
                      <a:pt x="10" y="195"/>
                    </a:lnTo>
                    <a:lnTo>
                      <a:pt x="10" y="165"/>
                    </a:lnTo>
                    <a:close/>
                    <a:moveTo>
                      <a:pt x="84" y="155"/>
                    </a:moveTo>
                    <a:lnTo>
                      <a:pt x="47" y="155"/>
                    </a:lnTo>
                    <a:lnTo>
                      <a:pt x="47" y="136"/>
                    </a:lnTo>
                    <a:lnTo>
                      <a:pt x="84" y="136"/>
                    </a:lnTo>
                    <a:lnTo>
                      <a:pt x="84" y="155"/>
                    </a:lnTo>
                    <a:close/>
                    <a:moveTo>
                      <a:pt x="158" y="277"/>
                    </a:moveTo>
                    <a:lnTo>
                      <a:pt x="129" y="277"/>
                    </a:lnTo>
                    <a:lnTo>
                      <a:pt x="129" y="222"/>
                    </a:lnTo>
                    <a:lnTo>
                      <a:pt x="158" y="222"/>
                    </a:lnTo>
                    <a:lnTo>
                      <a:pt x="158" y="277"/>
                    </a:lnTo>
                    <a:close/>
                    <a:moveTo>
                      <a:pt x="278" y="195"/>
                    </a:moveTo>
                    <a:lnTo>
                      <a:pt x="195" y="195"/>
                    </a:lnTo>
                    <a:lnTo>
                      <a:pt x="195" y="165"/>
                    </a:lnTo>
                    <a:lnTo>
                      <a:pt x="278" y="165"/>
                    </a:lnTo>
                    <a:lnTo>
                      <a:pt x="278" y="195"/>
                    </a:lnTo>
                    <a:close/>
                    <a:moveTo>
                      <a:pt x="241" y="155"/>
                    </a:moveTo>
                    <a:lnTo>
                      <a:pt x="203" y="155"/>
                    </a:lnTo>
                    <a:lnTo>
                      <a:pt x="203" y="136"/>
                    </a:lnTo>
                    <a:lnTo>
                      <a:pt x="241" y="136"/>
                    </a:lnTo>
                    <a:lnTo>
                      <a:pt x="241" y="155"/>
                    </a:lnTo>
                    <a:close/>
                    <a:moveTo>
                      <a:pt x="255" y="155"/>
                    </a:moveTo>
                    <a:lnTo>
                      <a:pt x="250" y="155"/>
                    </a:lnTo>
                    <a:lnTo>
                      <a:pt x="250" y="128"/>
                    </a:lnTo>
                    <a:lnTo>
                      <a:pt x="195" y="128"/>
                    </a:lnTo>
                    <a:lnTo>
                      <a:pt x="195" y="155"/>
                    </a:lnTo>
                    <a:lnTo>
                      <a:pt x="185" y="155"/>
                    </a:lnTo>
                    <a:lnTo>
                      <a:pt x="185" y="203"/>
                    </a:lnTo>
                    <a:lnTo>
                      <a:pt x="255" y="203"/>
                    </a:lnTo>
                    <a:lnTo>
                      <a:pt x="255" y="277"/>
                    </a:lnTo>
                    <a:lnTo>
                      <a:pt x="166" y="277"/>
                    </a:lnTo>
                    <a:lnTo>
                      <a:pt x="166" y="213"/>
                    </a:lnTo>
                    <a:lnTo>
                      <a:pt x="121" y="213"/>
                    </a:lnTo>
                    <a:lnTo>
                      <a:pt x="121" y="277"/>
                    </a:lnTo>
                    <a:lnTo>
                      <a:pt x="33" y="277"/>
                    </a:lnTo>
                    <a:lnTo>
                      <a:pt x="33" y="203"/>
                    </a:lnTo>
                    <a:lnTo>
                      <a:pt x="102" y="203"/>
                    </a:lnTo>
                    <a:lnTo>
                      <a:pt x="102" y="155"/>
                    </a:lnTo>
                    <a:lnTo>
                      <a:pt x="92" y="155"/>
                    </a:lnTo>
                    <a:lnTo>
                      <a:pt x="92" y="128"/>
                    </a:lnTo>
                    <a:lnTo>
                      <a:pt x="37" y="128"/>
                    </a:lnTo>
                    <a:lnTo>
                      <a:pt x="37" y="155"/>
                    </a:lnTo>
                    <a:lnTo>
                      <a:pt x="33" y="155"/>
                    </a:lnTo>
                    <a:lnTo>
                      <a:pt x="33" y="118"/>
                    </a:lnTo>
                    <a:lnTo>
                      <a:pt x="102" y="118"/>
                    </a:lnTo>
                    <a:lnTo>
                      <a:pt x="102" y="70"/>
                    </a:lnTo>
                    <a:lnTo>
                      <a:pt x="92" y="70"/>
                    </a:lnTo>
                    <a:lnTo>
                      <a:pt x="92" y="41"/>
                    </a:lnTo>
                    <a:lnTo>
                      <a:pt x="37" y="41"/>
                    </a:lnTo>
                    <a:lnTo>
                      <a:pt x="37" y="70"/>
                    </a:lnTo>
                    <a:lnTo>
                      <a:pt x="33" y="70"/>
                    </a:lnTo>
                    <a:lnTo>
                      <a:pt x="33" y="33"/>
                    </a:lnTo>
                    <a:lnTo>
                      <a:pt x="255" y="33"/>
                    </a:lnTo>
                    <a:lnTo>
                      <a:pt x="255" y="70"/>
                    </a:lnTo>
                    <a:lnTo>
                      <a:pt x="250" y="70"/>
                    </a:lnTo>
                    <a:lnTo>
                      <a:pt x="250" y="41"/>
                    </a:lnTo>
                    <a:lnTo>
                      <a:pt x="195" y="41"/>
                    </a:lnTo>
                    <a:lnTo>
                      <a:pt x="195" y="70"/>
                    </a:lnTo>
                    <a:lnTo>
                      <a:pt x="185" y="70"/>
                    </a:lnTo>
                    <a:lnTo>
                      <a:pt x="185" y="118"/>
                    </a:lnTo>
                    <a:lnTo>
                      <a:pt x="255" y="118"/>
                    </a:lnTo>
                    <a:lnTo>
                      <a:pt x="255" y="155"/>
                    </a:lnTo>
                    <a:close/>
                    <a:moveTo>
                      <a:pt x="241" y="70"/>
                    </a:moveTo>
                    <a:lnTo>
                      <a:pt x="203" y="70"/>
                    </a:lnTo>
                    <a:lnTo>
                      <a:pt x="203" y="51"/>
                    </a:lnTo>
                    <a:lnTo>
                      <a:pt x="241" y="51"/>
                    </a:lnTo>
                    <a:lnTo>
                      <a:pt x="241" y="70"/>
                    </a:lnTo>
                    <a:close/>
                    <a:moveTo>
                      <a:pt x="278" y="108"/>
                    </a:moveTo>
                    <a:lnTo>
                      <a:pt x="195" y="108"/>
                    </a:lnTo>
                    <a:lnTo>
                      <a:pt x="195" y="78"/>
                    </a:lnTo>
                    <a:lnTo>
                      <a:pt x="278" y="78"/>
                    </a:lnTo>
                    <a:lnTo>
                      <a:pt x="278"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9" name="Freeform 223">
                <a:extLst>
                  <a:ext uri="{FF2B5EF4-FFF2-40B4-BE49-F238E27FC236}">
                    <a16:creationId xmlns:a16="http://schemas.microsoft.com/office/drawing/2014/main" id="{74A3770D-9F01-49EB-ABB3-1214DE1DC100}"/>
                  </a:ext>
                </a:extLst>
              </p:cNvPr>
              <p:cNvSpPr>
                <a:spLocks noEditPoints="1"/>
              </p:cNvSpPr>
              <p:nvPr/>
            </p:nvSpPr>
            <p:spPr bwMode="auto">
              <a:xfrm>
                <a:off x="4801" y="2937"/>
                <a:ext cx="56" cy="51"/>
              </a:xfrm>
              <a:custGeom>
                <a:avLst/>
                <a:gdLst>
                  <a:gd name="T0" fmla="*/ 0 w 56"/>
                  <a:gd name="T1" fmla="*/ 51 h 51"/>
                  <a:gd name="T2" fmla="*/ 56 w 56"/>
                  <a:gd name="T3" fmla="*/ 51 h 51"/>
                  <a:gd name="T4" fmla="*/ 56 w 56"/>
                  <a:gd name="T5" fmla="*/ 0 h 51"/>
                  <a:gd name="T6" fmla="*/ 0 w 56"/>
                  <a:gd name="T7" fmla="*/ 0 h 51"/>
                  <a:gd name="T8" fmla="*/ 0 w 56"/>
                  <a:gd name="T9" fmla="*/ 51 h 51"/>
                  <a:gd name="T10" fmla="*/ 10 w 56"/>
                  <a:gd name="T11" fmla="*/ 10 h 51"/>
                  <a:gd name="T12" fmla="*/ 47 w 56"/>
                  <a:gd name="T13" fmla="*/ 10 h 51"/>
                  <a:gd name="T14" fmla="*/ 47 w 56"/>
                  <a:gd name="T15" fmla="*/ 43 h 51"/>
                  <a:gd name="T16" fmla="*/ 10 w 56"/>
                  <a:gd name="T17" fmla="*/ 43 h 51"/>
                  <a:gd name="T18" fmla="*/ 10 w 56"/>
                  <a:gd name="T19"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1">
                    <a:moveTo>
                      <a:pt x="0" y="51"/>
                    </a:moveTo>
                    <a:lnTo>
                      <a:pt x="56" y="51"/>
                    </a:lnTo>
                    <a:lnTo>
                      <a:pt x="56" y="0"/>
                    </a:lnTo>
                    <a:lnTo>
                      <a:pt x="0" y="0"/>
                    </a:lnTo>
                    <a:lnTo>
                      <a:pt x="0" y="51"/>
                    </a:lnTo>
                    <a:close/>
                    <a:moveTo>
                      <a:pt x="10" y="10"/>
                    </a:moveTo>
                    <a:lnTo>
                      <a:pt x="47" y="10"/>
                    </a:lnTo>
                    <a:lnTo>
                      <a:pt x="47" y="43"/>
                    </a:lnTo>
                    <a:lnTo>
                      <a:pt x="10" y="43"/>
                    </a:lnTo>
                    <a:lnTo>
                      <a:pt x="1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0" name="Freeform 224">
                <a:extLst>
                  <a:ext uri="{FF2B5EF4-FFF2-40B4-BE49-F238E27FC236}">
                    <a16:creationId xmlns:a16="http://schemas.microsoft.com/office/drawing/2014/main" id="{EFE65EDD-36F7-4220-ABBF-5E1A8895FD03}"/>
                  </a:ext>
                </a:extLst>
              </p:cNvPr>
              <p:cNvSpPr>
                <a:spLocks noEditPoints="1"/>
              </p:cNvSpPr>
              <p:nvPr/>
            </p:nvSpPr>
            <p:spPr bwMode="auto">
              <a:xfrm>
                <a:off x="4801" y="3024"/>
                <a:ext cx="56" cy="50"/>
              </a:xfrm>
              <a:custGeom>
                <a:avLst/>
                <a:gdLst>
                  <a:gd name="T0" fmla="*/ 0 w 56"/>
                  <a:gd name="T1" fmla="*/ 50 h 50"/>
                  <a:gd name="T2" fmla="*/ 56 w 56"/>
                  <a:gd name="T3" fmla="*/ 50 h 50"/>
                  <a:gd name="T4" fmla="*/ 56 w 56"/>
                  <a:gd name="T5" fmla="*/ 0 h 50"/>
                  <a:gd name="T6" fmla="*/ 0 w 56"/>
                  <a:gd name="T7" fmla="*/ 0 h 50"/>
                  <a:gd name="T8" fmla="*/ 0 w 56"/>
                  <a:gd name="T9" fmla="*/ 50 h 50"/>
                  <a:gd name="T10" fmla="*/ 10 w 56"/>
                  <a:gd name="T11" fmla="*/ 8 h 50"/>
                  <a:gd name="T12" fmla="*/ 47 w 56"/>
                  <a:gd name="T13" fmla="*/ 8 h 50"/>
                  <a:gd name="T14" fmla="*/ 47 w 56"/>
                  <a:gd name="T15" fmla="*/ 41 h 50"/>
                  <a:gd name="T16" fmla="*/ 10 w 56"/>
                  <a:gd name="T17" fmla="*/ 41 h 50"/>
                  <a:gd name="T18" fmla="*/ 10 w 56"/>
                  <a:gd name="T19"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0">
                    <a:moveTo>
                      <a:pt x="0" y="50"/>
                    </a:moveTo>
                    <a:lnTo>
                      <a:pt x="56" y="50"/>
                    </a:lnTo>
                    <a:lnTo>
                      <a:pt x="56" y="0"/>
                    </a:lnTo>
                    <a:lnTo>
                      <a:pt x="0" y="0"/>
                    </a:lnTo>
                    <a:lnTo>
                      <a:pt x="0" y="50"/>
                    </a:lnTo>
                    <a:close/>
                    <a:moveTo>
                      <a:pt x="10" y="8"/>
                    </a:moveTo>
                    <a:lnTo>
                      <a:pt x="47" y="8"/>
                    </a:lnTo>
                    <a:lnTo>
                      <a:pt x="47" y="41"/>
                    </a:lnTo>
                    <a:lnTo>
                      <a:pt x="10" y="41"/>
                    </a:lnTo>
                    <a:lnTo>
                      <a:pt x="1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1" name="Freeform 225">
                <a:extLst>
                  <a:ext uri="{FF2B5EF4-FFF2-40B4-BE49-F238E27FC236}">
                    <a16:creationId xmlns:a16="http://schemas.microsoft.com/office/drawing/2014/main" id="{362FB464-B7ED-4531-8396-FD598EBF3B61}"/>
                  </a:ext>
                </a:extLst>
              </p:cNvPr>
              <p:cNvSpPr>
                <a:spLocks noEditPoints="1"/>
              </p:cNvSpPr>
              <p:nvPr/>
            </p:nvSpPr>
            <p:spPr bwMode="auto">
              <a:xfrm>
                <a:off x="4723" y="3109"/>
                <a:ext cx="55" cy="50"/>
              </a:xfrm>
              <a:custGeom>
                <a:avLst/>
                <a:gdLst>
                  <a:gd name="T0" fmla="*/ 0 w 55"/>
                  <a:gd name="T1" fmla="*/ 50 h 50"/>
                  <a:gd name="T2" fmla="*/ 55 w 55"/>
                  <a:gd name="T3" fmla="*/ 50 h 50"/>
                  <a:gd name="T4" fmla="*/ 55 w 55"/>
                  <a:gd name="T5" fmla="*/ 0 h 50"/>
                  <a:gd name="T6" fmla="*/ 0 w 55"/>
                  <a:gd name="T7" fmla="*/ 0 h 50"/>
                  <a:gd name="T8" fmla="*/ 0 w 55"/>
                  <a:gd name="T9" fmla="*/ 50 h 50"/>
                  <a:gd name="T10" fmla="*/ 10 w 55"/>
                  <a:gd name="T11" fmla="*/ 9 h 50"/>
                  <a:gd name="T12" fmla="*/ 47 w 55"/>
                  <a:gd name="T13" fmla="*/ 9 h 50"/>
                  <a:gd name="T14" fmla="*/ 47 w 55"/>
                  <a:gd name="T15" fmla="*/ 42 h 50"/>
                  <a:gd name="T16" fmla="*/ 10 w 55"/>
                  <a:gd name="T17" fmla="*/ 42 h 50"/>
                  <a:gd name="T18" fmla="*/ 10 w 55"/>
                  <a:gd name="T19" fmla="*/ 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0" y="50"/>
                    </a:moveTo>
                    <a:lnTo>
                      <a:pt x="55" y="50"/>
                    </a:lnTo>
                    <a:lnTo>
                      <a:pt x="55" y="0"/>
                    </a:lnTo>
                    <a:lnTo>
                      <a:pt x="0" y="0"/>
                    </a:lnTo>
                    <a:lnTo>
                      <a:pt x="0" y="50"/>
                    </a:lnTo>
                    <a:close/>
                    <a:moveTo>
                      <a:pt x="10" y="9"/>
                    </a:moveTo>
                    <a:lnTo>
                      <a:pt x="47" y="9"/>
                    </a:lnTo>
                    <a:lnTo>
                      <a:pt x="47" y="42"/>
                    </a:lnTo>
                    <a:lnTo>
                      <a:pt x="10" y="42"/>
                    </a:lnTo>
                    <a:lnTo>
                      <a:pt x="1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2" name="Freeform 226">
                <a:extLst>
                  <a:ext uri="{FF2B5EF4-FFF2-40B4-BE49-F238E27FC236}">
                    <a16:creationId xmlns:a16="http://schemas.microsoft.com/office/drawing/2014/main" id="{749FC99B-7790-46B0-8BE2-D42DEA774CEB}"/>
                  </a:ext>
                </a:extLst>
              </p:cNvPr>
              <p:cNvSpPr>
                <a:spLocks noEditPoints="1"/>
              </p:cNvSpPr>
              <p:nvPr/>
            </p:nvSpPr>
            <p:spPr bwMode="auto">
              <a:xfrm>
                <a:off x="4881" y="3109"/>
                <a:ext cx="55" cy="50"/>
              </a:xfrm>
              <a:custGeom>
                <a:avLst/>
                <a:gdLst>
                  <a:gd name="T0" fmla="*/ 55 w 55"/>
                  <a:gd name="T1" fmla="*/ 0 h 50"/>
                  <a:gd name="T2" fmla="*/ 0 w 55"/>
                  <a:gd name="T3" fmla="*/ 0 h 50"/>
                  <a:gd name="T4" fmla="*/ 0 w 55"/>
                  <a:gd name="T5" fmla="*/ 50 h 50"/>
                  <a:gd name="T6" fmla="*/ 55 w 55"/>
                  <a:gd name="T7" fmla="*/ 50 h 50"/>
                  <a:gd name="T8" fmla="*/ 55 w 55"/>
                  <a:gd name="T9" fmla="*/ 0 h 50"/>
                  <a:gd name="T10" fmla="*/ 46 w 55"/>
                  <a:gd name="T11" fmla="*/ 42 h 50"/>
                  <a:gd name="T12" fmla="*/ 8 w 55"/>
                  <a:gd name="T13" fmla="*/ 42 h 50"/>
                  <a:gd name="T14" fmla="*/ 8 w 55"/>
                  <a:gd name="T15" fmla="*/ 9 h 50"/>
                  <a:gd name="T16" fmla="*/ 46 w 55"/>
                  <a:gd name="T17" fmla="*/ 9 h 50"/>
                  <a:gd name="T18" fmla="*/ 46 w 55"/>
                  <a:gd name="T19"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55" y="0"/>
                    </a:moveTo>
                    <a:lnTo>
                      <a:pt x="0" y="0"/>
                    </a:lnTo>
                    <a:lnTo>
                      <a:pt x="0" y="50"/>
                    </a:lnTo>
                    <a:lnTo>
                      <a:pt x="55" y="50"/>
                    </a:lnTo>
                    <a:lnTo>
                      <a:pt x="55" y="0"/>
                    </a:lnTo>
                    <a:close/>
                    <a:moveTo>
                      <a:pt x="46" y="42"/>
                    </a:moveTo>
                    <a:lnTo>
                      <a:pt x="8" y="42"/>
                    </a:lnTo>
                    <a:lnTo>
                      <a:pt x="8" y="9"/>
                    </a:lnTo>
                    <a:lnTo>
                      <a:pt x="46" y="9"/>
                    </a:lnTo>
                    <a:lnTo>
                      <a:pt x="46"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92" name="Group 239">
              <a:extLst>
                <a:ext uri="{FF2B5EF4-FFF2-40B4-BE49-F238E27FC236}">
                  <a16:creationId xmlns:a16="http://schemas.microsoft.com/office/drawing/2014/main" id="{688D1141-A6FF-444A-9A37-099948A02954}"/>
                </a:ext>
              </a:extLst>
            </p:cNvPr>
            <p:cNvGrpSpPr>
              <a:grpSpLocks noChangeAspect="1"/>
            </p:cNvGrpSpPr>
            <p:nvPr/>
          </p:nvGrpSpPr>
          <p:grpSpPr bwMode="auto">
            <a:xfrm>
              <a:off x="4614619" y="4623123"/>
              <a:ext cx="512762" cy="422275"/>
              <a:chOff x="3219" y="2846"/>
              <a:chExt cx="323" cy="266"/>
            </a:xfrm>
            <a:solidFill>
              <a:schemeClr val="tx2"/>
            </a:solidFill>
          </p:grpSpPr>
          <p:sp>
            <p:nvSpPr>
              <p:cNvPr id="394" name="Freeform 240">
                <a:extLst>
                  <a:ext uri="{FF2B5EF4-FFF2-40B4-BE49-F238E27FC236}">
                    <a16:creationId xmlns:a16="http://schemas.microsoft.com/office/drawing/2014/main" id="{E7F513AC-458C-4DB6-9880-518F18616FE1}"/>
                  </a:ext>
                </a:extLst>
              </p:cNvPr>
              <p:cNvSpPr>
                <a:spLocks/>
              </p:cNvSpPr>
              <p:nvPr/>
            </p:nvSpPr>
            <p:spPr bwMode="auto">
              <a:xfrm>
                <a:off x="3219" y="2886"/>
                <a:ext cx="323" cy="226"/>
              </a:xfrm>
              <a:custGeom>
                <a:avLst/>
                <a:gdLst>
                  <a:gd name="T0" fmla="*/ 175 w 214"/>
                  <a:gd name="T1" fmla="*/ 150 h 150"/>
                  <a:gd name="T2" fmla="*/ 173 w 214"/>
                  <a:gd name="T3" fmla="*/ 150 h 150"/>
                  <a:gd name="T4" fmla="*/ 139 w 214"/>
                  <a:gd name="T5" fmla="*/ 130 h 150"/>
                  <a:gd name="T6" fmla="*/ 137 w 214"/>
                  <a:gd name="T7" fmla="*/ 126 h 150"/>
                  <a:gd name="T8" fmla="*/ 137 w 214"/>
                  <a:gd name="T9" fmla="*/ 88 h 150"/>
                  <a:gd name="T10" fmla="*/ 104 w 214"/>
                  <a:gd name="T11" fmla="*/ 71 h 150"/>
                  <a:gd name="T12" fmla="*/ 102 w 214"/>
                  <a:gd name="T13" fmla="*/ 67 h 150"/>
                  <a:gd name="T14" fmla="*/ 102 w 214"/>
                  <a:gd name="T15" fmla="*/ 29 h 150"/>
                  <a:gd name="T16" fmla="*/ 70 w 214"/>
                  <a:gd name="T17" fmla="*/ 10 h 150"/>
                  <a:gd name="T18" fmla="*/ 40 w 214"/>
                  <a:gd name="T19" fmla="*/ 29 h 150"/>
                  <a:gd name="T20" fmla="*/ 40 w 214"/>
                  <a:gd name="T21" fmla="*/ 67 h 150"/>
                  <a:gd name="T22" fmla="*/ 38 w 214"/>
                  <a:gd name="T23" fmla="*/ 71 h 150"/>
                  <a:gd name="T24" fmla="*/ 8 w 214"/>
                  <a:gd name="T25" fmla="*/ 91 h 150"/>
                  <a:gd name="T26" fmla="*/ 2 w 214"/>
                  <a:gd name="T27" fmla="*/ 89 h 150"/>
                  <a:gd name="T28" fmla="*/ 3 w 214"/>
                  <a:gd name="T29" fmla="*/ 83 h 150"/>
                  <a:gd name="T30" fmla="*/ 31 w 214"/>
                  <a:gd name="T31" fmla="*/ 64 h 150"/>
                  <a:gd name="T32" fmla="*/ 31 w 214"/>
                  <a:gd name="T33" fmla="*/ 26 h 150"/>
                  <a:gd name="T34" fmla="*/ 33 w 214"/>
                  <a:gd name="T35" fmla="*/ 22 h 150"/>
                  <a:gd name="T36" fmla="*/ 68 w 214"/>
                  <a:gd name="T37" fmla="*/ 1 h 150"/>
                  <a:gd name="T38" fmla="*/ 72 w 214"/>
                  <a:gd name="T39" fmla="*/ 1 h 150"/>
                  <a:gd name="T40" fmla="*/ 109 w 214"/>
                  <a:gd name="T41" fmla="*/ 23 h 150"/>
                  <a:gd name="T42" fmla="*/ 111 w 214"/>
                  <a:gd name="T43" fmla="*/ 27 h 150"/>
                  <a:gd name="T44" fmla="*/ 111 w 214"/>
                  <a:gd name="T45" fmla="*/ 64 h 150"/>
                  <a:gd name="T46" fmla="*/ 143 w 214"/>
                  <a:gd name="T47" fmla="*/ 81 h 150"/>
                  <a:gd name="T48" fmla="*/ 146 w 214"/>
                  <a:gd name="T49" fmla="*/ 85 h 150"/>
                  <a:gd name="T50" fmla="*/ 146 w 214"/>
                  <a:gd name="T51" fmla="*/ 124 h 150"/>
                  <a:gd name="T52" fmla="*/ 175 w 214"/>
                  <a:gd name="T53" fmla="*/ 141 h 150"/>
                  <a:gd name="T54" fmla="*/ 205 w 214"/>
                  <a:gd name="T55" fmla="*/ 122 h 150"/>
                  <a:gd name="T56" fmla="*/ 205 w 214"/>
                  <a:gd name="T57" fmla="*/ 86 h 150"/>
                  <a:gd name="T58" fmla="*/ 210 w 214"/>
                  <a:gd name="T59" fmla="*/ 81 h 150"/>
                  <a:gd name="T60" fmla="*/ 214 w 214"/>
                  <a:gd name="T61" fmla="*/ 86 h 150"/>
                  <a:gd name="T62" fmla="*/ 214 w 214"/>
                  <a:gd name="T63" fmla="*/ 125 h 150"/>
                  <a:gd name="T64" fmla="*/ 212 w 214"/>
                  <a:gd name="T65" fmla="*/ 128 h 150"/>
                  <a:gd name="T66" fmla="*/ 178 w 214"/>
                  <a:gd name="T67" fmla="*/ 150 h 150"/>
                  <a:gd name="T68" fmla="*/ 175 w 214"/>
                  <a:gd name="T6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4" h="150">
                    <a:moveTo>
                      <a:pt x="175" y="150"/>
                    </a:moveTo>
                    <a:cubicBezTo>
                      <a:pt x="175" y="150"/>
                      <a:pt x="174" y="150"/>
                      <a:pt x="173" y="150"/>
                    </a:cubicBezTo>
                    <a:cubicBezTo>
                      <a:pt x="139" y="130"/>
                      <a:pt x="139" y="130"/>
                      <a:pt x="139" y="130"/>
                    </a:cubicBezTo>
                    <a:cubicBezTo>
                      <a:pt x="137" y="129"/>
                      <a:pt x="137" y="128"/>
                      <a:pt x="137" y="126"/>
                    </a:cubicBezTo>
                    <a:cubicBezTo>
                      <a:pt x="137" y="88"/>
                      <a:pt x="137" y="88"/>
                      <a:pt x="137" y="88"/>
                    </a:cubicBezTo>
                    <a:cubicBezTo>
                      <a:pt x="104" y="71"/>
                      <a:pt x="104" y="71"/>
                      <a:pt x="104" y="71"/>
                    </a:cubicBezTo>
                    <a:cubicBezTo>
                      <a:pt x="103" y="70"/>
                      <a:pt x="102" y="68"/>
                      <a:pt x="102" y="67"/>
                    </a:cubicBezTo>
                    <a:cubicBezTo>
                      <a:pt x="102" y="29"/>
                      <a:pt x="102" y="29"/>
                      <a:pt x="102" y="29"/>
                    </a:cubicBezTo>
                    <a:cubicBezTo>
                      <a:pt x="70" y="10"/>
                      <a:pt x="70" y="10"/>
                      <a:pt x="70" y="10"/>
                    </a:cubicBezTo>
                    <a:cubicBezTo>
                      <a:pt x="40" y="29"/>
                      <a:pt x="40" y="29"/>
                      <a:pt x="40" y="29"/>
                    </a:cubicBezTo>
                    <a:cubicBezTo>
                      <a:pt x="40" y="67"/>
                      <a:pt x="40" y="67"/>
                      <a:pt x="40" y="67"/>
                    </a:cubicBezTo>
                    <a:cubicBezTo>
                      <a:pt x="40" y="68"/>
                      <a:pt x="39" y="70"/>
                      <a:pt x="38" y="71"/>
                    </a:cubicBezTo>
                    <a:cubicBezTo>
                      <a:pt x="8" y="91"/>
                      <a:pt x="8" y="91"/>
                      <a:pt x="8" y="91"/>
                    </a:cubicBezTo>
                    <a:cubicBezTo>
                      <a:pt x="6" y="92"/>
                      <a:pt x="3" y="91"/>
                      <a:pt x="2" y="89"/>
                    </a:cubicBezTo>
                    <a:cubicBezTo>
                      <a:pt x="0" y="87"/>
                      <a:pt x="1" y="85"/>
                      <a:pt x="3" y="83"/>
                    </a:cubicBezTo>
                    <a:cubicBezTo>
                      <a:pt x="31" y="64"/>
                      <a:pt x="31" y="64"/>
                      <a:pt x="31" y="64"/>
                    </a:cubicBezTo>
                    <a:cubicBezTo>
                      <a:pt x="31" y="26"/>
                      <a:pt x="31" y="26"/>
                      <a:pt x="31" y="26"/>
                    </a:cubicBezTo>
                    <a:cubicBezTo>
                      <a:pt x="31" y="25"/>
                      <a:pt x="32" y="23"/>
                      <a:pt x="33" y="22"/>
                    </a:cubicBezTo>
                    <a:cubicBezTo>
                      <a:pt x="68" y="1"/>
                      <a:pt x="68" y="1"/>
                      <a:pt x="68" y="1"/>
                    </a:cubicBezTo>
                    <a:cubicBezTo>
                      <a:pt x="69" y="0"/>
                      <a:pt x="71" y="0"/>
                      <a:pt x="72" y="1"/>
                    </a:cubicBezTo>
                    <a:cubicBezTo>
                      <a:pt x="109" y="23"/>
                      <a:pt x="109" y="23"/>
                      <a:pt x="109" y="23"/>
                    </a:cubicBezTo>
                    <a:cubicBezTo>
                      <a:pt x="110" y="24"/>
                      <a:pt x="111" y="25"/>
                      <a:pt x="111" y="27"/>
                    </a:cubicBezTo>
                    <a:cubicBezTo>
                      <a:pt x="111" y="64"/>
                      <a:pt x="111" y="64"/>
                      <a:pt x="111" y="64"/>
                    </a:cubicBezTo>
                    <a:cubicBezTo>
                      <a:pt x="143" y="81"/>
                      <a:pt x="143" y="81"/>
                      <a:pt x="143" y="81"/>
                    </a:cubicBezTo>
                    <a:cubicBezTo>
                      <a:pt x="145" y="82"/>
                      <a:pt x="146" y="83"/>
                      <a:pt x="146" y="85"/>
                    </a:cubicBezTo>
                    <a:cubicBezTo>
                      <a:pt x="146" y="124"/>
                      <a:pt x="146" y="124"/>
                      <a:pt x="146" y="124"/>
                    </a:cubicBezTo>
                    <a:cubicBezTo>
                      <a:pt x="175" y="141"/>
                      <a:pt x="175" y="141"/>
                      <a:pt x="175" y="141"/>
                    </a:cubicBezTo>
                    <a:cubicBezTo>
                      <a:pt x="205" y="122"/>
                      <a:pt x="205" y="122"/>
                      <a:pt x="205" y="122"/>
                    </a:cubicBezTo>
                    <a:cubicBezTo>
                      <a:pt x="205" y="86"/>
                      <a:pt x="205" y="86"/>
                      <a:pt x="205" y="86"/>
                    </a:cubicBezTo>
                    <a:cubicBezTo>
                      <a:pt x="205" y="83"/>
                      <a:pt x="207" y="81"/>
                      <a:pt x="210" y="81"/>
                    </a:cubicBezTo>
                    <a:cubicBezTo>
                      <a:pt x="212" y="81"/>
                      <a:pt x="214" y="83"/>
                      <a:pt x="214" y="86"/>
                    </a:cubicBezTo>
                    <a:cubicBezTo>
                      <a:pt x="214" y="125"/>
                      <a:pt x="214" y="125"/>
                      <a:pt x="214" y="125"/>
                    </a:cubicBezTo>
                    <a:cubicBezTo>
                      <a:pt x="214" y="126"/>
                      <a:pt x="213" y="128"/>
                      <a:pt x="212" y="128"/>
                    </a:cubicBezTo>
                    <a:cubicBezTo>
                      <a:pt x="178" y="150"/>
                      <a:pt x="178" y="150"/>
                      <a:pt x="178" y="150"/>
                    </a:cubicBezTo>
                    <a:cubicBezTo>
                      <a:pt x="177" y="150"/>
                      <a:pt x="176" y="150"/>
                      <a:pt x="175"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5" name="Freeform 241">
                <a:extLst>
                  <a:ext uri="{FF2B5EF4-FFF2-40B4-BE49-F238E27FC236}">
                    <a16:creationId xmlns:a16="http://schemas.microsoft.com/office/drawing/2014/main" id="{93007C9B-E4B5-40FE-AAD4-63D5452C1599}"/>
                  </a:ext>
                </a:extLst>
              </p:cNvPr>
              <p:cNvSpPr>
                <a:spLocks/>
              </p:cNvSpPr>
              <p:nvPr/>
            </p:nvSpPr>
            <p:spPr bwMode="auto">
              <a:xfrm>
                <a:off x="3424" y="2922"/>
                <a:ext cx="68" cy="99"/>
              </a:xfrm>
              <a:custGeom>
                <a:avLst/>
                <a:gdLst>
                  <a:gd name="T0" fmla="*/ 5 w 45"/>
                  <a:gd name="T1" fmla="*/ 66 h 66"/>
                  <a:gd name="T2" fmla="*/ 1 w 45"/>
                  <a:gd name="T3" fmla="*/ 63 h 66"/>
                  <a:gd name="T4" fmla="*/ 3 w 45"/>
                  <a:gd name="T5" fmla="*/ 57 h 66"/>
                  <a:gd name="T6" fmla="*/ 36 w 45"/>
                  <a:gd name="T7" fmla="*/ 39 h 66"/>
                  <a:gd name="T8" fmla="*/ 36 w 45"/>
                  <a:gd name="T9" fmla="*/ 4 h 66"/>
                  <a:gd name="T10" fmla="*/ 41 w 45"/>
                  <a:gd name="T11" fmla="*/ 0 h 66"/>
                  <a:gd name="T12" fmla="*/ 45 w 45"/>
                  <a:gd name="T13" fmla="*/ 4 h 66"/>
                  <a:gd name="T14" fmla="*/ 45 w 45"/>
                  <a:gd name="T15" fmla="*/ 41 h 66"/>
                  <a:gd name="T16" fmla="*/ 43 w 45"/>
                  <a:gd name="T17" fmla="*/ 45 h 66"/>
                  <a:gd name="T18" fmla="*/ 7 w 45"/>
                  <a:gd name="T19" fmla="*/ 65 h 66"/>
                  <a:gd name="T20" fmla="*/ 5 w 45"/>
                  <a:gd name="T2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66">
                    <a:moveTo>
                      <a:pt x="5" y="66"/>
                    </a:moveTo>
                    <a:cubicBezTo>
                      <a:pt x="4" y="66"/>
                      <a:pt x="2" y="65"/>
                      <a:pt x="1" y="63"/>
                    </a:cubicBezTo>
                    <a:cubicBezTo>
                      <a:pt x="0" y="61"/>
                      <a:pt x="1" y="58"/>
                      <a:pt x="3" y="57"/>
                    </a:cubicBezTo>
                    <a:cubicBezTo>
                      <a:pt x="36" y="39"/>
                      <a:pt x="36" y="39"/>
                      <a:pt x="36" y="39"/>
                    </a:cubicBezTo>
                    <a:cubicBezTo>
                      <a:pt x="36" y="4"/>
                      <a:pt x="36" y="4"/>
                      <a:pt x="36" y="4"/>
                    </a:cubicBezTo>
                    <a:cubicBezTo>
                      <a:pt x="36" y="2"/>
                      <a:pt x="38" y="0"/>
                      <a:pt x="41" y="0"/>
                    </a:cubicBezTo>
                    <a:cubicBezTo>
                      <a:pt x="43" y="0"/>
                      <a:pt x="45" y="2"/>
                      <a:pt x="45" y="4"/>
                    </a:cubicBezTo>
                    <a:cubicBezTo>
                      <a:pt x="45" y="41"/>
                      <a:pt x="45" y="41"/>
                      <a:pt x="45" y="41"/>
                    </a:cubicBezTo>
                    <a:cubicBezTo>
                      <a:pt x="45" y="43"/>
                      <a:pt x="44" y="44"/>
                      <a:pt x="43" y="45"/>
                    </a:cubicBezTo>
                    <a:cubicBezTo>
                      <a:pt x="7" y="65"/>
                      <a:pt x="7" y="65"/>
                      <a:pt x="7" y="65"/>
                    </a:cubicBezTo>
                    <a:cubicBezTo>
                      <a:pt x="7" y="65"/>
                      <a:pt x="6" y="66"/>
                      <a:pt x="5"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6" name="Freeform 242">
                <a:extLst>
                  <a:ext uri="{FF2B5EF4-FFF2-40B4-BE49-F238E27FC236}">
                    <a16:creationId xmlns:a16="http://schemas.microsoft.com/office/drawing/2014/main" id="{373CF033-3919-4A95-8FC5-A4267B2404A2}"/>
                  </a:ext>
                </a:extLst>
              </p:cNvPr>
              <p:cNvSpPr>
                <a:spLocks/>
              </p:cNvSpPr>
              <p:nvPr/>
            </p:nvSpPr>
            <p:spPr bwMode="auto">
              <a:xfrm>
                <a:off x="3265" y="2979"/>
                <a:ext cx="64" cy="42"/>
              </a:xfrm>
              <a:custGeom>
                <a:avLst/>
                <a:gdLst>
                  <a:gd name="T0" fmla="*/ 38 w 43"/>
                  <a:gd name="T1" fmla="*/ 28 h 28"/>
                  <a:gd name="T2" fmla="*/ 36 w 43"/>
                  <a:gd name="T3" fmla="*/ 27 h 28"/>
                  <a:gd name="T4" fmla="*/ 3 w 43"/>
                  <a:gd name="T5" fmla="*/ 9 h 28"/>
                  <a:gd name="T6" fmla="*/ 2 w 43"/>
                  <a:gd name="T7" fmla="*/ 3 h 28"/>
                  <a:gd name="T8" fmla="*/ 8 w 43"/>
                  <a:gd name="T9" fmla="*/ 1 h 28"/>
                  <a:gd name="T10" fmla="*/ 40 w 43"/>
                  <a:gd name="T11" fmla="*/ 19 h 28"/>
                  <a:gd name="T12" fmla="*/ 42 w 43"/>
                  <a:gd name="T13" fmla="*/ 25 h 28"/>
                  <a:gd name="T14" fmla="*/ 38 w 43"/>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8">
                    <a:moveTo>
                      <a:pt x="38" y="28"/>
                    </a:moveTo>
                    <a:cubicBezTo>
                      <a:pt x="37" y="28"/>
                      <a:pt x="37" y="27"/>
                      <a:pt x="36" y="27"/>
                    </a:cubicBezTo>
                    <a:cubicBezTo>
                      <a:pt x="3" y="9"/>
                      <a:pt x="3" y="9"/>
                      <a:pt x="3" y="9"/>
                    </a:cubicBezTo>
                    <a:cubicBezTo>
                      <a:pt x="1" y="7"/>
                      <a:pt x="0" y="5"/>
                      <a:pt x="2" y="3"/>
                    </a:cubicBezTo>
                    <a:cubicBezTo>
                      <a:pt x="3" y="1"/>
                      <a:pt x="6" y="0"/>
                      <a:pt x="8" y="1"/>
                    </a:cubicBezTo>
                    <a:cubicBezTo>
                      <a:pt x="40" y="19"/>
                      <a:pt x="40" y="19"/>
                      <a:pt x="40" y="19"/>
                    </a:cubicBezTo>
                    <a:cubicBezTo>
                      <a:pt x="42" y="20"/>
                      <a:pt x="43" y="23"/>
                      <a:pt x="42" y="25"/>
                    </a:cubicBezTo>
                    <a:cubicBezTo>
                      <a:pt x="41" y="27"/>
                      <a:pt x="40" y="28"/>
                      <a:pt x="3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7" name="Freeform 243">
                <a:extLst>
                  <a:ext uri="{FF2B5EF4-FFF2-40B4-BE49-F238E27FC236}">
                    <a16:creationId xmlns:a16="http://schemas.microsoft.com/office/drawing/2014/main" id="{2354D6B6-5A22-4009-87C6-E010BC94915C}"/>
                  </a:ext>
                </a:extLst>
              </p:cNvPr>
              <p:cNvSpPr>
                <a:spLocks/>
              </p:cNvSpPr>
              <p:nvPr/>
            </p:nvSpPr>
            <p:spPr bwMode="auto">
              <a:xfrm>
                <a:off x="3319" y="2846"/>
                <a:ext cx="13" cy="53"/>
              </a:xfrm>
              <a:custGeom>
                <a:avLst/>
                <a:gdLst>
                  <a:gd name="T0" fmla="*/ 5 w 9"/>
                  <a:gd name="T1" fmla="*/ 35 h 35"/>
                  <a:gd name="T2" fmla="*/ 0 w 9"/>
                  <a:gd name="T3" fmla="*/ 31 h 35"/>
                  <a:gd name="T4" fmla="*/ 0 w 9"/>
                  <a:gd name="T5" fmla="*/ 5 h 35"/>
                  <a:gd name="T6" fmla="*/ 5 w 9"/>
                  <a:gd name="T7" fmla="*/ 0 h 35"/>
                  <a:gd name="T8" fmla="*/ 9 w 9"/>
                  <a:gd name="T9" fmla="*/ 5 h 35"/>
                  <a:gd name="T10" fmla="*/ 9 w 9"/>
                  <a:gd name="T11" fmla="*/ 31 h 35"/>
                  <a:gd name="T12" fmla="*/ 5 w 9"/>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9" h="35">
                    <a:moveTo>
                      <a:pt x="5" y="35"/>
                    </a:moveTo>
                    <a:cubicBezTo>
                      <a:pt x="2" y="35"/>
                      <a:pt x="0" y="33"/>
                      <a:pt x="0" y="31"/>
                    </a:cubicBezTo>
                    <a:cubicBezTo>
                      <a:pt x="0" y="5"/>
                      <a:pt x="0" y="5"/>
                      <a:pt x="0" y="5"/>
                    </a:cubicBezTo>
                    <a:cubicBezTo>
                      <a:pt x="0" y="2"/>
                      <a:pt x="2" y="0"/>
                      <a:pt x="5" y="0"/>
                    </a:cubicBezTo>
                    <a:cubicBezTo>
                      <a:pt x="7" y="0"/>
                      <a:pt x="9" y="2"/>
                      <a:pt x="9" y="5"/>
                    </a:cubicBezTo>
                    <a:cubicBezTo>
                      <a:pt x="9" y="31"/>
                      <a:pt x="9" y="31"/>
                      <a:pt x="9" y="31"/>
                    </a:cubicBezTo>
                    <a:cubicBezTo>
                      <a:pt x="9" y="33"/>
                      <a:pt x="7" y="35"/>
                      <a:pt x="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98" name="Group 246">
              <a:extLst>
                <a:ext uri="{FF2B5EF4-FFF2-40B4-BE49-F238E27FC236}">
                  <a16:creationId xmlns:a16="http://schemas.microsoft.com/office/drawing/2014/main" id="{EE927555-F4B3-487B-91A8-B0BB45B559C4}"/>
                </a:ext>
              </a:extLst>
            </p:cNvPr>
            <p:cNvGrpSpPr>
              <a:grpSpLocks noChangeAspect="1"/>
            </p:cNvGrpSpPr>
            <p:nvPr/>
          </p:nvGrpSpPr>
          <p:grpSpPr bwMode="auto">
            <a:xfrm>
              <a:off x="4011556" y="3254216"/>
              <a:ext cx="606002" cy="528234"/>
              <a:chOff x="2798" y="2070"/>
              <a:chExt cx="413" cy="360"/>
            </a:xfrm>
            <a:solidFill>
              <a:schemeClr val="bg1"/>
            </a:solidFill>
          </p:grpSpPr>
          <p:sp>
            <p:nvSpPr>
              <p:cNvPr id="400" name="Freeform 247">
                <a:extLst>
                  <a:ext uri="{FF2B5EF4-FFF2-40B4-BE49-F238E27FC236}">
                    <a16:creationId xmlns:a16="http://schemas.microsoft.com/office/drawing/2014/main" id="{B832A4C4-D201-4D1E-8ED7-B45B8D938161}"/>
                  </a:ext>
                </a:extLst>
              </p:cNvPr>
              <p:cNvSpPr>
                <a:spLocks/>
              </p:cNvSpPr>
              <p:nvPr/>
            </p:nvSpPr>
            <p:spPr bwMode="auto">
              <a:xfrm>
                <a:off x="2798" y="2070"/>
                <a:ext cx="413" cy="360"/>
              </a:xfrm>
              <a:custGeom>
                <a:avLst/>
                <a:gdLst>
                  <a:gd name="T0" fmla="*/ 227 w 227"/>
                  <a:gd name="T1" fmla="*/ 109 h 197"/>
                  <a:gd name="T2" fmla="*/ 223 w 227"/>
                  <a:gd name="T3" fmla="*/ 92 h 197"/>
                  <a:gd name="T4" fmla="*/ 226 w 227"/>
                  <a:gd name="T5" fmla="*/ 75 h 197"/>
                  <a:gd name="T6" fmla="*/ 181 w 227"/>
                  <a:gd name="T7" fmla="*/ 29 h 197"/>
                  <a:gd name="T8" fmla="*/ 132 w 227"/>
                  <a:gd name="T9" fmla="*/ 0 h 197"/>
                  <a:gd name="T10" fmla="*/ 92 w 227"/>
                  <a:gd name="T11" fmla="*/ 16 h 197"/>
                  <a:gd name="T12" fmla="*/ 82 w 227"/>
                  <a:gd name="T13" fmla="*/ 15 h 197"/>
                  <a:gd name="T14" fmla="*/ 37 w 227"/>
                  <a:gd name="T15" fmla="*/ 45 h 197"/>
                  <a:gd name="T16" fmla="*/ 0 w 227"/>
                  <a:gd name="T17" fmla="*/ 90 h 197"/>
                  <a:gd name="T18" fmla="*/ 45 w 227"/>
                  <a:gd name="T19" fmla="*/ 135 h 197"/>
                  <a:gd name="T20" fmla="*/ 61 w 227"/>
                  <a:gd name="T21" fmla="*/ 132 h 197"/>
                  <a:gd name="T22" fmla="*/ 92 w 227"/>
                  <a:gd name="T23" fmla="*/ 157 h 197"/>
                  <a:gd name="T24" fmla="*/ 112 w 227"/>
                  <a:gd name="T25" fmla="*/ 150 h 197"/>
                  <a:gd name="T26" fmla="*/ 131 w 227"/>
                  <a:gd name="T27" fmla="*/ 158 h 197"/>
                  <a:gd name="T28" fmla="*/ 146 w 227"/>
                  <a:gd name="T29" fmla="*/ 153 h 197"/>
                  <a:gd name="T30" fmla="*/ 161 w 227"/>
                  <a:gd name="T31" fmla="*/ 162 h 197"/>
                  <a:gd name="T32" fmla="*/ 168 w 227"/>
                  <a:gd name="T33" fmla="*/ 160 h 197"/>
                  <a:gd name="T34" fmla="*/ 168 w 227"/>
                  <a:gd name="T35" fmla="*/ 197 h 197"/>
                  <a:gd name="T36" fmla="*/ 196 w 227"/>
                  <a:gd name="T37" fmla="*/ 197 h 197"/>
                  <a:gd name="T38" fmla="*/ 201 w 227"/>
                  <a:gd name="T39" fmla="*/ 147 h 197"/>
                  <a:gd name="T40" fmla="*/ 227 w 227"/>
                  <a:gd name="T41" fmla="*/ 10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97">
                    <a:moveTo>
                      <a:pt x="227" y="109"/>
                    </a:moveTo>
                    <a:cubicBezTo>
                      <a:pt x="227" y="103"/>
                      <a:pt x="225" y="97"/>
                      <a:pt x="223" y="92"/>
                    </a:cubicBezTo>
                    <a:cubicBezTo>
                      <a:pt x="225" y="86"/>
                      <a:pt x="226" y="81"/>
                      <a:pt x="226" y="75"/>
                    </a:cubicBezTo>
                    <a:cubicBezTo>
                      <a:pt x="226" y="50"/>
                      <a:pt x="206" y="30"/>
                      <a:pt x="181" y="29"/>
                    </a:cubicBezTo>
                    <a:cubicBezTo>
                      <a:pt x="171" y="12"/>
                      <a:pt x="153" y="0"/>
                      <a:pt x="132" y="0"/>
                    </a:cubicBezTo>
                    <a:cubicBezTo>
                      <a:pt x="116" y="0"/>
                      <a:pt x="102" y="6"/>
                      <a:pt x="92" y="16"/>
                    </a:cubicBezTo>
                    <a:cubicBezTo>
                      <a:pt x="89" y="15"/>
                      <a:pt x="85" y="15"/>
                      <a:pt x="82" y="15"/>
                    </a:cubicBezTo>
                    <a:cubicBezTo>
                      <a:pt x="61" y="15"/>
                      <a:pt x="44" y="27"/>
                      <a:pt x="37" y="45"/>
                    </a:cubicBezTo>
                    <a:cubicBezTo>
                      <a:pt x="16" y="49"/>
                      <a:pt x="0" y="68"/>
                      <a:pt x="0" y="90"/>
                    </a:cubicBezTo>
                    <a:cubicBezTo>
                      <a:pt x="0" y="115"/>
                      <a:pt x="20" y="135"/>
                      <a:pt x="45" y="135"/>
                    </a:cubicBezTo>
                    <a:cubicBezTo>
                      <a:pt x="51" y="135"/>
                      <a:pt x="56" y="134"/>
                      <a:pt x="61" y="132"/>
                    </a:cubicBezTo>
                    <a:cubicBezTo>
                      <a:pt x="64" y="146"/>
                      <a:pt x="77" y="157"/>
                      <a:pt x="92" y="157"/>
                    </a:cubicBezTo>
                    <a:cubicBezTo>
                      <a:pt x="100" y="157"/>
                      <a:pt x="107" y="154"/>
                      <a:pt x="112" y="150"/>
                    </a:cubicBezTo>
                    <a:cubicBezTo>
                      <a:pt x="117" y="155"/>
                      <a:pt x="124" y="158"/>
                      <a:pt x="131" y="158"/>
                    </a:cubicBezTo>
                    <a:cubicBezTo>
                      <a:pt x="137" y="158"/>
                      <a:pt x="142" y="156"/>
                      <a:pt x="146" y="153"/>
                    </a:cubicBezTo>
                    <a:cubicBezTo>
                      <a:pt x="149" y="158"/>
                      <a:pt x="155" y="162"/>
                      <a:pt x="161" y="162"/>
                    </a:cubicBezTo>
                    <a:cubicBezTo>
                      <a:pt x="163" y="162"/>
                      <a:pt x="166" y="161"/>
                      <a:pt x="168" y="160"/>
                    </a:cubicBezTo>
                    <a:cubicBezTo>
                      <a:pt x="171" y="170"/>
                      <a:pt x="174" y="184"/>
                      <a:pt x="168" y="197"/>
                    </a:cubicBezTo>
                    <a:cubicBezTo>
                      <a:pt x="196" y="197"/>
                      <a:pt x="196" y="197"/>
                      <a:pt x="196" y="197"/>
                    </a:cubicBezTo>
                    <a:cubicBezTo>
                      <a:pt x="201" y="147"/>
                      <a:pt x="201" y="147"/>
                      <a:pt x="201" y="147"/>
                    </a:cubicBezTo>
                    <a:cubicBezTo>
                      <a:pt x="216" y="140"/>
                      <a:pt x="227" y="126"/>
                      <a:pt x="227" y="109"/>
                    </a:cubicBez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2" name="Freeform 249">
                <a:extLst>
                  <a:ext uri="{FF2B5EF4-FFF2-40B4-BE49-F238E27FC236}">
                    <a16:creationId xmlns:a16="http://schemas.microsoft.com/office/drawing/2014/main" id="{115FEC3D-0FC0-4922-9A5C-31D329431AE6}"/>
                  </a:ext>
                </a:extLst>
              </p:cNvPr>
              <p:cNvSpPr>
                <a:spLocks/>
              </p:cNvSpPr>
              <p:nvPr/>
            </p:nvSpPr>
            <p:spPr bwMode="auto">
              <a:xfrm>
                <a:off x="2923" y="2129"/>
                <a:ext cx="183" cy="184"/>
              </a:xfrm>
              <a:custGeom>
                <a:avLst/>
                <a:gdLst>
                  <a:gd name="T0" fmla="*/ 100 w 100"/>
                  <a:gd name="T1" fmla="*/ 59 h 101"/>
                  <a:gd name="T2" fmla="*/ 100 w 100"/>
                  <a:gd name="T3" fmla="*/ 42 h 101"/>
                  <a:gd name="T4" fmla="*/ 88 w 100"/>
                  <a:gd name="T5" fmla="*/ 41 h 101"/>
                  <a:gd name="T6" fmla="*/ 86 w 100"/>
                  <a:gd name="T7" fmla="*/ 39 h 101"/>
                  <a:gd name="T8" fmla="*/ 83 w 100"/>
                  <a:gd name="T9" fmla="*/ 34 h 101"/>
                  <a:gd name="T10" fmla="*/ 84 w 100"/>
                  <a:gd name="T11" fmla="*/ 30 h 101"/>
                  <a:gd name="T12" fmla="*/ 91 w 100"/>
                  <a:gd name="T13" fmla="*/ 21 h 101"/>
                  <a:gd name="T14" fmla="*/ 80 w 100"/>
                  <a:gd name="T15" fmla="*/ 9 h 101"/>
                  <a:gd name="T16" fmla="*/ 70 w 100"/>
                  <a:gd name="T17" fmla="*/ 17 h 101"/>
                  <a:gd name="T18" fmla="*/ 67 w 100"/>
                  <a:gd name="T19" fmla="*/ 17 h 101"/>
                  <a:gd name="T20" fmla="*/ 62 w 100"/>
                  <a:gd name="T21" fmla="*/ 15 h 101"/>
                  <a:gd name="T22" fmla="*/ 60 w 100"/>
                  <a:gd name="T23" fmla="*/ 13 h 101"/>
                  <a:gd name="T24" fmla="*/ 58 w 100"/>
                  <a:gd name="T25" fmla="*/ 0 h 101"/>
                  <a:gd name="T26" fmla="*/ 42 w 100"/>
                  <a:gd name="T27" fmla="*/ 0 h 101"/>
                  <a:gd name="T28" fmla="*/ 40 w 100"/>
                  <a:gd name="T29" fmla="*/ 13 h 101"/>
                  <a:gd name="T30" fmla="*/ 38 w 100"/>
                  <a:gd name="T31" fmla="*/ 15 h 101"/>
                  <a:gd name="T32" fmla="*/ 33 w 100"/>
                  <a:gd name="T33" fmla="*/ 17 h 101"/>
                  <a:gd name="T34" fmla="*/ 30 w 100"/>
                  <a:gd name="T35" fmla="*/ 17 h 101"/>
                  <a:gd name="T36" fmla="*/ 20 w 100"/>
                  <a:gd name="T37" fmla="*/ 9 h 101"/>
                  <a:gd name="T38" fmla="*/ 9 w 100"/>
                  <a:gd name="T39" fmla="*/ 21 h 101"/>
                  <a:gd name="T40" fmla="*/ 16 w 100"/>
                  <a:gd name="T41" fmla="*/ 30 h 101"/>
                  <a:gd name="T42" fmla="*/ 17 w 100"/>
                  <a:gd name="T43" fmla="*/ 34 h 101"/>
                  <a:gd name="T44" fmla="*/ 14 w 100"/>
                  <a:gd name="T45" fmla="*/ 39 h 101"/>
                  <a:gd name="T46" fmla="*/ 12 w 100"/>
                  <a:gd name="T47" fmla="*/ 41 h 101"/>
                  <a:gd name="T48" fmla="*/ 0 w 100"/>
                  <a:gd name="T49" fmla="*/ 42 h 101"/>
                  <a:gd name="T50" fmla="*/ 0 w 100"/>
                  <a:gd name="T51" fmla="*/ 59 h 101"/>
                  <a:gd name="T52" fmla="*/ 12 w 100"/>
                  <a:gd name="T53" fmla="*/ 60 h 101"/>
                  <a:gd name="T54" fmla="*/ 14 w 100"/>
                  <a:gd name="T55" fmla="*/ 62 h 101"/>
                  <a:gd name="T56" fmla="*/ 16 w 100"/>
                  <a:gd name="T57" fmla="*/ 68 h 101"/>
                  <a:gd name="T58" fmla="*/ 16 w 100"/>
                  <a:gd name="T59" fmla="*/ 71 h 101"/>
                  <a:gd name="T60" fmla="*/ 9 w 100"/>
                  <a:gd name="T61" fmla="*/ 80 h 101"/>
                  <a:gd name="T62" fmla="*/ 20 w 100"/>
                  <a:gd name="T63" fmla="*/ 92 h 101"/>
                  <a:gd name="T64" fmla="*/ 30 w 100"/>
                  <a:gd name="T65" fmla="*/ 84 h 101"/>
                  <a:gd name="T66" fmla="*/ 33 w 100"/>
                  <a:gd name="T67" fmla="*/ 84 h 101"/>
                  <a:gd name="T68" fmla="*/ 38 w 100"/>
                  <a:gd name="T69" fmla="*/ 87 h 101"/>
                  <a:gd name="T70" fmla="*/ 40 w 100"/>
                  <a:gd name="T71" fmla="*/ 89 h 101"/>
                  <a:gd name="T72" fmla="*/ 42 w 100"/>
                  <a:gd name="T73" fmla="*/ 101 h 101"/>
                  <a:gd name="T74" fmla="*/ 58 w 100"/>
                  <a:gd name="T75" fmla="*/ 101 h 101"/>
                  <a:gd name="T76" fmla="*/ 60 w 100"/>
                  <a:gd name="T77" fmla="*/ 89 h 101"/>
                  <a:gd name="T78" fmla="*/ 62 w 100"/>
                  <a:gd name="T79" fmla="*/ 87 h 101"/>
                  <a:gd name="T80" fmla="*/ 67 w 100"/>
                  <a:gd name="T81" fmla="*/ 84 h 101"/>
                  <a:gd name="T82" fmla="*/ 70 w 100"/>
                  <a:gd name="T83" fmla="*/ 84 h 101"/>
                  <a:gd name="T84" fmla="*/ 80 w 100"/>
                  <a:gd name="T85" fmla="*/ 92 h 101"/>
                  <a:gd name="T86" fmla="*/ 91 w 100"/>
                  <a:gd name="T87" fmla="*/ 80 h 101"/>
                  <a:gd name="T88" fmla="*/ 84 w 100"/>
                  <a:gd name="T89" fmla="*/ 71 h 101"/>
                  <a:gd name="T90" fmla="*/ 84 w 100"/>
                  <a:gd name="T91" fmla="*/ 68 h 101"/>
                  <a:gd name="T92" fmla="*/ 86 w 100"/>
                  <a:gd name="T93" fmla="*/ 62 h 101"/>
                  <a:gd name="T94" fmla="*/ 88 w 100"/>
                  <a:gd name="T95" fmla="*/ 60 h 101"/>
                  <a:gd name="T96" fmla="*/ 100 w 100"/>
                  <a:gd name="T97" fmla="*/ 5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0" h="101">
                    <a:moveTo>
                      <a:pt x="100" y="59"/>
                    </a:moveTo>
                    <a:cubicBezTo>
                      <a:pt x="100" y="42"/>
                      <a:pt x="100" y="42"/>
                      <a:pt x="100" y="42"/>
                    </a:cubicBezTo>
                    <a:cubicBezTo>
                      <a:pt x="88" y="41"/>
                      <a:pt x="88" y="41"/>
                      <a:pt x="88" y="41"/>
                    </a:cubicBezTo>
                    <a:cubicBezTo>
                      <a:pt x="87" y="41"/>
                      <a:pt x="86" y="40"/>
                      <a:pt x="86" y="39"/>
                    </a:cubicBezTo>
                    <a:cubicBezTo>
                      <a:pt x="85" y="37"/>
                      <a:pt x="84" y="35"/>
                      <a:pt x="83" y="34"/>
                    </a:cubicBezTo>
                    <a:cubicBezTo>
                      <a:pt x="83" y="33"/>
                      <a:pt x="83" y="31"/>
                      <a:pt x="84" y="30"/>
                    </a:cubicBezTo>
                    <a:cubicBezTo>
                      <a:pt x="91" y="21"/>
                      <a:pt x="91" y="21"/>
                      <a:pt x="91" y="21"/>
                    </a:cubicBezTo>
                    <a:cubicBezTo>
                      <a:pt x="80" y="9"/>
                      <a:pt x="80" y="9"/>
                      <a:pt x="80" y="9"/>
                    </a:cubicBezTo>
                    <a:cubicBezTo>
                      <a:pt x="70" y="17"/>
                      <a:pt x="70" y="17"/>
                      <a:pt x="70" y="17"/>
                    </a:cubicBezTo>
                    <a:cubicBezTo>
                      <a:pt x="69" y="18"/>
                      <a:pt x="68" y="18"/>
                      <a:pt x="67" y="17"/>
                    </a:cubicBezTo>
                    <a:cubicBezTo>
                      <a:pt x="65" y="16"/>
                      <a:pt x="63" y="16"/>
                      <a:pt x="62" y="15"/>
                    </a:cubicBezTo>
                    <a:cubicBezTo>
                      <a:pt x="61" y="15"/>
                      <a:pt x="60" y="14"/>
                      <a:pt x="60" y="13"/>
                    </a:cubicBezTo>
                    <a:cubicBezTo>
                      <a:pt x="58" y="0"/>
                      <a:pt x="58" y="0"/>
                      <a:pt x="58" y="0"/>
                    </a:cubicBezTo>
                    <a:cubicBezTo>
                      <a:pt x="42" y="0"/>
                      <a:pt x="42" y="0"/>
                      <a:pt x="42" y="0"/>
                    </a:cubicBezTo>
                    <a:cubicBezTo>
                      <a:pt x="40" y="13"/>
                      <a:pt x="40" y="13"/>
                      <a:pt x="40" y="13"/>
                    </a:cubicBezTo>
                    <a:cubicBezTo>
                      <a:pt x="40" y="14"/>
                      <a:pt x="39" y="15"/>
                      <a:pt x="38" y="15"/>
                    </a:cubicBezTo>
                    <a:cubicBezTo>
                      <a:pt x="37" y="16"/>
                      <a:pt x="35" y="16"/>
                      <a:pt x="33" y="17"/>
                    </a:cubicBezTo>
                    <a:cubicBezTo>
                      <a:pt x="32" y="18"/>
                      <a:pt x="31" y="18"/>
                      <a:pt x="30" y="17"/>
                    </a:cubicBezTo>
                    <a:cubicBezTo>
                      <a:pt x="20" y="9"/>
                      <a:pt x="20" y="9"/>
                      <a:pt x="20" y="9"/>
                    </a:cubicBezTo>
                    <a:cubicBezTo>
                      <a:pt x="9" y="21"/>
                      <a:pt x="9" y="21"/>
                      <a:pt x="9" y="21"/>
                    </a:cubicBezTo>
                    <a:cubicBezTo>
                      <a:pt x="16" y="30"/>
                      <a:pt x="16" y="30"/>
                      <a:pt x="16" y="30"/>
                    </a:cubicBezTo>
                    <a:cubicBezTo>
                      <a:pt x="17" y="31"/>
                      <a:pt x="17" y="33"/>
                      <a:pt x="17" y="34"/>
                    </a:cubicBezTo>
                    <a:cubicBezTo>
                      <a:pt x="16" y="35"/>
                      <a:pt x="15" y="37"/>
                      <a:pt x="14" y="39"/>
                    </a:cubicBezTo>
                    <a:cubicBezTo>
                      <a:pt x="14" y="40"/>
                      <a:pt x="13" y="41"/>
                      <a:pt x="12" y="41"/>
                    </a:cubicBezTo>
                    <a:cubicBezTo>
                      <a:pt x="0" y="42"/>
                      <a:pt x="0" y="42"/>
                      <a:pt x="0" y="42"/>
                    </a:cubicBezTo>
                    <a:cubicBezTo>
                      <a:pt x="0" y="59"/>
                      <a:pt x="0" y="59"/>
                      <a:pt x="0" y="59"/>
                    </a:cubicBezTo>
                    <a:cubicBezTo>
                      <a:pt x="12" y="60"/>
                      <a:pt x="12" y="60"/>
                      <a:pt x="12" y="60"/>
                    </a:cubicBezTo>
                    <a:cubicBezTo>
                      <a:pt x="13" y="60"/>
                      <a:pt x="14" y="61"/>
                      <a:pt x="14" y="62"/>
                    </a:cubicBezTo>
                    <a:cubicBezTo>
                      <a:pt x="15" y="64"/>
                      <a:pt x="16" y="66"/>
                      <a:pt x="16" y="68"/>
                    </a:cubicBezTo>
                    <a:cubicBezTo>
                      <a:pt x="17" y="69"/>
                      <a:pt x="17" y="70"/>
                      <a:pt x="16" y="71"/>
                    </a:cubicBezTo>
                    <a:cubicBezTo>
                      <a:pt x="9" y="80"/>
                      <a:pt x="9" y="80"/>
                      <a:pt x="9" y="80"/>
                    </a:cubicBezTo>
                    <a:cubicBezTo>
                      <a:pt x="20" y="92"/>
                      <a:pt x="20" y="92"/>
                      <a:pt x="20" y="92"/>
                    </a:cubicBezTo>
                    <a:cubicBezTo>
                      <a:pt x="30" y="84"/>
                      <a:pt x="30" y="84"/>
                      <a:pt x="30" y="84"/>
                    </a:cubicBezTo>
                    <a:cubicBezTo>
                      <a:pt x="30" y="84"/>
                      <a:pt x="32" y="84"/>
                      <a:pt x="33" y="84"/>
                    </a:cubicBezTo>
                    <a:cubicBezTo>
                      <a:pt x="35" y="85"/>
                      <a:pt x="36" y="86"/>
                      <a:pt x="38" y="87"/>
                    </a:cubicBezTo>
                    <a:cubicBezTo>
                      <a:pt x="39" y="87"/>
                      <a:pt x="40" y="88"/>
                      <a:pt x="40" y="89"/>
                    </a:cubicBezTo>
                    <a:cubicBezTo>
                      <a:pt x="42" y="101"/>
                      <a:pt x="42" y="101"/>
                      <a:pt x="42" y="101"/>
                    </a:cubicBezTo>
                    <a:cubicBezTo>
                      <a:pt x="58" y="101"/>
                      <a:pt x="58" y="101"/>
                      <a:pt x="58" y="101"/>
                    </a:cubicBezTo>
                    <a:cubicBezTo>
                      <a:pt x="60" y="89"/>
                      <a:pt x="60" y="89"/>
                      <a:pt x="60" y="89"/>
                    </a:cubicBezTo>
                    <a:cubicBezTo>
                      <a:pt x="60" y="88"/>
                      <a:pt x="61" y="87"/>
                      <a:pt x="62" y="87"/>
                    </a:cubicBezTo>
                    <a:cubicBezTo>
                      <a:pt x="64" y="86"/>
                      <a:pt x="65" y="85"/>
                      <a:pt x="67" y="84"/>
                    </a:cubicBezTo>
                    <a:cubicBezTo>
                      <a:pt x="68" y="84"/>
                      <a:pt x="70" y="84"/>
                      <a:pt x="70" y="84"/>
                    </a:cubicBezTo>
                    <a:cubicBezTo>
                      <a:pt x="80" y="92"/>
                      <a:pt x="80" y="92"/>
                      <a:pt x="80" y="92"/>
                    </a:cubicBezTo>
                    <a:cubicBezTo>
                      <a:pt x="91" y="80"/>
                      <a:pt x="91" y="80"/>
                      <a:pt x="91" y="80"/>
                    </a:cubicBezTo>
                    <a:cubicBezTo>
                      <a:pt x="84" y="71"/>
                      <a:pt x="84" y="71"/>
                      <a:pt x="84" y="71"/>
                    </a:cubicBezTo>
                    <a:cubicBezTo>
                      <a:pt x="83" y="70"/>
                      <a:pt x="83" y="69"/>
                      <a:pt x="84" y="68"/>
                    </a:cubicBezTo>
                    <a:cubicBezTo>
                      <a:pt x="84" y="66"/>
                      <a:pt x="85" y="64"/>
                      <a:pt x="86" y="62"/>
                    </a:cubicBezTo>
                    <a:cubicBezTo>
                      <a:pt x="86" y="61"/>
                      <a:pt x="87" y="60"/>
                      <a:pt x="88" y="60"/>
                    </a:cubicBezTo>
                    <a:lnTo>
                      <a:pt x="100" y="59"/>
                    </a:ln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1" name="Oval 248">
                <a:extLst>
                  <a:ext uri="{FF2B5EF4-FFF2-40B4-BE49-F238E27FC236}">
                    <a16:creationId xmlns:a16="http://schemas.microsoft.com/office/drawing/2014/main" id="{F5C481DA-DAFC-4612-A340-F709566BA2EC}"/>
                  </a:ext>
                </a:extLst>
              </p:cNvPr>
              <p:cNvSpPr>
                <a:spLocks noChangeArrowheads="1"/>
              </p:cNvSpPr>
              <p:nvPr/>
            </p:nvSpPr>
            <p:spPr bwMode="auto">
              <a:xfrm>
                <a:off x="2985" y="2191"/>
                <a:ext cx="59" cy="60"/>
              </a:xfrm>
              <a:prstGeom prst="ellipse">
                <a:avLst/>
              </a:prstGeom>
              <a:grpFill/>
              <a:ln w="17463"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03" name="Group 252">
              <a:extLst>
                <a:ext uri="{FF2B5EF4-FFF2-40B4-BE49-F238E27FC236}">
                  <a16:creationId xmlns:a16="http://schemas.microsoft.com/office/drawing/2014/main" id="{D1BB1D7E-BAE4-495F-86B2-525D486D4C5C}"/>
                </a:ext>
              </a:extLst>
            </p:cNvPr>
            <p:cNvGrpSpPr>
              <a:grpSpLocks noChangeAspect="1"/>
            </p:cNvGrpSpPr>
            <p:nvPr/>
          </p:nvGrpSpPr>
          <p:grpSpPr bwMode="auto">
            <a:xfrm>
              <a:off x="4596577" y="2133408"/>
              <a:ext cx="622300" cy="404813"/>
              <a:chOff x="3151" y="1374"/>
              <a:chExt cx="392" cy="255"/>
            </a:xfrm>
            <a:solidFill>
              <a:schemeClr val="tx2"/>
            </a:solidFill>
          </p:grpSpPr>
          <p:sp>
            <p:nvSpPr>
              <p:cNvPr id="405" name="Freeform 253">
                <a:extLst>
                  <a:ext uri="{FF2B5EF4-FFF2-40B4-BE49-F238E27FC236}">
                    <a16:creationId xmlns:a16="http://schemas.microsoft.com/office/drawing/2014/main" id="{8E54402A-3A1F-4451-891B-798668A962BA}"/>
                  </a:ext>
                </a:extLst>
              </p:cNvPr>
              <p:cNvSpPr>
                <a:spLocks/>
              </p:cNvSpPr>
              <p:nvPr/>
            </p:nvSpPr>
            <p:spPr bwMode="auto">
              <a:xfrm>
                <a:off x="3151" y="1374"/>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8 h 22"/>
                  <a:gd name="T26" fmla="*/ 36 w 215"/>
                  <a:gd name="T27" fmla="*/ 16 h 22"/>
                  <a:gd name="T28" fmla="*/ 52 w 215"/>
                  <a:gd name="T29" fmla="*/ 8 h 22"/>
                  <a:gd name="T30" fmla="*/ 72 w 215"/>
                  <a:gd name="T31" fmla="*/ 0 h 22"/>
                  <a:gd name="T32" fmla="*/ 92 w 215"/>
                  <a:gd name="T33" fmla="*/ 8 h 22"/>
                  <a:gd name="T34" fmla="*/ 108 w 215"/>
                  <a:gd name="T35" fmla="*/ 16 h 22"/>
                  <a:gd name="T36" fmla="*/ 124 w 215"/>
                  <a:gd name="T37" fmla="*/ 8 h 22"/>
                  <a:gd name="T38" fmla="*/ 144 w 215"/>
                  <a:gd name="T39" fmla="*/ 0 h 22"/>
                  <a:gd name="T40" fmla="*/ 164 w 215"/>
                  <a:gd name="T41" fmla="*/ 8 h 22"/>
                  <a:gd name="T42" fmla="*/ 180 w 215"/>
                  <a:gd name="T43" fmla="*/ 16 h 22"/>
                  <a:gd name="T44" fmla="*/ 195 w 215"/>
                  <a:gd name="T45" fmla="*/ 8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4"/>
                      <a:pt x="20" y="8"/>
                    </a:cubicBezTo>
                    <a:cubicBezTo>
                      <a:pt x="24" y="12"/>
                      <a:pt x="28" y="16"/>
                      <a:pt x="36" y="16"/>
                    </a:cubicBezTo>
                    <a:cubicBezTo>
                      <a:pt x="44" y="16"/>
                      <a:pt x="47" y="12"/>
                      <a:pt x="52" y="8"/>
                    </a:cubicBezTo>
                    <a:cubicBezTo>
                      <a:pt x="56" y="4"/>
                      <a:pt x="62" y="0"/>
                      <a:pt x="72" y="0"/>
                    </a:cubicBezTo>
                    <a:cubicBezTo>
                      <a:pt x="82" y="0"/>
                      <a:pt x="87" y="4"/>
                      <a:pt x="92" y="8"/>
                    </a:cubicBezTo>
                    <a:cubicBezTo>
                      <a:pt x="96" y="12"/>
                      <a:pt x="100" y="16"/>
                      <a:pt x="108" y="16"/>
                    </a:cubicBezTo>
                    <a:cubicBezTo>
                      <a:pt x="116" y="16"/>
                      <a:pt x="119" y="12"/>
                      <a:pt x="124" y="8"/>
                    </a:cubicBezTo>
                    <a:cubicBezTo>
                      <a:pt x="128" y="4"/>
                      <a:pt x="133" y="0"/>
                      <a:pt x="144" y="0"/>
                    </a:cubicBezTo>
                    <a:cubicBezTo>
                      <a:pt x="154" y="0"/>
                      <a:pt x="159" y="4"/>
                      <a:pt x="164" y="8"/>
                    </a:cubicBezTo>
                    <a:cubicBezTo>
                      <a:pt x="168" y="12"/>
                      <a:pt x="172" y="16"/>
                      <a:pt x="180" y="16"/>
                    </a:cubicBezTo>
                    <a:cubicBezTo>
                      <a:pt x="187" y="16"/>
                      <a:pt x="191" y="12"/>
                      <a:pt x="195" y="8"/>
                    </a:cubicBezTo>
                    <a:cubicBezTo>
                      <a:pt x="200" y="4"/>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6" name="Freeform 254">
                <a:extLst>
                  <a:ext uri="{FF2B5EF4-FFF2-40B4-BE49-F238E27FC236}">
                    <a16:creationId xmlns:a16="http://schemas.microsoft.com/office/drawing/2014/main" id="{15D0B383-F828-4F74-8533-92C6EDBF9260}"/>
                  </a:ext>
                </a:extLst>
              </p:cNvPr>
              <p:cNvSpPr>
                <a:spLocks/>
              </p:cNvSpPr>
              <p:nvPr/>
            </p:nvSpPr>
            <p:spPr bwMode="auto">
              <a:xfrm>
                <a:off x="3151" y="1445"/>
                <a:ext cx="31" cy="19"/>
              </a:xfrm>
              <a:custGeom>
                <a:avLst/>
                <a:gdLst>
                  <a:gd name="T0" fmla="*/ 13 w 17"/>
                  <a:gd name="T1" fmla="*/ 10 h 10"/>
                  <a:gd name="T2" fmla="*/ 0 w 17"/>
                  <a:gd name="T3" fmla="*/ 6 h 10"/>
                  <a:gd name="T4" fmla="*/ 0 w 17"/>
                  <a:gd name="T5" fmla="*/ 0 h 10"/>
                  <a:gd name="T6" fmla="*/ 17 w 17"/>
                  <a:gd name="T7" fmla="*/ 6 h 10"/>
                  <a:gd name="T8" fmla="*/ 13 w 17"/>
                  <a:gd name="T9" fmla="*/ 10 h 10"/>
                </a:gdLst>
                <a:ahLst/>
                <a:cxnLst>
                  <a:cxn ang="0">
                    <a:pos x="T0" y="T1"/>
                  </a:cxn>
                  <a:cxn ang="0">
                    <a:pos x="T2" y="T3"/>
                  </a:cxn>
                  <a:cxn ang="0">
                    <a:pos x="T4" y="T5"/>
                  </a:cxn>
                  <a:cxn ang="0">
                    <a:pos x="T6" y="T7"/>
                  </a:cxn>
                  <a:cxn ang="0">
                    <a:pos x="T8" y="T9"/>
                  </a:cxn>
                </a:cxnLst>
                <a:rect l="0" t="0" r="r" b="b"/>
                <a:pathLst>
                  <a:path w="17" h="10">
                    <a:moveTo>
                      <a:pt x="13" y="10"/>
                    </a:moveTo>
                    <a:cubicBezTo>
                      <a:pt x="10" y="8"/>
                      <a:pt x="6" y="6"/>
                      <a:pt x="0" y="6"/>
                    </a:cubicBezTo>
                    <a:cubicBezTo>
                      <a:pt x="0" y="0"/>
                      <a:pt x="0" y="0"/>
                      <a:pt x="0" y="0"/>
                    </a:cubicBezTo>
                    <a:cubicBezTo>
                      <a:pt x="8" y="0"/>
                      <a:pt x="13" y="3"/>
                      <a:pt x="17" y="6"/>
                    </a:cubicBezTo>
                    <a:lnTo>
                      <a:pt x="1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7" name="Freeform 255">
                <a:extLst>
                  <a:ext uri="{FF2B5EF4-FFF2-40B4-BE49-F238E27FC236}">
                    <a16:creationId xmlns:a16="http://schemas.microsoft.com/office/drawing/2014/main" id="{9BCDED94-5415-461C-BA8E-750ADF47205B}"/>
                  </a:ext>
                </a:extLst>
              </p:cNvPr>
              <p:cNvSpPr>
                <a:spLocks noEditPoints="1"/>
              </p:cNvSpPr>
              <p:nvPr/>
            </p:nvSpPr>
            <p:spPr bwMode="auto">
              <a:xfrm>
                <a:off x="3226" y="1445"/>
                <a:ext cx="242" cy="41"/>
              </a:xfrm>
              <a:custGeom>
                <a:avLst/>
                <a:gdLst>
                  <a:gd name="T0" fmla="*/ 67 w 133"/>
                  <a:gd name="T1" fmla="*/ 22 h 22"/>
                  <a:gd name="T2" fmla="*/ 51 w 133"/>
                  <a:gd name="T3" fmla="*/ 17 h 22"/>
                  <a:gd name="T4" fmla="*/ 54 w 133"/>
                  <a:gd name="T5" fmla="*/ 12 h 22"/>
                  <a:gd name="T6" fmla="*/ 67 w 133"/>
                  <a:gd name="T7" fmla="*/ 16 h 22"/>
                  <a:gd name="T8" fmla="*/ 67 w 133"/>
                  <a:gd name="T9" fmla="*/ 16 h 22"/>
                  <a:gd name="T10" fmla="*/ 79 w 133"/>
                  <a:gd name="T11" fmla="*/ 12 h 22"/>
                  <a:gd name="T12" fmla="*/ 82 w 133"/>
                  <a:gd name="T13" fmla="*/ 17 h 22"/>
                  <a:gd name="T14" fmla="*/ 67 w 133"/>
                  <a:gd name="T15" fmla="*/ 22 h 22"/>
                  <a:gd name="T16" fmla="*/ 67 w 133"/>
                  <a:gd name="T17" fmla="*/ 22 h 22"/>
                  <a:gd name="T18" fmla="*/ 1 w 133"/>
                  <a:gd name="T19" fmla="*/ 21 h 22"/>
                  <a:gd name="T20" fmla="*/ 0 w 133"/>
                  <a:gd name="T21" fmla="*/ 15 h 22"/>
                  <a:gd name="T22" fmla="*/ 11 w 133"/>
                  <a:gd name="T23" fmla="*/ 9 h 22"/>
                  <a:gd name="T24" fmla="*/ 26 w 133"/>
                  <a:gd name="T25" fmla="*/ 0 h 22"/>
                  <a:gd name="T26" fmla="*/ 27 w 133"/>
                  <a:gd name="T27" fmla="*/ 6 h 22"/>
                  <a:gd name="T28" fmla="*/ 15 w 133"/>
                  <a:gd name="T29" fmla="*/ 13 h 22"/>
                  <a:gd name="T30" fmla="*/ 1 w 133"/>
                  <a:gd name="T31" fmla="*/ 21 h 22"/>
                  <a:gd name="T32" fmla="*/ 132 w 133"/>
                  <a:gd name="T33" fmla="*/ 21 h 22"/>
                  <a:gd name="T34" fmla="*/ 119 w 133"/>
                  <a:gd name="T35" fmla="*/ 13 h 22"/>
                  <a:gd name="T36" fmla="*/ 107 w 133"/>
                  <a:gd name="T37" fmla="*/ 6 h 22"/>
                  <a:gd name="T38" fmla="*/ 108 w 133"/>
                  <a:gd name="T39" fmla="*/ 0 h 22"/>
                  <a:gd name="T40" fmla="*/ 123 w 133"/>
                  <a:gd name="T41" fmla="*/ 9 h 22"/>
                  <a:gd name="T42" fmla="*/ 133 w 133"/>
                  <a:gd name="T43" fmla="*/ 15 h 22"/>
                  <a:gd name="T44" fmla="*/ 132 w 133"/>
                  <a:gd name="T45"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67" y="16"/>
                      <a:pt x="67" y="16"/>
                      <a:pt x="67" y="16"/>
                    </a:cubicBezTo>
                    <a:cubicBezTo>
                      <a:pt x="73" y="16"/>
                      <a:pt x="76" y="14"/>
                      <a:pt x="79" y="12"/>
                    </a:cubicBezTo>
                    <a:cubicBezTo>
                      <a:pt x="82" y="17"/>
                      <a:pt x="82" y="17"/>
                      <a:pt x="82" y="17"/>
                    </a:cubicBezTo>
                    <a:cubicBezTo>
                      <a:pt x="79" y="19"/>
                      <a:pt x="74" y="22"/>
                      <a:pt x="67" y="22"/>
                    </a:cubicBezTo>
                    <a:cubicBezTo>
                      <a:pt x="67" y="22"/>
                      <a:pt x="67" y="22"/>
                      <a:pt x="67" y="22"/>
                    </a:cubicBezTo>
                    <a:close/>
                    <a:moveTo>
                      <a:pt x="1" y="21"/>
                    </a:moveTo>
                    <a:cubicBezTo>
                      <a:pt x="0" y="15"/>
                      <a:pt x="0" y="15"/>
                      <a:pt x="0" y="15"/>
                    </a:cubicBezTo>
                    <a:cubicBezTo>
                      <a:pt x="5" y="14"/>
                      <a:pt x="8" y="11"/>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1"/>
                      <a:pt x="119" y="5"/>
                      <a:pt x="123" y="9"/>
                    </a:cubicBezTo>
                    <a:cubicBezTo>
                      <a:pt x="126" y="11"/>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8" name="Freeform 256">
                <a:extLst>
                  <a:ext uri="{FF2B5EF4-FFF2-40B4-BE49-F238E27FC236}">
                    <a16:creationId xmlns:a16="http://schemas.microsoft.com/office/drawing/2014/main" id="{E1F822F0-04F9-49D9-BDB9-8B272597F0A3}"/>
                  </a:ext>
                </a:extLst>
              </p:cNvPr>
              <p:cNvSpPr>
                <a:spLocks/>
              </p:cNvSpPr>
              <p:nvPr/>
            </p:nvSpPr>
            <p:spPr bwMode="auto">
              <a:xfrm>
                <a:off x="3514" y="1445"/>
                <a:ext cx="29" cy="19"/>
              </a:xfrm>
              <a:custGeom>
                <a:avLst/>
                <a:gdLst>
                  <a:gd name="T0" fmla="*/ 4 w 16"/>
                  <a:gd name="T1" fmla="*/ 10 h 10"/>
                  <a:gd name="T2" fmla="*/ 0 w 16"/>
                  <a:gd name="T3" fmla="*/ 6 h 10"/>
                  <a:gd name="T4" fmla="*/ 16 w 16"/>
                  <a:gd name="T5" fmla="*/ 0 h 10"/>
                  <a:gd name="T6" fmla="*/ 16 w 16"/>
                  <a:gd name="T7" fmla="*/ 6 h 10"/>
                  <a:gd name="T8" fmla="*/ 4 w 16"/>
                  <a:gd name="T9" fmla="*/ 10 h 10"/>
                </a:gdLst>
                <a:ahLst/>
                <a:cxnLst>
                  <a:cxn ang="0">
                    <a:pos x="T0" y="T1"/>
                  </a:cxn>
                  <a:cxn ang="0">
                    <a:pos x="T2" y="T3"/>
                  </a:cxn>
                  <a:cxn ang="0">
                    <a:pos x="T4" y="T5"/>
                  </a:cxn>
                  <a:cxn ang="0">
                    <a:pos x="T6" y="T7"/>
                  </a:cxn>
                  <a:cxn ang="0">
                    <a:pos x="T8" y="T9"/>
                  </a:cxn>
                </a:cxnLst>
                <a:rect l="0" t="0" r="r" b="b"/>
                <a:pathLst>
                  <a:path w="16" h="10">
                    <a:moveTo>
                      <a:pt x="4" y="10"/>
                    </a:moveTo>
                    <a:cubicBezTo>
                      <a:pt x="0" y="6"/>
                      <a:pt x="0" y="6"/>
                      <a:pt x="0" y="6"/>
                    </a:cubicBezTo>
                    <a:cubicBezTo>
                      <a:pt x="3" y="3"/>
                      <a:pt x="8" y="0"/>
                      <a:pt x="16" y="0"/>
                    </a:cubicBezTo>
                    <a:cubicBezTo>
                      <a:pt x="16" y="6"/>
                      <a:pt x="16" y="6"/>
                      <a:pt x="16" y="6"/>
                    </a:cubicBezTo>
                    <a:cubicBezTo>
                      <a:pt x="10" y="6"/>
                      <a:pt x="7" y="8"/>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9" name="Freeform 257">
                <a:extLst>
                  <a:ext uri="{FF2B5EF4-FFF2-40B4-BE49-F238E27FC236}">
                    <a16:creationId xmlns:a16="http://schemas.microsoft.com/office/drawing/2014/main" id="{6502835A-FB6C-4C04-AC3E-5341E205107C}"/>
                  </a:ext>
                </a:extLst>
              </p:cNvPr>
              <p:cNvSpPr>
                <a:spLocks/>
              </p:cNvSpPr>
              <p:nvPr/>
            </p:nvSpPr>
            <p:spPr bwMode="auto">
              <a:xfrm>
                <a:off x="3151" y="1517"/>
                <a:ext cx="31" cy="20"/>
              </a:xfrm>
              <a:custGeom>
                <a:avLst/>
                <a:gdLst>
                  <a:gd name="T0" fmla="*/ 13 w 17"/>
                  <a:gd name="T1" fmla="*/ 11 h 11"/>
                  <a:gd name="T2" fmla="*/ 0 w 17"/>
                  <a:gd name="T3" fmla="*/ 6 h 11"/>
                  <a:gd name="T4" fmla="*/ 0 w 17"/>
                  <a:gd name="T5" fmla="*/ 0 h 11"/>
                  <a:gd name="T6" fmla="*/ 17 w 17"/>
                  <a:gd name="T7" fmla="*/ 6 h 11"/>
                  <a:gd name="T8" fmla="*/ 13 w 17"/>
                  <a:gd name="T9" fmla="*/ 11 h 11"/>
                </a:gdLst>
                <a:ahLst/>
                <a:cxnLst>
                  <a:cxn ang="0">
                    <a:pos x="T0" y="T1"/>
                  </a:cxn>
                  <a:cxn ang="0">
                    <a:pos x="T2" y="T3"/>
                  </a:cxn>
                  <a:cxn ang="0">
                    <a:pos x="T4" y="T5"/>
                  </a:cxn>
                  <a:cxn ang="0">
                    <a:pos x="T6" y="T7"/>
                  </a:cxn>
                  <a:cxn ang="0">
                    <a:pos x="T8" y="T9"/>
                  </a:cxn>
                </a:cxnLst>
                <a:rect l="0" t="0" r="r" b="b"/>
                <a:pathLst>
                  <a:path w="17" h="11">
                    <a:moveTo>
                      <a:pt x="13" y="11"/>
                    </a:moveTo>
                    <a:cubicBezTo>
                      <a:pt x="10" y="8"/>
                      <a:pt x="6" y="6"/>
                      <a:pt x="0" y="6"/>
                    </a:cubicBezTo>
                    <a:cubicBezTo>
                      <a:pt x="0" y="0"/>
                      <a:pt x="0" y="0"/>
                      <a:pt x="0" y="0"/>
                    </a:cubicBezTo>
                    <a:cubicBezTo>
                      <a:pt x="8" y="0"/>
                      <a:pt x="13" y="3"/>
                      <a:pt x="17" y="6"/>
                    </a:cubicBezTo>
                    <a:lnTo>
                      <a:pt x="13"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0" name="Freeform 258">
                <a:extLst>
                  <a:ext uri="{FF2B5EF4-FFF2-40B4-BE49-F238E27FC236}">
                    <a16:creationId xmlns:a16="http://schemas.microsoft.com/office/drawing/2014/main" id="{336AC51C-A5D5-432D-A9F5-54EA97DA997A}"/>
                  </a:ext>
                </a:extLst>
              </p:cNvPr>
              <p:cNvSpPr>
                <a:spLocks noEditPoints="1"/>
              </p:cNvSpPr>
              <p:nvPr/>
            </p:nvSpPr>
            <p:spPr bwMode="auto">
              <a:xfrm>
                <a:off x="3226" y="1517"/>
                <a:ext cx="242" cy="41"/>
              </a:xfrm>
              <a:custGeom>
                <a:avLst/>
                <a:gdLst>
                  <a:gd name="T0" fmla="*/ 67 w 133"/>
                  <a:gd name="T1" fmla="*/ 22 h 22"/>
                  <a:gd name="T2" fmla="*/ 51 w 133"/>
                  <a:gd name="T3" fmla="*/ 17 h 22"/>
                  <a:gd name="T4" fmla="*/ 54 w 133"/>
                  <a:gd name="T5" fmla="*/ 12 h 22"/>
                  <a:gd name="T6" fmla="*/ 67 w 133"/>
                  <a:gd name="T7" fmla="*/ 16 h 22"/>
                  <a:gd name="T8" fmla="*/ 79 w 133"/>
                  <a:gd name="T9" fmla="*/ 12 h 22"/>
                  <a:gd name="T10" fmla="*/ 82 w 133"/>
                  <a:gd name="T11" fmla="*/ 17 h 22"/>
                  <a:gd name="T12" fmla="*/ 67 w 133"/>
                  <a:gd name="T13" fmla="*/ 22 h 22"/>
                  <a:gd name="T14" fmla="*/ 1 w 133"/>
                  <a:gd name="T15" fmla="*/ 21 h 22"/>
                  <a:gd name="T16" fmla="*/ 0 w 133"/>
                  <a:gd name="T17" fmla="*/ 15 h 22"/>
                  <a:gd name="T18" fmla="*/ 11 w 133"/>
                  <a:gd name="T19" fmla="*/ 9 h 22"/>
                  <a:gd name="T20" fmla="*/ 26 w 133"/>
                  <a:gd name="T21" fmla="*/ 0 h 22"/>
                  <a:gd name="T22" fmla="*/ 27 w 133"/>
                  <a:gd name="T23" fmla="*/ 6 h 22"/>
                  <a:gd name="T24" fmla="*/ 15 w 133"/>
                  <a:gd name="T25" fmla="*/ 13 h 22"/>
                  <a:gd name="T26" fmla="*/ 1 w 133"/>
                  <a:gd name="T27" fmla="*/ 21 h 22"/>
                  <a:gd name="T28" fmla="*/ 132 w 133"/>
                  <a:gd name="T29" fmla="*/ 21 h 22"/>
                  <a:gd name="T30" fmla="*/ 119 w 133"/>
                  <a:gd name="T31" fmla="*/ 13 h 22"/>
                  <a:gd name="T32" fmla="*/ 107 w 133"/>
                  <a:gd name="T33" fmla="*/ 6 h 22"/>
                  <a:gd name="T34" fmla="*/ 108 w 133"/>
                  <a:gd name="T35" fmla="*/ 0 h 22"/>
                  <a:gd name="T36" fmla="*/ 123 w 133"/>
                  <a:gd name="T37" fmla="*/ 9 h 22"/>
                  <a:gd name="T38" fmla="*/ 133 w 133"/>
                  <a:gd name="T39" fmla="*/ 15 h 22"/>
                  <a:gd name="T40" fmla="*/ 132 w 133"/>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73" y="16"/>
                      <a:pt x="76" y="14"/>
                      <a:pt x="79" y="12"/>
                    </a:cubicBezTo>
                    <a:cubicBezTo>
                      <a:pt x="82" y="17"/>
                      <a:pt x="82" y="17"/>
                      <a:pt x="82" y="17"/>
                    </a:cubicBezTo>
                    <a:cubicBezTo>
                      <a:pt x="79" y="19"/>
                      <a:pt x="74" y="22"/>
                      <a:pt x="67" y="22"/>
                    </a:cubicBezTo>
                    <a:close/>
                    <a:moveTo>
                      <a:pt x="1" y="21"/>
                    </a:moveTo>
                    <a:cubicBezTo>
                      <a:pt x="0" y="15"/>
                      <a:pt x="0" y="15"/>
                      <a:pt x="0" y="15"/>
                    </a:cubicBezTo>
                    <a:cubicBezTo>
                      <a:pt x="5" y="14"/>
                      <a:pt x="8" y="12"/>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2"/>
                      <a:pt x="119" y="5"/>
                      <a:pt x="123" y="9"/>
                    </a:cubicBezTo>
                    <a:cubicBezTo>
                      <a:pt x="126" y="12"/>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1" name="Freeform 259">
                <a:extLst>
                  <a:ext uri="{FF2B5EF4-FFF2-40B4-BE49-F238E27FC236}">
                    <a16:creationId xmlns:a16="http://schemas.microsoft.com/office/drawing/2014/main" id="{35522CC9-3DEE-4425-91A1-5C57C62D7883}"/>
                  </a:ext>
                </a:extLst>
              </p:cNvPr>
              <p:cNvSpPr>
                <a:spLocks/>
              </p:cNvSpPr>
              <p:nvPr/>
            </p:nvSpPr>
            <p:spPr bwMode="auto">
              <a:xfrm>
                <a:off x="3514" y="1517"/>
                <a:ext cx="29" cy="20"/>
              </a:xfrm>
              <a:custGeom>
                <a:avLst/>
                <a:gdLst>
                  <a:gd name="T0" fmla="*/ 4 w 16"/>
                  <a:gd name="T1" fmla="*/ 11 h 11"/>
                  <a:gd name="T2" fmla="*/ 0 w 16"/>
                  <a:gd name="T3" fmla="*/ 6 h 11"/>
                  <a:gd name="T4" fmla="*/ 16 w 16"/>
                  <a:gd name="T5" fmla="*/ 0 h 11"/>
                  <a:gd name="T6" fmla="*/ 16 w 16"/>
                  <a:gd name="T7" fmla="*/ 6 h 11"/>
                  <a:gd name="T8" fmla="*/ 4 w 16"/>
                  <a:gd name="T9" fmla="*/ 11 h 11"/>
                </a:gdLst>
                <a:ahLst/>
                <a:cxnLst>
                  <a:cxn ang="0">
                    <a:pos x="T0" y="T1"/>
                  </a:cxn>
                  <a:cxn ang="0">
                    <a:pos x="T2" y="T3"/>
                  </a:cxn>
                  <a:cxn ang="0">
                    <a:pos x="T4" y="T5"/>
                  </a:cxn>
                  <a:cxn ang="0">
                    <a:pos x="T6" y="T7"/>
                  </a:cxn>
                  <a:cxn ang="0">
                    <a:pos x="T8" y="T9"/>
                  </a:cxn>
                </a:cxnLst>
                <a:rect l="0" t="0" r="r" b="b"/>
                <a:pathLst>
                  <a:path w="16" h="11">
                    <a:moveTo>
                      <a:pt x="4" y="11"/>
                    </a:moveTo>
                    <a:cubicBezTo>
                      <a:pt x="0" y="6"/>
                      <a:pt x="0" y="6"/>
                      <a:pt x="0" y="6"/>
                    </a:cubicBezTo>
                    <a:cubicBezTo>
                      <a:pt x="3" y="3"/>
                      <a:pt x="8" y="0"/>
                      <a:pt x="16" y="0"/>
                    </a:cubicBezTo>
                    <a:cubicBezTo>
                      <a:pt x="16" y="6"/>
                      <a:pt x="16" y="6"/>
                      <a:pt x="16" y="6"/>
                    </a:cubicBezTo>
                    <a:cubicBezTo>
                      <a:pt x="10" y="6"/>
                      <a:pt x="7" y="8"/>
                      <a:pt x="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2" name="Freeform 260">
                <a:extLst>
                  <a:ext uri="{FF2B5EF4-FFF2-40B4-BE49-F238E27FC236}">
                    <a16:creationId xmlns:a16="http://schemas.microsoft.com/office/drawing/2014/main" id="{8D5AF8EA-CF86-49C1-B6E9-D770249BC879}"/>
                  </a:ext>
                </a:extLst>
              </p:cNvPr>
              <p:cNvSpPr>
                <a:spLocks/>
              </p:cNvSpPr>
              <p:nvPr/>
            </p:nvSpPr>
            <p:spPr bwMode="auto">
              <a:xfrm>
                <a:off x="3151" y="1589"/>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9 h 22"/>
                  <a:gd name="T26" fmla="*/ 36 w 215"/>
                  <a:gd name="T27" fmla="*/ 16 h 22"/>
                  <a:gd name="T28" fmla="*/ 52 w 215"/>
                  <a:gd name="T29" fmla="*/ 9 h 22"/>
                  <a:gd name="T30" fmla="*/ 72 w 215"/>
                  <a:gd name="T31" fmla="*/ 0 h 22"/>
                  <a:gd name="T32" fmla="*/ 92 w 215"/>
                  <a:gd name="T33" fmla="*/ 9 h 22"/>
                  <a:gd name="T34" fmla="*/ 108 w 215"/>
                  <a:gd name="T35" fmla="*/ 16 h 22"/>
                  <a:gd name="T36" fmla="*/ 124 w 215"/>
                  <a:gd name="T37" fmla="*/ 9 h 22"/>
                  <a:gd name="T38" fmla="*/ 144 w 215"/>
                  <a:gd name="T39" fmla="*/ 0 h 22"/>
                  <a:gd name="T40" fmla="*/ 164 w 215"/>
                  <a:gd name="T41" fmla="*/ 9 h 22"/>
                  <a:gd name="T42" fmla="*/ 180 w 215"/>
                  <a:gd name="T43" fmla="*/ 16 h 22"/>
                  <a:gd name="T44" fmla="*/ 195 w 215"/>
                  <a:gd name="T45" fmla="*/ 9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5"/>
                      <a:pt x="20" y="9"/>
                    </a:cubicBezTo>
                    <a:cubicBezTo>
                      <a:pt x="24" y="13"/>
                      <a:pt x="28" y="16"/>
                      <a:pt x="36" y="16"/>
                    </a:cubicBezTo>
                    <a:cubicBezTo>
                      <a:pt x="44" y="16"/>
                      <a:pt x="47" y="13"/>
                      <a:pt x="52" y="9"/>
                    </a:cubicBezTo>
                    <a:cubicBezTo>
                      <a:pt x="56" y="5"/>
                      <a:pt x="62" y="0"/>
                      <a:pt x="72" y="0"/>
                    </a:cubicBezTo>
                    <a:cubicBezTo>
                      <a:pt x="82" y="0"/>
                      <a:pt x="87" y="5"/>
                      <a:pt x="92" y="9"/>
                    </a:cubicBezTo>
                    <a:cubicBezTo>
                      <a:pt x="96" y="13"/>
                      <a:pt x="100" y="16"/>
                      <a:pt x="108" y="16"/>
                    </a:cubicBezTo>
                    <a:cubicBezTo>
                      <a:pt x="116" y="16"/>
                      <a:pt x="119" y="13"/>
                      <a:pt x="124" y="9"/>
                    </a:cubicBezTo>
                    <a:cubicBezTo>
                      <a:pt x="128" y="5"/>
                      <a:pt x="133" y="0"/>
                      <a:pt x="144" y="0"/>
                    </a:cubicBezTo>
                    <a:cubicBezTo>
                      <a:pt x="154" y="0"/>
                      <a:pt x="159" y="5"/>
                      <a:pt x="164" y="9"/>
                    </a:cubicBezTo>
                    <a:cubicBezTo>
                      <a:pt x="168" y="13"/>
                      <a:pt x="172" y="16"/>
                      <a:pt x="180" y="16"/>
                    </a:cubicBezTo>
                    <a:cubicBezTo>
                      <a:pt x="187" y="16"/>
                      <a:pt x="191" y="13"/>
                      <a:pt x="195" y="9"/>
                    </a:cubicBezTo>
                    <a:cubicBezTo>
                      <a:pt x="200" y="5"/>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21" name="Rectangle 220"/>
            <p:cNvSpPr/>
            <p:nvPr/>
          </p:nvSpPr>
          <p:spPr>
            <a:xfrm>
              <a:off x="5730418" y="1965048"/>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Risk Simulations</a:t>
              </a:r>
            </a:p>
          </p:txBody>
        </p:sp>
        <p:sp>
          <p:nvSpPr>
            <p:cNvPr id="211" name="Rectangle 210"/>
            <p:cNvSpPr/>
            <p:nvPr/>
          </p:nvSpPr>
          <p:spPr>
            <a:xfrm>
              <a:off x="5761037" y="5983404"/>
              <a:ext cx="914400" cy="169532"/>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Genomics</a:t>
              </a:r>
            </a:p>
          </p:txBody>
        </p:sp>
        <p:grpSp>
          <p:nvGrpSpPr>
            <p:cNvPr id="383" name="Group 229">
              <a:extLst>
                <a:ext uri="{FF2B5EF4-FFF2-40B4-BE49-F238E27FC236}">
                  <a16:creationId xmlns:a16="http://schemas.microsoft.com/office/drawing/2014/main" id="{6AFDC564-FD73-4EED-90A7-6D923DC07A19}"/>
                </a:ext>
              </a:extLst>
            </p:cNvPr>
            <p:cNvGrpSpPr>
              <a:grpSpLocks noChangeAspect="1"/>
            </p:cNvGrpSpPr>
            <p:nvPr/>
          </p:nvGrpSpPr>
          <p:grpSpPr bwMode="auto">
            <a:xfrm>
              <a:off x="6054725" y="5361330"/>
              <a:ext cx="327025" cy="514350"/>
              <a:chOff x="4015" y="3262"/>
              <a:chExt cx="206" cy="324"/>
            </a:xfrm>
            <a:solidFill>
              <a:schemeClr val="bg1"/>
            </a:solidFill>
          </p:grpSpPr>
          <p:sp>
            <p:nvSpPr>
              <p:cNvPr id="385" name="Freeform 230">
                <a:extLst>
                  <a:ext uri="{FF2B5EF4-FFF2-40B4-BE49-F238E27FC236}">
                    <a16:creationId xmlns:a16="http://schemas.microsoft.com/office/drawing/2014/main" id="{B1A93408-2AAA-4E42-8BEF-F1A4A78575F2}"/>
                  </a:ext>
                </a:extLst>
              </p:cNvPr>
              <p:cNvSpPr>
                <a:spLocks/>
              </p:cNvSpPr>
              <p:nvPr/>
            </p:nvSpPr>
            <p:spPr bwMode="auto">
              <a:xfrm>
                <a:off x="4015" y="3262"/>
                <a:ext cx="206" cy="324"/>
              </a:xfrm>
              <a:custGeom>
                <a:avLst/>
                <a:gdLst>
                  <a:gd name="T0" fmla="*/ 0 w 123"/>
                  <a:gd name="T1" fmla="*/ 195 h 195"/>
                  <a:gd name="T2" fmla="*/ 0 w 123"/>
                  <a:gd name="T3" fmla="*/ 162 h 195"/>
                  <a:gd name="T4" fmla="*/ 61 w 123"/>
                  <a:gd name="T5" fmla="*/ 93 h 195"/>
                  <a:gd name="T6" fmla="*/ 123 w 123"/>
                  <a:gd name="T7" fmla="*/ 32 h 195"/>
                  <a:gd name="T8" fmla="*/ 123 w 123"/>
                  <a:gd name="T9" fmla="*/ 0 h 195"/>
                </a:gdLst>
                <a:ahLst/>
                <a:cxnLst>
                  <a:cxn ang="0">
                    <a:pos x="T0" y="T1"/>
                  </a:cxn>
                  <a:cxn ang="0">
                    <a:pos x="T2" y="T3"/>
                  </a:cxn>
                  <a:cxn ang="0">
                    <a:pos x="T4" y="T5"/>
                  </a:cxn>
                  <a:cxn ang="0">
                    <a:pos x="T6" y="T7"/>
                  </a:cxn>
                  <a:cxn ang="0">
                    <a:pos x="T8" y="T9"/>
                  </a:cxn>
                </a:cxnLst>
                <a:rect l="0" t="0" r="r" b="b"/>
                <a:pathLst>
                  <a:path w="123" h="195">
                    <a:moveTo>
                      <a:pt x="0" y="195"/>
                    </a:moveTo>
                    <a:cubicBezTo>
                      <a:pt x="0" y="195"/>
                      <a:pt x="0" y="188"/>
                      <a:pt x="0" y="162"/>
                    </a:cubicBezTo>
                    <a:cubicBezTo>
                      <a:pt x="0" y="129"/>
                      <a:pt x="35" y="108"/>
                      <a:pt x="61" y="93"/>
                    </a:cubicBezTo>
                    <a:cubicBezTo>
                      <a:pt x="94" y="75"/>
                      <a:pt x="123" y="53"/>
                      <a:pt x="123" y="32"/>
                    </a:cubicBezTo>
                    <a:cubicBezTo>
                      <a:pt x="123" y="0"/>
                      <a:pt x="123" y="0"/>
                      <a:pt x="123"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6" name="Freeform 231">
                <a:extLst>
                  <a:ext uri="{FF2B5EF4-FFF2-40B4-BE49-F238E27FC236}">
                    <a16:creationId xmlns:a16="http://schemas.microsoft.com/office/drawing/2014/main" id="{BE3053CE-908C-45F3-851F-A8D3AA6BC974}"/>
                  </a:ext>
                </a:extLst>
              </p:cNvPr>
              <p:cNvSpPr>
                <a:spLocks/>
              </p:cNvSpPr>
              <p:nvPr/>
            </p:nvSpPr>
            <p:spPr bwMode="auto">
              <a:xfrm>
                <a:off x="4157" y="3443"/>
                <a:ext cx="59" cy="143"/>
              </a:xfrm>
              <a:custGeom>
                <a:avLst/>
                <a:gdLst>
                  <a:gd name="T0" fmla="*/ 0 w 35"/>
                  <a:gd name="T1" fmla="*/ 0 h 86"/>
                  <a:gd name="T2" fmla="*/ 35 w 35"/>
                  <a:gd name="T3" fmla="*/ 53 h 86"/>
                  <a:gd name="T4" fmla="*/ 35 w 35"/>
                  <a:gd name="T5" fmla="*/ 86 h 86"/>
                </a:gdLst>
                <a:ahLst/>
                <a:cxnLst>
                  <a:cxn ang="0">
                    <a:pos x="T0" y="T1"/>
                  </a:cxn>
                  <a:cxn ang="0">
                    <a:pos x="T2" y="T3"/>
                  </a:cxn>
                  <a:cxn ang="0">
                    <a:pos x="T4" y="T5"/>
                  </a:cxn>
                </a:cxnLst>
                <a:rect l="0" t="0" r="r" b="b"/>
                <a:pathLst>
                  <a:path w="35" h="86">
                    <a:moveTo>
                      <a:pt x="0" y="0"/>
                    </a:moveTo>
                    <a:cubicBezTo>
                      <a:pt x="18" y="13"/>
                      <a:pt x="35" y="30"/>
                      <a:pt x="35" y="53"/>
                    </a:cubicBezTo>
                    <a:cubicBezTo>
                      <a:pt x="35" y="79"/>
                      <a:pt x="35" y="86"/>
                      <a:pt x="35" y="8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7" name="Freeform 232">
                <a:extLst>
                  <a:ext uri="{FF2B5EF4-FFF2-40B4-BE49-F238E27FC236}">
                    <a16:creationId xmlns:a16="http://schemas.microsoft.com/office/drawing/2014/main" id="{BD74C0A8-1B4C-495B-B4A0-F88C85AC1BE1}"/>
                  </a:ext>
                </a:extLst>
              </p:cNvPr>
              <p:cNvSpPr>
                <a:spLocks/>
              </p:cNvSpPr>
              <p:nvPr/>
            </p:nvSpPr>
            <p:spPr bwMode="auto">
              <a:xfrm>
                <a:off x="4015" y="3262"/>
                <a:ext cx="60" cy="129"/>
              </a:xfrm>
              <a:custGeom>
                <a:avLst/>
                <a:gdLst>
                  <a:gd name="T0" fmla="*/ 0 w 36"/>
                  <a:gd name="T1" fmla="*/ 0 h 78"/>
                  <a:gd name="T2" fmla="*/ 0 w 36"/>
                  <a:gd name="T3" fmla="*/ 32 h 78"/>
                  <a:gd name="T4" fmla="*/ 36 w 36"/>
                  <a:gd name="T5" fmla="*/ 78 h 78"/>
                </a:gdLst>
                <a:ahLst/>
                <a:cxnLst>
                  <a:cxn ang="0">
                    <a:pos x="T0" y="T1"/>
                  </a:cxn>
                  <a:cxn ang="0">
                    <a:pos x="T2" y="T3"/>
                  </a:cxn>
                  <a:cxn ang="0">
                    <a:pos x="T4" y="T5"/>
                  </a:cxn>
                </a:cxnLst>
                <a:rect l="0" t="0" r="r" b="b"/>
                <a:pathLst>
                  <a:path w="36" h="78">
                    <a:moveTo>
                      <a:pt x="0" y="0"/>
                    </a:moveTo>
                    <a:cubicBezTo>
                      <a:pt x="0" y="0"/>
                      <a:pt x="0" y="0"/>
                      <a:pt x="0" y="32"/>
                    </a:cubicBezTo>
                    <a:cubicBezTo>
                      <a:pt x="0" y="48"/>
                      <a:pt x="15" y="64"/>
                      <a:pt x="36" y="7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8" name="Line 233">
                <a:extLst>
                  <a:ext uri="{FF2B5EF4-FFF2-40B4-BE49-F238E27FC236}">
                    <a16:creationId xmlns:a16="http://schemas.microsoft.com/office/drawing/2014/main" id="{266147F8-60B4-4652-983A-0BEA1D4BCB46}"/>
                  </a:ext>
                </a:extLst>
              </p:cNvPr>
              <p:cNvSpPr>
                <a:spLocks noChangeShapeType="1"/>
              </p:cNvSpPr>
              <p:nvPr/>
            </p:nvSpPr>
            <p:spPr bwMode="auto">
              <a:xfrm>
                <a:off x="4075" y="349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9" name="Line 234">
                <a:extLst>
                  <a:ext uri="{FF2B5EF4-FFF2-40B4-BE49-F238E27FC236}">
                    <a16:creationId xmlns:a16="http://schemas.microsoft.com/office/drawing/2014/main" id="{372EA14E-4CE3-4053-9619-5F3ACD890181}"/>
                  </a:ext>
                </a:extLst>
              </p:cNvPr>
              <p:cNvSpPr>
                <a:spLocks noChangeShapeType="1"/>
              </p:cNvSpPr>
              <p:nvPr/>
            </p:nvSpPr>
            <p:spPr bwMode="auto">
              <a:xfrm>
                <a:off x="4063" y="3546"/>
                <a:ext cx="108"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0" name="Line 235">
                <a:extLst>
                  <a:ext uri="{FF2B5EF4-FFF2-40B4-BE49-F238E27FC236}">
                    <a16:creationId xmlns:a16="http://schemas.microsoft.com/office/drawing/2014/main" id="{8B2AEFDA-E2A3-4BF5-B1E4-8AD3FBE09B44}"/>
                  </a:ext>
                </a:extLst>
              </p:cNvPr>
              <p:cNvSpPr>
                <a:spLocks noChangeShapeType="1"/>
              </p:cNvSpPr>
              <p:nvPr/>
            </p:nvSpPr>
            <p:spPr bwMode="auto">
              <a:xfrm flipH="1">
                <a:off x="4067" y="3280"/>
                <a:ext cx="10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1" name="Line 236">
                <a:extLst>
                  <a:ext uri="{FF2B5EF4-FFF2-40B4-BE49-F238E27FC236}">
                    <a16:creationId xmlns:a16="http://schemas.microsoft.com/office/drawing/2014/main" id="{B83B1529-991F-4569-A3AE-17363A22046F}"/>
                  </a:ext>
                </a:extLst>
              </p:cNvPr>
              <p:cNvSpPr>
                <a:spLocks noChangeShapeType="1"/>
              </p:cNvSpPr>
              <p:nvPr/>
            </p:nvSpPr>
            <p:spPr bwMode="auto">
              <a:xfrm>
                <a:off x="4075" y="332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13" name="Group 263">
              <a:extLst>
                <a:ext uri="{FF2B5EF4-FFF2-40B4-BE49-F238E27FC236}">
                  <a16:creationId xmlns:a16="http://schemas.microsoft.com/office/drawing/2014/main" id="{14364B91-33B1-4777-80F0-76370A599435}"/>
                </a:ext>
              </a:extLst>
            </p:cNvPr>
            <p:cNvGrpSpPr>
              <a:grpSpLocks noChangeAspect="1"/>
            </p:cNvGrpSpPr>
            <p:nvPr/>
          </p:nvGrpSpPr>
          <p:grpSpPr bwMode="auto">
            <a:xfrm>
              <a:off x="5954712" y="1416449"/>
              <a:ext cx="527050" cy="447675"/>
              <a:chOff x="3917" y="1058"/>
              <a:chExt cx="332" cy="282"/>
            </a:xfrm>
            <a:solidFill>
              <a:schemeClr val="tx2"/>
            </a:solidFill>
          </p:grpSpPr>
          <p:sp>
            <p:nvSpPr>
              <p:cNvPr id="415" name="Freeform 264">
                <a:extLst>
                  <a:ext uri="{FF2B5EF4-FFF2-40B4-BE49-F238E27FC236}">
                    <a16:creationId xmlns:a16="http://schemas.microsoft.com/office/drawing/2014/main" id="{D524B8B6-768B-4FBE-8DFD-DEF34BFAC96F}"/>
                  </a:ext>
                </a:extLst>
              </p:cNvPr>
              <p:cNvSpPr>
                <a:spLocks noEditPoints="1"/>
              </p:cNvSpPr>
              <p:nvPr/>
            </p:nvSpPr>
            <p:spPr bwMode="auto">
              <a:xfrm>
                <a:off x="3917" y="1058"/>
                <a:ext cx="332" cy="282"/>
              </a:xfrm>
              <a:custGeom>
                <a:avLst/>
                <a:gdLst>
                  <a:gd name="T0" fmla="*/ 199 w 200"/>
                  <a:gd name="T1" fmla="*/ 163 h 169"/>
                  <a:gd name="T2" fmla="*/ 103 w 200"/>
                  <a:gd name="T3" fmla="*/ 3 h 169"/>
                  <a:gd name="T4" fmla="*/ 96 w 200"/>
                  <a:gd name="T5" fmla="*/ 3 h 169"/>
                  <a:gd name="T6" fmla="*/ 0 w 200"/>
                  <a:gd name="T7" fmla="*/ 163 h 169"/>
                  <a:gd name="T8" fmla="*/ 0 w 200"/>
                  <a:gd name="T9" fmla="*/ 167 h 169"/>
                  <a:gd name="T10" fmla="*/ 4 w 200"/>
                  <a:gd name="T11" fmla="*/ 169 h 169"/>
                  <a:gd name="T12" fmla="*/ 196 w 200"/>
                  <a:gd name="T13" fmla="*/ 169 h 169"/>
                  <a:gd name="T14" fmla="*/ 199 w 200"/>
                  <a:gd name="T15" fmla="*/ 167 h 169"/>
                  <a:gd name="T16" fmla="*/ 199 w 200"/>
                  <a:gd name="T17" fmla="*/ 163 h 169"/>
                  <a:gd name="T18" fmla="*/ 11 w 200"/>
                  <a:gd name="T19" fmla="*/ 161 h 169"/>
                  <a:gd name="T20" fmla="*/ 100 w 200"/>
                  <a:gd name="T21" fmla="*/ 13 h 169"/>
                  <a:gd name="T22" fmla="*/ 189 w 200"/>
                  <a:gd name="T23" fmla="*/ 161 h 169"/>
                  <a:gd name="T24" fmla="*/ 11 w 200"/>
                  <a:gd name="T25" fmla="*/ 1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169">
                    <a:moveTo>
                      <a:pt x="199" y="163"/>
                    </a:moveTo>
                    <a:cubicBezTo>
                      <a:pt x="103" y="3"/>
                      <a:pt x="103" y="3"/>
                      <a:pt x="103" y="3"/>
                    </a:cubicBezTo>
                    <a:cubicBezTo>
                      <a:pt x="102" y="0"/>
                      <a:pt x="98" y="0"/>
                      <a:pt x="96" y="3"/>
                    </a:cubicBezTo>
                    <a:cubicBezTo>
                      <a:pt x="0" y="163"/>
                      <a:pt x="0" y="163"/>
                      <a:pt x="0" y="163"/>
                    </a:cubicBezTo>
                    <a:cubicBezTo>
                      <a:pt x="0" y="164"/>
                      <a:pt x="0" y="165"/>
                      <a:pt x="0" y="167"/>
                    </a:cubicBezTo>
                    <a:cubicBezTo>
                      <a:pt x="1" y="168"/>
                      <a:pt x="2" y="169"/>
                      <a:pt x="4" y="169"/>
                    </a:cubicBezTo>
                    <a:cubicBezTo>
                      <a:pt x="196" y="169"/>
                      <a:pt x="196" y="169"/>
                      <a:pt x="196" y="169"/>
                    </a:cubicBezTo>
                    <a:cubicBezTo>
                      <a:pt x="197" y="169"/>
                      <a:pt x="198" y="168"/>
                      <a:pt x="199" y="167"/>
                    </a:cubicBezTo>
                    <a:cubicBezTo>
                      <a:pt x="200" y="165"/>
                      <a:pt x="200" y="164"/>
                      <a:pt x="199" y="163"/>
                    </a:cubicBezTo>
                    <a:close/>
                    <a:moveTo>
                      <a:pt x="11" y="161"/>
                    </a:moveTo>
                    <a:cubicBezTo>
                      <a:pt x="100" y="13"/>
                      <a:pt x="100" y="13"/>
                      <a:pt x="100" y="13"/>
                    </a:cubicBezTo>
                    <a:cubicBezTo>
                      <a:pt x="189" y="161"/>
                      <a:pt x="189" y="161"/>
                      <a:pt x="189" y="161"/>
                    </a:cubicBezTo>
                    <a:lnTo>
                      <a:pt x="11" y="1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6" name="Freeform 265">
                <a:extLst>
                  <a:ext uri="{FF2B5EF4-FFF2-40B4-BE49-F238E27FC236}">
                    <a16:creationId xmlns:a16="http://schemas.microsoft.com/office/drawing/2014/main" id="{96865AEC-1733-4728-8DD4-890549D4FD35}"/>
                  </a:ext>
                </a:extLst>
              </p:cNvPr>
              <p:cNvSpPr>
                <a:spLocks/>
              </p:cNvSpPr>
              <p:nvPr/>
            </p:nvSpPr>
            <p:spPr bwMode="auto">
              <a:xfrm>
                <a:off x="4076" y="1153"/>
                <a:ext cx="14" cy="80"/>
              </a:xfrm>
              <a:custGeom>
                <a:avLst/>
                <a:gdLst>
                  <a:gd name="T0" fmla="*/ 0 w 8"/>
                  <a:gd name="T1" fmla="*/ 4 h 48"/>
                  <a:gd name="T2" fmla="*/ 0 w 8"/>
                  <a:gd name="T3" fmla="*/ 44 h 48"/>
                  <a:gd name="T4" fmla="*/ 4 w 8"/>
                  <a:gd name="T5" fmla="*/ 48 h 48"/>
                  <a:gd name="T6" fmla="*/ 8 w 8"/>
                  <a:gd name="T7" fmla="*/ 44 h 48"/>
                  <a:gd name="T8" fmla="*/ 8 w 8"/>
                  <a:gd name="T9" fmla="*/ 4 h 48"/>
                  <a:gd name="T10" fmla="*/ 4 w 8"/>
                  <a:gd name="T11" fmla="*/ 0 h 48"/>
                  <a:gd name="T12" fmla="*/ 0 w 8"/>
                  <a:gd name="T13" fmla="*/ 4 h 48"/>
                </a:gdLst>
                <a:ahLst/>
                <a:cxnLst>
                  <a:cxn ang="0">
                    <a:pos x="T0" y="T1"/>
                  </a:cxn>
                  <a:cxn ang="0">
                    <a:pos x="T2" y="T3"/>
                  </a:cxn>
                  <a:cxn ang="0">
                    <a:pos x="T4" y="T5"/>
                  </a:cxn>
                  <a:cxn ang="0">
                    <a:pos x="T6" y="T7"/>
                  </a:cxn>
                  <a:cxn ang="0">
                    <a:pos x="T8" y="T9"/>
                  </a:cxn>
                  <a:cxn ang="0">
                    <a:pos x="T10" y="T11"/>
                  </a:cxn>
                  <a:cxn ang="0">
                    <a:pos x="T12" y="T13"/>
                  </a:cxn>
                </a:cxnLst>
                <a:rect l="0" t="0" r="r" b="b"/>
                <a:pathLst>
                  <a:path w="8" h="48">
                    <a:moveTo>
                      <a:pt x="0" y="4"/>
                    </a:moveTo>
                    <a:cubicBezTo>
                      <a:pt x="0" y="44"/>
                      <a:pt x="0" y="44"/>
                      <a:pt x="0" y="44"/>
                    </a:cubicBezTo>
                    <a:cubicBezTo>
                      <a:pt x="0" y="46"/>
                      <a:pt x="1" y="48"/>
                      <a:pt x="4" y="48"/>
                    </a:cubicBezTo>
                    <a:cubicBezTo>
                      <a:pt x="6" y="48"/>
                      <a:pt x="8" y="46"/>
                      <a:pt x="8" y="44"/>
                    </a:cubicBezTo>
                    <a:cubicBezTo>
                      <a:pt x="8" y="4"/>
                      <a:pt x="8" y="4"/>
                      <a:pt x="8" y="4"/>
                    </a:cubicBezTo>
                    <a:cubicBezTo>
                      <a:pt x="8" y="2"/>
                      <a:pt x="6" y="0"/>
                      <a:pt x="4"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7" name="Freeform 266">
                <a:extLst>
                  <a:ext uri="{FF2B5EF4-FFF2-40B4-BE49-F238E27FC236}">
                    <a16:creationId xmlns:a16="http://schemas.microsoft.com/office/drawing/2014/main" id="{266686B3-7B58-4027-86B1-3C9E9B0F01FD}"/>
                  </a:ext>
                </a:extLst>
              </p:cNvPr>
              <p:cNvSpPr>
                <a:spLocks/>
              </p:cNvSpPr>
              <p:nvPr/>
            </p:nvSpPr>
            <p:spPr bwMode="auto">
              <a:xfrm>
                <a:off x="4076" y="1260"/>
                <a:ext cx="14" cy="26"/>
              </a:xfrm>
              <a:custGeom>
                <a:avLst/>
                <a:gdLst>
                  <a:gd name="T0" fmla="*/ 4 w 8"/>
                  <a:gd name="T1" fmla="*/ 0 h 16"/>
                  <a:gd name="T2" fmla="*/ 0 w 8"/>
                  <a:gd name="T3" fmla="*/ 4 h 16"/>
                  <a:gd name="T4" fmla="*/ 0 w 8"/>
                  <a:gd name="T5" fmla="*/ 12 h 16"/>
                  <a:gd name="T6" fmla="*/ 4 w 8"/>
                  <a:gd name="T7" fmla="*/ 16 h 16"/>
                  <a:gd name="T8" fmla="*/ 8 w 8"/>
                  <a:gd name="T9" fmla="*/ 12 h 16"/>
                  <a:gd name="T10" fmla="*/ 8 w 8"/>
                  <a:gd name="T11" fmla="*/ 4 h 16"/>
                  <a:gd name="T12" fmla="*/ 4 w 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8" h="16">
                    <a:moveTo>
                      <a:pt x="4" y="0"/>
                    </a:moveTo>
                    <a:cubicBezTo>
                      <a:pt x="1" y="0"/>
                      <a:pt x="0" y="2"/>
                      <a:pt x="0" y="4"/>
                    </a:cubicBezTo>
                    <a:cubicBezTo>
                      <a:pt x="0" y="12"/>
                      <a:pt x="0" y="12"/>
                      <a:pt x="0" y="12"/>
                    </a:cubicBezTo>
                    <a:cubicBezTo>
                      <a:pt x="0" y="14"/>
                      <a:pt x="1" y="16"/>
                      <a:pt x="4" y="16"/>
                    </a:cubicBezTo>
                    <a:cubicBezTo>
                      <a:pt x="6" y="16"/>
                      <a:pt x="8" y="14"/>
                      <a:pt x="8" y="12"/>
                    </a:cubicBezTo>
                    <a:cubicBezTo>
                      <a:pt x="8" y="4"/>
                      <a:pt x="8" y="4"/>
                      <a:pt x="8" y="4"/>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Tree>
    <p:extLst>
      <p:ext uri="{BB962C8B-B14F-4D97-AF65-F5344CB8AC3E}">
        <p14:creationId xmlns:p14="http://schemas.microsoft.com/office/powerpoint/2010/main" val="1960034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96"/>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96"/>
                                        </p:tgtEl>
                                      </p:cBhvr>
                                      <p:by x="0" y="0"/>
                                    </p:animScale>
                                  </p:childTnLst>
                                </p:cTn>
                              </p:par>
                              <p:par>
                                <p:cTn id="9" presetID="6" presetClass="emph" presetSubtype="0" decel="100000" fill="hold" grpId="2" nodeType="withEffect">
                                  <p:stCondLst>
                                    <p:cond delay="900"/>
                                  </p:stCondLst>
                                  <p:childTnLst>
                                    <p:animScale>
                                      <p:cBhvr>
                                        <p:cTn id="10" dur="500" fill="hold"/>
                                        <p:tgtEl>
                                          <p:spTgt spid="96"/>
                                        </p:tgtEl>
                                      </p:cBhvr>
                                      <p:by x="100000" y="100000"/>
                                    </p:animScale>
                                  </p:childTnLst>
                                </p:cTn>
                              </p:par>
                            </p:childTnLst>
                          </p:cTn>
                        </p:par>
                        <p:par>
                          <p:cTn id="11" fill="hold">
                            <p:stCondLst>
                              <p:cond delay="1400"/>
                            </p:stCondLst>
                            <p:childTnLst>
                              <p:par>
                                <p:cTn id="12" presetID="10" presetClass="entr" presetSubtype="0" fill="hold" nodeType="afterEffect">
                                  <p:stCondLst>
                                    <p:cond delay="0"/>
                                  </p:stCondLst>
                                  <p:childTnLst>
                                    <p:set>
                                      <p:cBhvr>
                                        <p:cTn id="13" dur="1" fill="hold">
                                          <p:stCondLst>
                                            <p:cond delay="0"/>
                                          </p:stCondLst>
                                        </p:cTn>
                                        <p:tgtEl>
                                          <p:spTgt spid="451"/>
                                        </p:tgtEl>
                                        <p:attrNameLst>
                                          <p:attrName>style.visibility</p:attrName>
                                        </p:attrNameLst>
                                      </p:cBhvr>
                                      <p:to>
                                        <p:strVal val="visible"/>
                                      </p:to>
                                    </p:set>
                                    <p:animEffect transition="in" filter="fade">
                                      <p:cBhvr>
                                        <p:cTn id="14" dur="500"/>
                                        <p:tgtEl>
                                          <p:spTgt spid="451"/>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430"/>
                                        </p:tgtEl>
                                        <p:attrNameLst>
                                          <p:attrName>style.visibility</p:attrName>
                                        </p:attrNameLst>
                                      </p:cBhvr>
                                      <p:to>
                                        <p:strVal val="visible"/>
                                      </p:to>
                                    </p:set>
                                    <p:anim calcmode="lin" valueType="num">
                                      <p:cBhvr>
                                        <p:cTn id="19" dur="200" fill="hold"/>
                                        <p:tgtEl>
                                          <p:spTgt spid="430"/>
                                        </p:tgtEl>
                                        <p:attrNameLst>
                                          <p:attrName>ppt_w</p:attrName>
                                        </p:attrNameLst>
                                      </p:cBhvr>
                                      <p:tavLst>
                                        <p:tav tm="0">
                                          <p:val>
                                            <p:fltVal val="0"/>
                                          </p:val>
                                        </p:tav>
                                        <p:tav tm="100000">
                                          <p:val>
                                            <p:strVal val="#ppt_w"/>
                                          </p:val>
                                        </p:tav>
                                      </p:tavLst>
                                    </p:anim>
                                    <p:anim calcmode="lin" valueType="num">
                                      <p:cBhvr>
                                        <p:cTn id="20" dur="200" fill="hold"/>
                                        <p:tgtEl>
                                          <p:spTgt spid="430"/>
                                        </p:tgtEl>
                                        <p:attrNameLst>
                                          <p:attrName>ppt_h</p:attrName>
                                        </p:attrNameLst>
                                      </p:cBhvr>
                                      <p:tavLst>
                                        <p:tav tm="0">
                                          <p:val>
                                            <p:fltVal val="0"/>
                                          </p:val>
                                        </p:tav>
                                        <p:tav tm="100000">
                                          <p:val>
                                            <p:strVal val="#ppt_h"/>
                                          </p:val>
                                        </p:tav>
                                      </p:tavLst>
                                    </p:anim>
                                    <p:animEffect transition="in" filter="fade">
                                      <p:cBhvr>
                                        <p:cTn id="21" dur="200"/>
                                        <p:tgtEl>
                                          <p:spTgt spid="430"/>
                                        </p:tgtEl>
                                      </p:cBhvr>
                                    </p:animEffect>
                                  </p:childTnLst>
                                </p:cTn>
                              </p:par>
                            </p:childTnLst>
                          </p:cTn>
                        </p:par>
                        <p:par>
                          <p:cTn id="22" fill="hold">
                            <p:stCondLst>
                              <p:cond delay="200"/>
                            </p:stCondLst>
                            <p:childTnLst>
                              <p:par>
                                <p:cTn id="23" presetID="53" presetClass="entr" presetSubtype="16" fill="hold" nodeType="afterEffect">
                                  <p:stCondLst>
                                    <p:cond delay="0"/>
                                  </p:stCondLst>
                                  <p:childTnLst>
                                    <p:set>
                                      <p:cBhvr>
                                        <p:cTn id="24" dur="1" fill="hold">
                                          <p:stCondLst>
                                            <p:cond delay="0"/>
                                          </p:stCondLst>
                                        </p:cTn>
                                        <p:tgtEl>
                                          <p:spTgt spid="432"/>
                                        </p:tgtEl>
                                        <p:attrNameLst>
                                          <p:attrName>style.visibility</p:attrName>
                                        </p:attrNameLst>
                                      </p:cBhvr>
                                      <p:to>
                                        <p:strVal val="visible"/>
                                      </p:to>
                                    </p:set>
                                    <p:anim calcmode="lin" valueType="num">
                                      <p:cBhvr>
                                        <p:cTn id="25" dur="200" fill="hold"/>
                                        <p:tgtEl>
                                          <p:spTgt spid="432"/>
                                        </p:tgtEl>
                                        <p:attrNameLst>
                                          <p:attrName>ppt_w</p:attrName>
                                        </p:attrNameLst>
                                      </p:cBhvr>
                                      <p:tavLst>
                                        <p:tav tm="0">
                                          <p:val>
                                            <p:fltVal val="0"/>
                                          </p:val>
                                        </p:tav>
                                        <p:tav tm="100000">
                                          <p:val>
                                            <p:strVal val="#ppt_w"/>
                                          </p:val>
                                        </p:tav>
                                      </p:tavLst>
                                    </p:anim>
                                    <p:anim calcmode="lin" valueType="num">
                                      <p:cBhvr>
                                        <p:cTn id="26" dur="200" fill="hold"/>
                                        <p:tgtEl>
                                          <p:spTgt spid="432"/>
                                        </p:tgtEl>
                                        <p:attrNameLst>
                                          <p:attrName>ppt_h</p:attrName>
                                        </p:attrNameLst>
                                      </p:cBhvr>
                                      <p:tavLst>
                                        <p:tav tm="0">
                                          <p:val>
                                            <p:fltVal val="0"/>
                                          </p:val>
                                        </p:tav>
                                        <p:tav tm="100000">
                                          <p:val>
                                            <p:strVal val="#ppt_h"/>
                                          </p:val>
                                        </p:tav>
                                      </p:tavLst>
                                    </p:anim>
                                    <p:animEffect transition="in" filter="fade">
                                      <p:cBhvr>
                                        <p:cTn id="27" dur="200"/>
                                        <p:tgtEl>
                                          <p:spTgt spid="432"/>
                                        </p:tgtEl>
                                      </p:cBhvr>
                                    </p:animEffect>
                                  </p:childTnLst>
                                </p:cTn>
                              </p:par>
                            </p:childTnLst>
                          </p:cTn>
                        </p:par>
                        <p:par>
                          <p:cTn id="28" fill="hold">
                            <p:stCondLst>
                              <p:cond delay="400"/>
                            </p:stCondLst>
                            <p:childTnLst>
                              <p:par>
                                <p:cTn id="29" presetID="53" presetClass="entr" presetSubtype="16" fill="hold" nodeType="afterEffect">
                                  <p:stCondLst>
                                    <p:cond delay="0"/>
                                  </p:stCondLst>
                                  <p:childTnLst>
                                    <p:set>
                                      <p:cBhvr>
                                        <p:cTn id="30" dur="1" fill="hold">
                                          <p:stCondLst>
                                            <p:cond delay="0"/>
                                          </p:stCondLst>
                                        </p:cTn>
                                        <p:tgtEl>
                                          <p:spTgt spid="444"/>
                                        </p:tgtEl>
                                        <p:attrNameLst>
                                          <p:attrName>style.visibility</p:attrName>
                                        </p:attrNameLst>
                                      </p:cBhvr>
                                      <p:to>
                                        <p:strVal val="visible"/>
                                      </p:to>
                                    </p:set>
                                    <p:anim calcmode="lin" valueType="num">
                                      <p:cBhvr>
                                        <p:cTn id="31" dur="200" fill="hold"/>
                                        <p:tgtEl>
                                          <p:spTgt spid="444"/>
                                        </p:tgtEl>
                                        <p:attrNameLst>
                                          <p:attrName>ppt_w</p:attrName>
                                        </p:attrNameLst>
                                      </p:cBhvr>
                                      <p:tavLst>
                                        <p:tav tm="0">
                                          <p:val>
                                            <p:fltVal val="0"/>
                                          </p:val>
                                        </p:tav>
                                        <p:tav tm="100000">
                                          <p:val>
                                            <p:strVal val="#ppt_w"/>
                                          </p:val>
                                        </p:tav>
                                      </p:tavLst>
                                    </p:anim>
                                    <p:anim calcmode="lin" valueType="num">
                                      <p:cBhvr>
                                        <p:cTn id="32" dur="200" fill="hold"/>
                                        <p:tgtEl>
                                          <p:spTgt spid="444"/>
                                        </p:tgtEl>
                                        <p:attrNameLst>
                                          <p:attrName>ppt_h</p:attrName>
                                        </p:attrNameLst>
                                      </p:cBhvr>
                                      <p:tavLst>
                                        <p:tav tm="0">
                                          <p:val>
                                            <p:fltVal val="0"/>
                                          </p:val>
                                        </p:tav>
                                        <p:tav tm="100000">
                                          <p:val>
                                            <p:strVal val="#ppt_h"/>
                                          </p:val>
                                        </p:tav>
                                      </p:tavLst>
                                    </p:anim>
                                    <p:animEffect transition="in" filter="fade">
                                      <p:cBhvr>
                                        <p:cTn id="33" dur="200"/>
                                        <p:tgtEl>
                                          <p:spTgt spid="444"/>
                                        </p:tgtEl>
                                      </p:cBhvr>
                                    </p:animEffect>
                                  </p:childTnLst>
                                </p:cTn>
                              </p:par>
                            </p:childTnLst>
                          </p:cTn>
                        </p:par>
                        <p:par>
                          <p:cTn id="34" fill="hold">
                            <p:stCondLst>
                              <p:cond delay="600"/>
                            </p:stCondLst>
                            <p:childTnLst>
                              <p:par>
                                <p:cTn id="35" presetID="53" presetClass="entr" presetSubtype="16" fill="hold" nodeType="afterEffect">
                                  <p:stCondLst>
                                    <p:cond delay="0"/>
                                  </p:stCondLst>
                                  <p:childTnLst>
                                    <p:set>
                                      <p:cBhvr>
                                        <p:cTn id="36" dur="1" fill="hold">
                                          <p:stCondLst>
                                            <p:cond delay="0"/>
                                          </p:stCondLst>
                                        </p:cTn>
                                        <p:tgtEl>
                                          <p:spTgt spid="434"/>
                                        </p:tgtEl>
                                        <p:attrNameLst>
                                          <p:attrName>style.visibility</p:attrName>
                                        </p:attrNameLst>
                                      </p:cBhvr>
                                      <p:to>
                                        <p:strVal val="visible"/>
                                      </p:to>
                                    </p:set>
                                    <p:anim calcmode="lin" valueType="num">
                                      <p:cBhvr>
                                        <p:cTn id="37" dur="200" fill="hold"/>
                                        <p:tgtEl>
                                          <p:spTgt spid="434"/>
                                        </p:tgtEl>
                                        <p:attrNameLst>
                                          <p:attrName>ppt_w</p:attrName>
                                        </p:attrNameLst>
                                      </p:cBhvr>
                                      <p:tavLst>
                                        <p:tav tm="0">
                                          <p:val>
                                            <p:fltVal val="0"/>
                                          </p:val>
                                        </p:tav>
                                        <p:tav tm="100000">
                                          <p:val>
                                            <p:strVal val="#ppt_w"/>
                                          </p:val>
                                        </p:tav>
                                      </p:tavLst>
                                    </p:anim>
                                    <p:anim calcmode="lin" valueType="num">
                                      <p:cBhvr>
                                        <p:cTn id="38" dur="200" fill="hold"/>
                                        <p:tgtEl>
                                          <p:spTgt spid="434"/>
                                        </p:tgtEl>
                                        <p:attrNameLst>
                                          <p:attrName>ppt_h</p:attrName>
                                        </p:attrNameLst>
                                      </p:cBhvr>
                                      <p:tavLst>
                                        <p:tav tm="0">
                                          <p:val>
                                            <p:fltVal val="0"/>
                                          </p:val>
                                        </p:tav>
                                        <p:tav tm="100000">
                                          <p:val>
                                            <p:strVal val="#ppt_h"/>
                                          </p:val>
                                        </p:tav>
                                      </p:tavLst>
                                    </p:anim>
                                    <p:animEffect transition="in" filter="fade">
                                      <p:cBhvr>
                                        <p:cTn id="39" dur="200"/>
                                        <p:tgtEl>
                                          <p:spTgt spid="434"/>
                                        </p:tgtEl>
                                      </p:cBhvr>
                                    </p:animEffect>
                                  </p:childTnLst>
                                </p:cTn>
                              </p:par>
                            </p:childTnLst>
                          </p:cTn>
                        </p:par>
                        <p:par>
                          <p:cTn id="40" fill="hold">
                            <p:stCondLst>
                              <p:cond delay="800"/>
                            </p:stCondLst>
                            <p:childTnLst>
                              <p:par>
                                <p:cTn id="41" presetID="53" presetClass="entr" presetSubtype="16" fill="hold" nodeType="afterEffect">
                                  <p:stCondLst>
                                    <p:cond delay="0"/>
                                  </p:stCondLst>
                                  <p:childTnLst>
                                    <p:set>
                                      <p:cBhvr>
                                        <p:cTn id="42" dur="1" fill="hold">
                                          <p:stCondLst>
                                            <p:cond delay="0"/>
                                          </p:stCondLst>
                                        </p:cTn>
                                        <p:tgtEl>
                                          <p:spTgt spid="433"/>
                                        </p:tgtEl>
                                        <p:attrNameLst>
                                          <p:attrName>style.visibility</p:attrName>
                                        </p:attrNameLst>
                                      </p:cBhvr>
                                      <p:to>
                                        <p:strVal val="visible"/>
                                      </p:to>
                                    </p:set>
                                    <p:anim calcmode="lin" valueType="num">
                                      <p:cBhvr>
                                        <p:cTn id="43" dur="200" fill="hold"/>
                                        <p:tgtEl>
                                          <p:spTgt spid="433"/>
                                        </p:tgtEl>
                                        <p:attrNameLst>
                                          <p:attrName>ppt_w</p:attrName>
                                        </p:attrNameLst>
                                      </p:cBhvr>
                                      <p:tavLst>
                                        <p:tav tm="0">
                                          <p:val>
                                            <p:fltVal val="0"/>
                                          </p:val>
                                        </p:tav>
                                        <p:tav tm="100000">
                                          <p:val>
                                            <p:strVal val="#ppt_w"/>
                                          </p:val>
                                        </p:tav>
                                      </p:tavLst>
                                    </p:anim>
                                    <p:anim calcmode="lin" valueType="num">
                                      <p:cBhvr>
                                        <p:cTn id="44" dur="200" fill="hold"/>
                                        <p:tgtEl>
                                          <p:spTgt spid="433"/>
                                        </p:tgtEl>
                                        <p:attrNameLst>
                                          <p:attrName>ppt_h</p:attrName>
                                        </p:attrNameLst>
                                      </p:cBhvr>
                                      <p:tavLst>
                                        <p:tav tm="0">
                                          <p:val>
                                            <p:fltVal val="0"/>
                                          </p:val>
                                        </p:tav>
                                        <p:tav tm="100000">
                                          <p:val>
                                            <p:strVal val="#ppt_h"/>
                                          </p:val>
                                        </p:tav>
                                      </p:tavLst>
                                    </p:anim>
                                    <p:animEffect transition="in" filter="fade">
                                      <p:cBhvr>
                                        <p:cTn id="45" dur="200"/>
                                        <p:tgtEl>
                                          <p:spTgt spid="433"/>
                                        </p:tgtEl>
                                      </p:cBhvr>
                                    </p:animEffect>
                                  </p:childTnLst>
                                </p:cTn>
                              </p:par>
                            </p:childTnLst>
                          </p:cTn>
                        </p:par>
                        <p:par>
                          <p:cTn id="46" fill="hold">
                            <p:stCondLst>
                              <p:cond delay="1000"/>
                            </p:stCondLst>
                            <p:childTnLst>
                              <p:par>
                                <p:cTn id="47" presetID="53" presetClass="entr" presetSubtype="16" fill="hold" nodeType="afterEffect">
                                  <p:stCondLst>
                                    <p:cond delay="0"/>
                                  </p:stCondLst>
                                  <p:childTnLst>
                                    <p:set>
                                      <p:cBhvr>
                                        <p:cTn id="48" dur="1" fill="hold">
                                          <p:stCondLst>
                                            <p:cond delay="0"/>
                                          </p:stCondLst>
                                        </p:cTn>
                                        <p:tgtEl>
                                          <p:spTgt spid="435"/>
                                        </p:tgtEl>
                                        <p:attrNameLst>
                                          <p:attrName>style.visibility</p:attrName>
                                        </p:attrNameLst>
                                      </p:cBhvr>
                                      <p:to>
                                        <p:strVal val="visible"/>
                                      </p:to>
                                    </p:set>
                                    <p:anim calcmode="lin" valueType="num">
                                      <p:cBhvr>
                                        <p:cTn id="49" dur="200" fill="hold"/>
                                        <p:tgtEl>
                                          <p:spTgt spid="435"/>
                                        </p:tgtEl>
                                        <p:attrNameLst>
                                          <p:attrName>ppt_w</p:attrName>
                                        </p:attrNameLst>
                                      </p:cBhvr>
                                      <p:tavLst>
                                        <p:tav tm="0">
                                          <p:val>
                                            <p:fltVal val="0"/>
                                          </p:val>
                                        </p:tav>
                                        <p:tav tm="100000">
                                          <p:val>
                                            <p:strVal val="#ppt_w"/>
                                          </p:val>
                                        </p:tav>
                                      </p:tavLst>
                                    </p:anim>
                                    <p:anim calcmode="lin" valueType="num">
                                      <p:cBhvr>
                                        <p:cTn id="50" dur="200" fill="hold"/>
                                        <p:tgtEl>
                                          <p:spTgt spid="435"/>
                                        </p:tgtEl>
                                        <p:attrNameLst>
                                          <p:attrName>ppt_h</p:attrName>
                                        </p:attrNameLst>
                                      </p:cBhvr>
                                      <p:tavLst>
                                        <p:tav tm="0">
                                          <p:val>
                                            <p:fltVal val="0"/>
                                          </p:val>
                                        </p:tav>
                                        <p:tav tm="100000">
                                          <p:val>
                                            <p:strVal val="#ppt_h"/>
                                          </p:val>
                                        </p:tav>
                                      </p:tavLst>
                                    </p:anim>
                                    <p:animEffect transition="in" filter="fade">
                                      <p:cBhvr>
                                        <p:cTn id="51" dur="200"/>
                                        <p:tgtEl>
                                          <p:spTgt spid="435"/>
                                        </p:tgtEl>
                                      </p:cBhvr>
                                    </p:animEffect>
                                  </p:childTnLst>
                                </p:cTn>
                              </p:par>
                            </p:childTnLst>
                          </p:cTn>
                        </p:par>
                        <p:par>
                          <p:cTn id="52" fill="hold">
                            <p:stCondLst>
                              <p:cond delay="1200"/>
                            </p:stCondLst>
                            <p:childTnLst>
                              <p:par>
                                <p:cTn id="53" presetID="53" presetClass="entr" presetSubtype="16" fill="hold" nodeType="afterEffect">
                                  <p:stCondLst>
                                    <p:cond delay="0"/>
                                  </p:stCondLst>
                                  <p:childTnLst>
                                    <p:set>
                                      <p:cBhvr>
                                        <p:cTn id="54" dur="1" fill="hold">
                                          <p:stCondLst>
                                            <p:cond delay="0"/>
                                          </p:stCondLst>
                                        </p:cTn>
                                        <p:tgtEl>
                                          <p:spTgt spid="436"/>
                                        </p:tgtEl>
                                        <p:attrNameLst>
                                          <p:attrName>style.visibility</p:attrName>
                                        </p:attrNameLst>
                                      </p:cBhvr>
                                      <p:to>
                                        <p:strVal val="visible"/>
                                      </p:to>
                                    </p:set>
                                    <p:anim calcmode="lin" valueType="num">
                                      <p:cBhvr>
                                        <p:cTn id="55" dur="200" fill="hold"/>
                                        <p:tgtEl>
                                          <p:spTgt spid="436"/>
                                        </p:tgtEl>
                                        <p:attrNameLst>
                                          <p:attrName>ppt_w</p:attrName>
                                        </p:attrNameLst>
                                      </p:cBhvr>
                                      <p:tavLst>
                                        <p:tav tm="0">
                                          <p:val>
                                            <p:fltVal val="0"/>
                                          </p:val>
                                        </p:tav>
                                        <p:tav tm="100000">
                                          <p:val>
                                            <p:strVal val="#ppt_w"/>
                                          </p:val>
                                        </p:tav>
                                      </p:tavLst>
                                    </p:anim>
                                    <p:anim calcmode="lin" valueType="num">
                                      <p:cBhvr>
                                        <p:cTn id="56" dur="200" fill="hold"/>
                                        <p:tgtEl>
                                          <p:spTgt spid="436"/>
                                        </p:tgtEl>
                                        <p:attrNameLst>
                                          <p:attrName>ppt_h</p:attrName>
                                        </p:attrNameLst>
                                      </p:cBhvr>
                                      <p:tavLst>
                                        <p:tav tm="0">
                                          <p:val>
                                            <p:fltVal val="0"/>
                                          </p:val>
                                        </p:tav>
                                        <p:tav tm="100000">
                                          <p:val>
                                            <p:strVal val="#ppt_h"/>
                                          </p:val>
                                        </p:tav>
                                      </p:tavLst>
                                    </p:anim>
                                    <p:animEffect transition="in" filter="fade">
                                      <p:cBhvr>
                                        <p:cTn id="57" dur="200"/>
                                        <p:tgtEl>
                                          <p:spTgt spid="436"/>
                                        </p:tgtEl>
                                      </p:cBhvr>
                                    </p:animEffect>
                                  </p:childTnLst>
                                </p:cTn>
                              </p:par>
                            </p:childTnLst>
                          </p:cTn>
                        </p:par>
                        <p:par>
                          <p:cTn id="58" fill="hold">
                            <p:stCondLst>
                              <p:cond delay="1400"/>
                            </p:stCondLst>
                            <p:childTnLst>
                              <p:par>
                                <p:cTn id="59" presetID="53" presetClass="entr" presetSubtype="16" fill="hold" nodeType="afterEffect">
                                  <p:stCondLst>
                                    <p:cond delay="0"/>
                                  </p:stCondLst>
                                  <p:childTnLst>
                                    <p:set>
                                      <p:cBhvr>
                                        <p:cTn id="60" dur="1" fill="hold">
                                          <p:stCondLst>
                                            <p:cond delay="0"/>
                                          </p:stCondLst>
                                        </p:cTn>
                                        <p:tgtEl>
                                          <p:spTgt spid="441"/>
                                        </p:tgtEl>
                                        <p:attrNameLst>
                                          <p:attrName>style.visibility</p:attrName>
                                        </p:attrNameLst>
                                      </p:cBhvr>
                                      <p:to>
                                        <p:strVal val="visible"/>
                                      </p:to>
                                    </p:set>
                                    <p:anim calcmode="lin" valueType="num">
                                      <p:cBhvr>
                                        <p:cTn id="61" dur="200" fill="hold"/>
                                        <p:tgtEl>
                                          <p:spTgt spid="441"/>
                                        </p:tgtEl>
                                        <p:attrNameLst>
                                          <p:attrName>ppt_w</p:attrName>
                                        </p:attrNameLst>
                                      </p:cBhvr>
                                      <p:tavLst>
                                        <p:tav tm="0">
                                          <p:val>
                                            <p:fltVal val="0"/>
                                          </p:val>
                                        </p:tav>
                                        <p:tav tm="100000">
                                          <p:val>
                                            <p:strVal val="#ppt_w"/>
                                          </p:val>
                                        </p:tav>
                                      </p:tavLst>
                                    </p:anim>
                                    <p:anim calcmode="lin" valueType="num">
                                      <p:cBhvr>
                                        <p:cTn id="62" dur="200" fill="hold"/>
                                        <p:tgtEl>
                                          <p:spTgt spid="441"/>
                                        </p:tgtEl>
                                        <p:attrNameLst>
                                          <p:attrName>ppt_h</p:attrName>
                                        </p:attrNameLst>
                                      </p:cBhvr>
                                      <p:tavLst>
                                        <p:tav tm="0">
                                          <p:val>
                                            <p:fltVal val="0"/>
                                          </p:val>
                                        </p:tav>
                                        <p:tav tm="100000">
                                          <p:val>
                                            <p:strVal val="#ppt_h"/>
                                          </p:val>
                                        </p:tav>
                                      </p:tavLst>
                                    </p:anim>
                                    <p:animEffect transition="in" filter="fade">
                                      <p:cBhvr>
                                        <p:cTn id="63" dur="200"/>
                                        <p:tgtEl>
                                          <p:spTgt spid="441"/>
                                        </p:tgtEl>
                                      </p:cBhvr>
                                    </p:animEffect>
                                  </p:childTnLst>
                                </p:cTn>
                              </p:par>
                            </p:childTnLst>
                          </p:cTn>
                        </p:par>
                        <p:par>
                          <p:cTn id="64" fill="hold">
                            <p:stCondLst>
                              <p:cond delay="1600"/>
                            </p:stCondLst>
                            <p:childTnLst>
                              <p:par>
                                <p:cTn id="65" presetID="53" presetClass="entr" presetSubtype="16" fill="hold" nodeType="afterEffect">
                                  <p:stCondLst>
                                    <p:cond delay="0"/>
                                  </p:stCondLst>
                                  <p:childTnLst>
                                    <p:set>
                                      <p:cBhvr>
                                        <p:cTn id="66" dur="1" fill="hold">
                                          <p:stCondLst>
                                            <p:cond delay="0"/>
                                          </p:stCondLst>
                                        </p:cTn>
                                        <p:tgtEl>
                                          <p:spTgt spid="437"/>
                                        </p:tgtEl>
                                        <p:attrNameLst>
                                          <p:attrName>style.visibility</p:attrName>
                                        </p:attrNameLst>
                                      </p:cBhvr>
                                      <p:to>
                                        <p:strVal val="visible"/>
                                      </p:to>
                                    </p:set>
                                    <p:anim calcmode="lin" valueType="num">
                                      <p:cBhvr>
                                        <p:cTn id="67" dur="200" fill="hold"/>
                                        <p:tgtEl>
                                          <p:spTgt spid="437"/>
                                        </p:tgtEl>
                                        <p:attrNameLst>
                                          <p:attrName>ppt_w</p:attrName>
                                        </p:attrNameLst>
                                      </p:cBhvr>
                                      <p:tavLst>
                                        <p:tav tm="0">
                                          <p:val>
                                            <p:fltVal val="0"/>
                                          </p:val>
                                        </p:tav>
                                        <p:tav tm="100000">
                                          <p:val>
                                            <p:strVal val="#ppt_w"/>
                                          </p:val>
                                        </p:tav>
                                      </p:tavLst>
                                    </p:anim>
                                    <p:anim calcmode="lin" valueType="num">
                                      <p:cBhvr>
                                        <p:cTn id="68" dur="200" fill="hold"/>
                                        <p:tgtEl>
                                          <p:spTgt spid="437"/>
                                        </p:tgtEl>
                                        <p:attrNameLst>
                                          <p:attrName>ppt_h</p:attrName>
                                        </p:attrNameLst>
                                      </p:cBhvr>
                                      <p:tavLst>
                                        <p:tav tm="0">
                                          <p:val>
                                            <p:fltVal val="0"/>
                                          </p:val>
                                        </p:tav>
                                        <p:tav tm="100000">
                                          <p:val>
                                            <p:strVal val="#ppt_h"/>
                                          </p:val>
                                        </p:tav>
                                      </p:tavLst>
                                    </p:anim>
                                    <p:animEffect transition="in" filter="fade">
                                      <p:cBhvr>
                                        <p:cTn id="69" dur="200"/>
                                        <p:tgtEl>
                                          <p:spTgt spid="437"/>
                                        </p:tgtEl>
                                      </p:cBhvr>
                                    </p:animEffect>
                                  </p:childTnLst>
                                </p:cTn>
                              </p:par>
                            </p:childTnLst>
                          </p:cTn>
                        </p:par>
                        <p:par>
                          <p:cTn id="70" fill="hold">
                            <p:stCondLst>
                              <p:cond delay="1800"/>
                            </p:stCondLst>
                            <p:childTnLst>
                              <p:par>
                                <p:cTn id="71" presetID="53" presetClass="entr" presetSubtype="16" fill="hold" nodeType="afterEffect">
                                  <p:stCondLst>
                                    <p:cond delay="0"/>
                                  </p:stCondLst>
                                  <p:childTnLst>
                                    <p:set>
                                      <p:cBhvr>
                                        <p:cTn id="72" dur="1" fill="hold">
                                          <p:stCondLst>
                                            <p:cond delay="0"/>
                                          </p:stCondLst>
                                        </p:cTn>
                                        <p:tgtEl>
                                          <p:spTgt spid="438"/>
                                        </p:tgtEl>
                                        <p:attrNameLst>
                                          <p:attrName>style.visibility</p:attrName>
                                        </p:attrNameLst>
                                      </p:cBhvr>
                                      <p:to>
                                        <p:strVal val="visible"/>
                                      </p:to>
                                    </p:set>
                                    <p:anim calcmode="lin" valueType="num">
                                      <p:cBhvr>
                                        <p:cTn id="73" dur="200" fill="hold"/>
                                        <p:tgtEl>
                                          <p:spTgt spid="438"/>
                                        </p:tgtEl>
                                        <p:attrNameLst>
                                          <p:attrName>ppt_w</p:attrName>
                                        </p:attrNameLst>
                                      </p:cBhvr>
                                      <p:tavLst>
                                        <p:tav tm="0">
                                          <p:val>
                                            <p:fltVal val="0"/>
                                          </p:val>
                                        </p:tav>
                                        <p:tav tm="100000">
                                          <p:val>
                                            <p:strVal val="#ppt_w"/>
                                          </p:val>
                                        </p:tav>
                                      </p:tavLst>
                                    </p:anim>
                                    <p:anim calcmode="lin" valueType="num">
                                      <p:cBhvr>
                                        <p:cTn id="74" dur="200" fill="hold"/>
                                        <p:tgtEl>
                                          <p:spTgt spid="438"/>
                                        </p:tgtEl>
                                        <p:attrNameLst>
                                          <p:attrName>ppt_h</p:attrName>
                                        </p:attrNameLst>
                                      </p:cBhvr>
                                      <p:tavLst>
                                        <p:tav tm="0">
                                          <p:val>
                                            <p:fltVal val="0"/>
                                          </p:val>
                                        </p:tav>
                                        <p:tav tm="100000">
                                          <p:val>
                                            <p:strVal val="#ppt_h"/>
                                          </p:val>
                                        </p:tav>
                                      </p:tavLst>
                                    </p:anim>
                                    <p:animEffect transition="in" filter="fade">
                                      <p:cBhvr>
                                        <p:cTn id="75" dur="200"/>
                                        <p:tgtEl>
                                          <p:spTgt spid="438"/>
                                        </p:tgtEl>
                                      </p:cBhvr>
                                    </p:animEffect>
                                  </p:childTnLst>
                                </p:cTn>
                              </p:par>
                            </p:childTnLst>
                          </p:cTn>
                        </p:par>
                        <p:par>
                          <p:cTn id="76" fill="hold">
                            <p:stCondLst>
                              <p:cond delay="2000"/>
                            </p:stCondLst>
                            <p:childTnLst>
                              <p:par>
                                <p:cTn id="77" presetID="53" presetClass="entr" presetSubtype="16" fill="hold" nodeType="afterEffect">
                                  <p:stCondLst>
                                    <p:cond delay="0"/>
                                  </p:stCondLst>
                                  <p:childTnLst>
                                    <p:set>
                                      <p:cBhvr>
                                        <p:cTn id="78" dur="1" fill="hold">
                                          <p:stCondLst>
                                            <p:cond delay="0"/>
                                          </p:stCondLst>
                                        </p:cTn>
                                        <p:tgtEl>
                                          <p:spTgt spid="439"/>
                                        </p:tgtEl>
                                        <p:attrNameLst>
                                          <p:attrName>style.visibility</p:attrName>
                                        </p:attrNameLst>
                                      </p:cBhvr>
                                      <p:to>
                                        <p:strVal val="visible"/>
                                      </p:to>
                                    </p:set>
                                    <p:anim calcmode="lin" valueType="num">
                                      <p:cBhvr>
                                        <p:cTn id="79" dur="200" fill="hold"/>
                                        <p:tgtEl>
                                          <p:spTgt spid="439"/>
                                        </p:tgtEl>
                                        <p:attrNameLst>
                                          <p:attrName>ppt_w</p:attrName>
                                        </p:attrNameLst>
                                      </p:cBhvr>
                                      <p:tavLst>
                                        <p:tav tm="0">
                                          <p:val>
                                            <p:fltVal val="0"/>
                                          </p:val>
                                        </p:tav>
                                        <p:tav tm="100000">
                                          <p:val>
                                            <p:strVal val="#ppt_w"/>
                                          </p:val>
                                        </p:tav>
                                      </p:tavLst>
                                    </p:anim>
                                    <p:anim calcmode="lin" valueType="num">
                                      <p:cBhvr>
                                        <p:cTn id="80" dur="200" fill="hold"/>
                                        <p:tgtEl>
                                          <p:spTgt spid="439"/>
                                        </p:tgtEl>
                                        <p:attrNameLst>
                                          <p:attrName>ppt_h</p:attrName>
                                        </p:attrNameLst>
                                      </p:cBhvr>
                                      <p:tavLst>
                                        <p:tav tm="0">
                                          <p:val>
                                            <p:fltVal val="0"/>
                                          </p:val>
                                        </p:tav>
                                        <p:tav tm="100000">
                                          <p:val>
                                            <p:strVal val="#ppt_h"/>
                                          </p:val>
                                        </p:tav>
                                      </p:tavLst>
                                    </p:anim>
                                    <p:animEffect transition="in" filter="fade">
                                      <p:cBhvr>
                                        <p:cTn id="81" dur="200"/>
                                        <p:tgtEl>
                                          <p:spTgt spid="439"/>
                                        </p:tgtEl>
                                      </p:cBhvr>
                                    </p:animEffect>
                                  </p:childTnLst>
                                </p:cTn>
                              </p:par>
                            </p:childTnLst>
                          </p:cTn>
                        </p:par>
                        <p:par>
                          <p:cTn id="82" fill="hold">
                            <p:stCondLst>
                              <p:cond delay="2200"/>
                            </p:stCondLst>
                            <p:childTnLst>
                              <p:par>
                                <p:cTn id="83" presetID="53" presetClass="entr" presetSubtype="16" fill="hold" nodeType="afterEffect">
                                  <p:stCondLst>
                                    <p:cond delay="0"/>
                                  </p:stCondLst>
                                  <p:childTnLst>
                                    <p:set>
                                      <p:cBhvr>
                                        <p:cTn id="84" dur="1" fill="hold">
                                          <p:stCondLst>
                                            <p:cond delay="0"/>
                                          </p:stCondLst>
                                        </p:cTn>
                                        <p:tgtEl>
                                          <p:spTgt spid="440"/>
                                        </p:tgtEl>
                                        <p:attrNameLst>
                                          <p:attrName>style.visibility</p:attrName>
                                        </p:attrNameLst>
                                      </p:cBhvr>
                                      <p:to>
                                        <p:strVal val="visible"/>
                                      </p:to>
                                    </p:set>
                                    <p:anim calcmode="lin" valueType="num">
                                      <p:cBhvr>
                                        <p:cTn id="85" dur="200" fill="hold"/>
                                        <p:tgtEl>
                                          <p:spTgt spid="440"/>
                                        </p:tgtEl>
                                        <p:attrNameLst>
                                          <p:attrName>ppt_w</p:attrName>
                                        </p:attrNameLst>
                                      </p:cBhvr>
                                      <p:tavLst>
                                        <p:tav tm="0">
                                          <p:val>
                                            <p:fltVal val="0"/>
                                          </p:val>
                                        </p:tav>
                                        <p:tav tm="100000">
                                          <p:val>
                                            <p:strVal val="#ppt_w"/>
                                          </p:val>
                                        </p:tav>
                                      </p:tavLst>
                                    </p:anim>
                                    <p:anim calcmode="lin" valueType="num">
                                      <p:cBhvr>
                                        <p:cTn id="86" dur="200" fill="hold"/>
                                        <p:tgtEl>
                                          <p:spTgt spid="440"/>
                                        </p:tgtEl>
                                        <p:attrNameLst>
                                          <p:attrName>ppt_h</p:attrName>
                                        </p:attrNameLst>
                                      </p:cBhvr>
                                      <p:tavLst>
                                        <p:tav tm="0">
                                          <p:val>
                                            <p:fltVal val="0"/>
                                          </p:val>
                                        </p:tav>
                                        <p:tav tm="100000">
                                          <p:val>
                                            <p:strVal val="#ppt_h"/>
                                          </p:val>
                                        </p:tav>
                                      </p:tavLst>
                                    </p:anim>
                                    <p:animEffect transition="in" filter="fade">
                                      <p:cBhvr>
                                        <p:cTn id="87" dur="200"/>
                                        <p:tgtEl>
                                          <p:spTgt spid="440"/>
                                        </p:tgtEl>
                                      </p:cBhvr>
                                    </p:animEffect>
                                  </p:childTnLst>
                                </p:cTn>
                              </p:par>
                            </p:childTnLst>
                          </p:cTn>
                        </p:par>
                        <p:par>
                          <p:cTn id="88" fill="hold">
                            <p:stCondLst>
                              <p:cond delay="2400"/>
                            </p:stCondLst>
                            <p:childTnLst>
                              <p:par>
                                <p:cTn id="89" presetID="53" presetClass="entr" presetSubtype="16" fill="hold" nodeType="afterEffect">
                                  <p:stCondLst>
                                    <p:cond delay="0"/>
                                  </p:stCondLst>
                                  <p:childTnLst>
                                    <p:set>
                                      <p:cBhvr>
                                        <p:cTn id="90" dur="1" fill="hold">
                                          <p:stCondLst>
                                            <p:cond delay="0"/>
                                          </p:stCondLst>
                                        </p:cTn>
                                        <p:tgtEl>
                                          <p:spTgt spid="429"/>
                                        </p:tgtEl>
                                        <p:attrNameLst>
                                          <p:attrName>style.visibility</p:attrName>
                                        </p:attrNameLst>
                                      </p:cBhvr>
                                      <p:to>
                                        <p:strVal val="visible"/>
                                      </p:to>
                                    </p:set>
                                    <p:anim calcmode="lin" valueType="num">
                                      <p:cBhvr>
                                        <p:cTn id="91" dur="200" fill="hold"/>
                                        <p:tgtEl>
                                          <p:spTgt spid="429"/>
                                        </p:tgtEl>
                                        <p:attrNameLst>
                                          <p:attrName>ppt_w</p:attrName>
                                        </p:attrNameLst>
                                      </p:cBhvr>
                                      <p:tavLst>
                                        <p:tav tm="0">
                                          <p:val>
                                            <p:fltVal val="0"/>
                                          </p:val>
                                        </p:tav>
                                        <p:tav tm="100000">
                                          <p:val>
                                            <p:strVal val="#ppt_w"/>
                                          </p:val>
                                        </p:tav>
                                      </p:tavLst>
                                    </p:anim>
                                    <p:anim calcmode="lin" valueType="num">
                                      <p:cBhvr>
                                        <p:cTn id="92" dur="200" fill="hold"/>
                                        <p:tgtEl>
                                          <p:spTgt spid="429"/>
                                        </p:tgtEl>
                                        <p:attrNameLst>
                                          <p:attrName>ppt_h</p:attrName>
                                        </p:attrNameLst>
                                      </p:cBhvr>
                                      <p:tavLst>
                                        <p:tav tm="0">
                                          <p:val>
                                            <p:fltVal val="0"/>
                                          </p:val>
                                        </p:tav>
                                        <p:tav tm="100000">
                                          <p:val>
                                            <p:strVal val="#ppt_h"/>
                                          </p:val>
                                        </p:tav>
                                      </p:tavLst>
                                    </p:anim>
                                    <p:animEffect transition="in" filter="fade">
                                      <p:cBhvr>
                                        <p:cTn id="93" dur="200"/>
                                        <p:tgtEl>
                                          <p:spTgt spid="429"/>
                                        </p:tgtEl>
                                      </p:cBhvr>
                                    </p:animEffect>
                                  </p:childTnLst>
                                </p:cTn>
                              </p:par>
                            </p:childTnLst>
                          </p:cTn>
                        </p:par>
                        <p:par>
                          <p:cTn id="94" fill="hold">
                            <p:stCondLst>
                              <p:cond delay="2600"/>
                            </p:stCondLst>
                            <p:childTnLst>
                              <p:par>
                                <p:cTn id="95" presetID="53" presetClass="entr" presetSubtype="16" fill="hold" nodeType="afterEffect">
                                  <p:stCondLst>
                                    <p:cond delay="0"/>
                                  </p:stCondLst>
                                  <p:childTnLst>
                                    <p:set>
                                      <p:cBhvr>
                                        <p:cTn id="96" dur="1" fill="hold">
                                          <p:stCondLst>
                                            <p:cond delay="0"/>
                                          </p:stCondLst>
                                        </p:cTn>
                                        <p:tgtEl>
                                          <p:spTgt spid="442"/>
                                        </p:tgtEl>
                                        <p:attrNameLst>
                                          <p:attrName>style.visibility</p:attrName>
                                        </p:attrNameLst>
                                      </p:cBhvr>
                                      <p:to>
                                        <p:strVal val="visible"/>
                                      </p:to>
                                    </p:set>
                                    <p:anim calcmode="lin" valueType="num">
                                      <p:cBhvr>
                                        <p:cTn id="97" dur="200" fill="hold"/>
                                        <p:tgtEl>
                                          <p:spTgt spid="442"/>
                                        </p:tgtEl>
                                        <p:attrNameLst>
                                          <p:attrName>ppt_w</p:attrName>
                                        </p:attrNameLst>
                                      </p:cBhvr>
                                      <p:tavLst>
                                        <p:tav tm="0">
                                          <p:val>
                                            <p:fltVal val="0"/>
                                          </p:val>
                                        </p:tav>
                                        <p:tav tm="100000">
                                          <p:val>
                                            <p:strVal val="#ppt_w"/>
                                          </p:val>
                                        </p:tav>
                                      </p:tavLst>
                                    </p:anim>
                                    <p:anim calcmode="lin" valueType="num">
                                      <p:cBhvr>
                                        <p:cTn id="98" dur="200" fill="hold"/>
                                        <p:tgtEl>
                                          <p:spTgt spid="442"/>
                                        </p:tgtEl>
                                        <p:attrNameLst>
                                          <p:attrName>ppt_h</p:attrName>
                                        </p:attrNameLst>
                                      </p:cBhvr>
                                      <p:tavLst>
                                        <p:tav tm="0">
                                          <p:val>
                                            <p:fltVal val="0"/>
                                          </p:val>
                                        </p:tav>
                                        <p:tav tm="100000">
                                          <p:val>
                                            <p:strVal val="#ppt_h"/>
                                          </p:val>
                                        </p:tav>
                                      </p:tavLst>
                                    </p:anim>
                                    <p:animEffect transition="in" filter="fade">
                                      <p:cBhvr>
                                        <p:cTn id="99" dur="200"/>
                                        <p:tgtEl>
                                          <p:spTgt spid="442"/>
                                        </p:tgtEl>
                                      </p:cBhvr>
                                    </p:animEffect>
                                  </p:childTnLst>
                                </p:cTn>
                              </p:par>
                            </p:childTnLst>
                          </p:cTn>
                        </p:par>
                        <p:par>
                          <p:cTn id="100" fill="hold">
                            <p:stCondLst>
                              <p:cond delay="2800"/>
                            </p:stCondLst>
                            <p:childTnLst>
                              <p:par>
                                <p:cTn id="101" presetID="53" presetClass="entr" presetSubtype="16" fill="hold" nodeType="afterEffect">
                                  <p:stCondLst>
                                    <p:cond delay="0"/>
                                  </p:stCondLst>
                                  <p:childTnLst>
                                    <p:set>
                                      <p:cBhvr>
                                        <p:cTn id="102" dur="1" fill="hold">
                                          <p:stCondLst>
                                            <p:cond delay="0"/>
                                          </p:stCondLst>
                                        </p:cTn>
                                        <p:tgtEl>
                                          <p:spTgt spid="443"/>
                                        </p:tgtEl>
                                        <p:attrNameLst>
                                          <p:attrName>style.visibility</p:attrName>
                                        </p:attrNameLst>
                                      </p:cBhvr>
                                      <p:to>
                                        <p:strVal val="visible"/>
                                      </p:to>
                                    </p:set>
                                    <p:anim calcmode="lin" valueType="num">
                                      <p:cBhvr>
                                        <p:cTn id="103" dur="200" fill="hold"/>
                                        <p:tgtEl>
                                          <p:spTgt spid="443"/>
                                        </p:tgtEl>
                                        <p:attrNameLst>
                                          <p:attrName>ppt_w</p:attrName>
                                        </p:attrNameLst>
                                      </p:cBhvr>
                                      <p:tavLst>
                                        <p:tav tm="0">
                                          <p:val>
                                            <p:fltVal val="0"/>
                                          </p:val>
                                        </p:tav>
                                        <p:tav tm="100000">
                                          <p:val>
                                            <p:strVal val="#ppt_w"/>
                                          </p:val>
                                        </p:tav>
                                      </p:tavLst>
                                    </p:anim>
                                    <p:anim calcmode="lin" valueType="num">
                                      <p:cBhvr>
                                        <p:cTn id="104" dur="200" fill="hold"/>
                                        <p:tgtEl>
                                          <p:spTgt spid="443"/>
                                        </p:tgtEl>
                                        <p:attrNameLst>
                                          <p:attrName>ppt_h</p:attrName>
                                        </p:attrNameLst>
                                      </p:cBhvr>
                                      <p:tavLst>
                                        <p:tav tm="0">
                                          <p:val>
                                            <p:fltVal val="0"/>
                                          </p:val>
                                        </p:tav>
                                        <p:tav tm="100000">
                                          <p:val>
                                            <p:strVal val="#ppt_h"/>
                                          </p:val>
                                        </p:tav>
                                      </p:tavLst>
                                    </p:anim>
                                    <p:animEffect transition="in" filter="fade">
                                      <p:cBhvr>
                                        <p:cTn id="105" dur="200"/>
                                        <p:tgtEl>
                                          <p:spTgt spid="443"/>
                                        </p:tgtEl>
                                      </p:cBhvr>
                                    </p:animEffect>
                                  </p:childTnLst>
                                </p:cTn>
                              </p:par>
                            </p:childTnLst>
                          </p:cTn>
                        </p:par>
                        <p:par>
                          <p:cTn id="106" fill="hold">
                            <p:stCondLst>
                              <p:cond delay="3000"/>
                            </p:stCondLst>
                            <p:childTnLst>
                              <p:par>
                                <p:cTn id="107" presetID="53" presetClass="entr" presetSubtype="16" fill="hold" nodeType="afterEffect">
                                  <p:stCondLst>
                                    <p:cond delay="0"/>
                                  </p:stCondLst>
                                  <p:childTnLst>
                                    <p:set>
                                      <p:cBhvr>
                                        <p:cTn id="108" dur="1" fill="hold">
                                          <p:stCondLst>
                                            <p:cond delay="0"/>
                                          </p:stCondLst>
                                        </p:cTn>
                                        <p:tgtEl>
                                          <p:spTgt spid="431"/>
                                        </p:tgtEl>
                                        <p:attrNameLst>
                                          <p:attrName>style.visibility</p:attrName>
                                        </p:attrNameLst>
                                      </p:cBhvr>
                                      <p:to>
                                        <p:strVal val="visible"/>
                                      </p:to>
                                    </p:set>
                                    <p:anim calcmode="lin" valueType="num">
                                      <p:cBhvr>
                                        <p:cTn id="109" dur="200" fill="hold"/>
                                        <p:tgtEl>
                                          <p:spTgt spid="431"/>
                                        </p:tgtEl>
                                        <p:attrNameLst>
                                          <p:attrName>ppt_w</p:attrName>
                                        </p:attrNameLst>
                                      </p:cBhvr>
                                      <p:tavLst>
                                        <p:tav tm="0">
                                          <p:val>
                                            <p:fltVal val="0"/>
                                          </p:val>
                                        </p:tav>
                                        <p:tav tm="100000">
                                          <p:val>
                                            <p:strVal val="#ppt_w"/>
                                          </p:val>
                                        </p:tav>
                                      </p:tavLst>
                                    </p:anim>
                                    <p:anim calcmode="lin" valueType="num">
                                      <p:cBhvr>
                                        <p:cTn id="110" dur="200" fill="hold"/>
                                        <p:tgtEl>
                                          <p:spTgt spid="431"/>
                                        </p:tgtEl>
                                        <p:attrNameLst>
                                          <p:attrName>ppt_h</p:attrName>
                                        </p:attrNameLst>
                                      </p:cBhvr>
                                      <p:tavLst>
                                        <p:tav tm="0">
                                          <p:val>
                                            <p:fltVal val="0"/>
                                          </p:val>
                                        </p:tav>
                                        <p:tav tm="100000">
                                          <p:val>
                                            <p:strVal val="#ppt_h"/>
                                          </p:val>
                                        </p:tav>
                                      </p:tavLst>
                                    </p:anim>
                                    <p:animEffect transition="in" filter="fade">
                                      <p:cBhvr>
                                        <p:cTn id="111" dur="200"/>
                                        <p:tgtEl>
                                          <p:spTgt spid="4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P spid="96" grpId="1" animBg="1"/>
      <p:bldP spid="96" grpId="2"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value for big compute</a:t>
            </a:r>
          </a:p>
        </p:txBody>
      </p:sp>
      <p:sp>
        <p:nvSpPr>
          <p:cNvPr id="8" name="Move_E7C2" descr="Expand, grow, enlarge&#10;">
            <a:extLst/>
          </p:cNvPr>
          <p:cNvSpPr>
            <a:spLocks noChangeAspect="1" noEditPoints="1"/>
          </p:cNvSpPr>
          <p:nvPr/>
        </p:nvSpPr>
        <p:spPr bwMode="auto">
          <a:xfrm>
            <a:off x="1259001" y="2039995"/>
            <a:ext cx="896200" cy="89642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tx1"/>
            </a:solidFill>
            <a:prstDash val="solid"/>
            <a:miter lim="800000"/>
            <a:headEnd/>
            <a:tailEnd/>
          </a:ln>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0" name="TextBox 9"/>
          <p:cNvSpPr txBox="1"/>
          <p:nvPr/>
        </p:nvSpPr>
        <p:spPr>
          <a:xfrm>
            <a:off x="1160576" y="2936419"/>
            <a:ext cx="1093048" cy="669914"/>
          </a:xfrm>
          <a:prstGeom prst="rect">
            <a:avLst/>
          </a:prstGeom>
          <a:noFill/>
        </p:spPr>
        <p:txBody>
          <a:bodyPr wrap="non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cale</a:t>
            </a:r>
          </a:p>
        </p:txBody>
      </p:sp>
      <p:sp>
        <p:nvSpPr>
          <p:cNvPr id="12" name="TextBox 11"/>
          <p:cNvSpPr txBox="1"/>
          <p:nvPr/>
        </p:nvSpPr>
        <p:spPr>
          <a:xfrm>
            <a:off x="3746743" y="2936420"/>
            <a:ext cx="1641265" cy="669832"/>
          </a:xfrm>
          <a:prstGeom prst="rect">
            <a:avLst/>
          </a:prstGeom>
          <a:noFill/>
        </p:spPr>
        <p:txBody>
          <a:bodyPr wrap="non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Elasticity</a:t>
            </a:r>
          </a:p>
        </p:txBody>
      </p:sp>
      <p:sp>
        <p:nvSpPr>
          <p:cNvPr id="13" name="arrow_6" descr="Bidirectional">
            <a:extLst/>
          </p:cNvPr>
          <p:cNvSpPr>
            <a:spLocks noChangeAspect="1" noEditPoints="1"/>
          </p:cNvSpPr>
          <p:nvPr/>
        </p:nvSpPr>
        <p:spPr bwMode="auto">
          <a:xfrm>
            <a:off x="4136229" y="2084816"/>
            <a:ext cx="858963" cy="806782"/>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chemeClr val="tx1"/>
            </a:solidFill>
            <a:prstDash val="solid"/>
            <a:miter lim="800000"/>
            <a:headEnd/>
            <a:tailEnd/>
          </a:ln>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4" name="money_2" descr="Revenue, financial report, funds&#10;">
            <a:extLst/>
          </p:cNvPr>
          <p:cNvSpPr>
            <a:spLocks noChangeAspect="1" noEditPoints="1"/>
          </p:cNvSpPr>
          <p:nvPr/>
        </p:nvSpPr>
        <p:spPr bwMode="auto">
          <a:xfrm>
            <a:off x="6976216" y="2084816"/>
            <a:ext cx="765173" cy="806782"/>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1"/>
            </a:solidFill>
            <a:prstDash val="solid"/>
            <a:miter lim="800000"/>
            <a:headEnd/>
            <a:tailEnd/>
          </a:ln>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5" name="TextBox 14"/>
          <p:cNvSpPr txBox="1"/>
          <p:nvPr/>
        </p:nvSpPr>
        <p:spPr>
          <a:xfrm>
            <a:off x="6397279" y="2936419"/>
            <a:ext cx="1923047" cy="669914"/>
          </a:xfrm>
          <a:prstGeom prst="rect">
            <a:avLst/>
          </a:prstGeom>
          <a:noFill/>
        </p:spPr>
        <p:txBody>
          <a:bodyPr wrap="non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Pay for use</a:t>
            </a:r>
          </a:p>
        </p:txBody>
      </p:sp>
      <p:sp>
        <p:nvSpPr>
          <p:cNvPr id="16" name="server" descr="Server, server center, data center, storage&#10;">
            <a:extLst/>
          </p:cNvPr>
          <p:cNvSpPr>
            <a:spLocks noChangeAspect="1" noEditPoints="1"/>
          </p:cNvSpPr>
          <p:nvPr/>
        </p:nvSpPr>
        <p:spPr bwMode="auto">
          <a:xfrm>
            <a:off x="2047891" y="4099286"/>
            <a:ext cx="424762" cy="80678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7" name="TextBox 16"/>
          <p:cNvSpPr txBox="1"/>
          <p:nvPr/>
        </p:nvSpPr>
        <p:spPr>
          <a:xfrm>
            <a:off x="637788" y="4889497"/>
            <a:ext cx="3255096" cy="669832"/>
          </a:xfrm>
          <a:prstGeom prst="rect">
            <a:avLst/>
          </a:prstGeom>
          <a:noFill/>
        </p:spPr>
        <p:txBody>
          <a:bodyPr wrap="squar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Hardware selection</a:t>
            </a:r>
          </a:p>
        </p:txBody>
      </p:sp>
      <p:sp>
        <p:nvSpPr>
          <p:cNvPr id="18" name="TextBox 17"/>
          <p:cNvSpPr txBox="1"/>
          <p:nvPr/>
        </p:nvSpPr>
        <p:spPr>
          <a:xfrm>
            <a:off x="4472861" y="4889497"/>
            <a:ext cx="3032780" cy="669832"/>
          </a:xfrm>
          <a:prstGeom prst="rect">
            <a:avLst/>
          </a:prstGeom>
          <a:noFill/>
        </p:spPr>
        <p:txBody>
          <a:bodyPr wrap="squar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No infrastructure</a:t>
            </a:r>
          </a:p>
        </p:txBody>
      </p:sp>
      <p:sp>
        <p:nvSpPr>
          <p:cNvPr id="19" name="TextBox 18"/>
          <p:cNvSpPr txBox="1"/>
          <p:nvPr/>
        </p:nvSpPr>
        <p:spPr>
          <a:xfrm>
            <a:off x="7928953" y="4889497"/>
            <a:ext cx="3153799" cy="669832"/>
          </a:xfrm>
          <a:prstGeom prst="rect">
            <a:avLst/>
          </a:prstGeom>
          <a:noFill/>
        </p:spPr>
        <p:txBody>
          <a:bodyPr wrap="squar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Known costs</a:t>
            </a:r>
          </a:p>
        </p:txBody>
      </p:sp>
      <p:sp>
        <p:nvSpPr>
          <p:cNvPr id="20" name="building_4" descr="Warehouse, garage manufacturing&#10;">
            <a:extLst/>
          </p:cNvPr>
          <p:cNvSpPr>
            <a:spLocks noChangeAspect="1" noEditPoints="1"/>
          </p:cNvSpPr>
          <p:nvPr/>
        </p:nvSpPr>
        <p:spPr bwMode="auto">
          <a:xfrm>
            <a:off x="5581479" y="4441285"/>
            <a:ext cx="815546" cy="448212"/>
          </a:xfrm>
          <a:custGeom>
            <a:avLst/>
            <a:gdLst>
              <a:gd name="T0" fmla="*/ 183 w 242"/>
              <a:gd name="T1" fmla="*/ 16 h 133"/>
              <a:gd name="T2" fmla="*/ 242 w 242"/>
              <a:gd name="T3" fmla="*/ 31 h 133"/>
              <a:gd name="T4" fmla="*/ 242 w 242"/>
              <a:gd name="T5" fmla="*/ 133 h 133"/>
              <a:gd name="T6" fmla="*/ 32 w 242"/>
              <a:gd name="T7" fmla="*/ 133 h 133"/>
              <a:gd name="T8" fmla="*/ 0 w 242"/>
              <a:gd name="T9" fmla="*/ 133 h 133"/>
              <a:gd name="T10" fmla="*/ 0 w 242"/>
              <a:gd name="T11" fmla="*/ 31 h 133"/>
              <a:gd name="T12" fmla="*/ 121 w 242"/>
              <a:gd name="T13" fmla="*/ 0 h 133"/>
              <a:gd name="T14" fmla="*/ 183 w 242"/>
              <a:gd name="T15" fmla="*/ 16 h 133"/>
              <a:gd name="T16" fmla="*/ 70 w 242"/>
              <a:gd name="T17" fmla="*/ 133 h 133"/>
              <a:gd name="T18" fmla="*/ 70 w 242"/>
              <a:gd name="T19" fmla="*/ 81 h 133"/>
              <a:gd name="T20" fmla="*/ 33 w 242"/>
              <a:gd name="T21" fmla="*/ 81 h 133"/>
              <a:gd name="T22" fmla="*/ 33 w 242"/>
              <a:gd name="T23" fmla="*/ 133 h 133"/>
              <a:gd name="T24" fmla="*/ 139 w 242"/>
              <a:gd name="T25" fmla="*/ 133 h 133"/>
              <a:gd name="T26" fmla="*/ 139 w 242"/>
              <a:gd name="T27" fmla="*/ 81 h 133"/>
              <a:gd name="T28" fmla="*/ 103 w 242"/>
              <a:gd name="T29" fmla="*/ 81 h 133"/>
              <a:gd name="T30" fmla="*/ 103 w 242"/>
              <a:gd name="T31" fmla="*/ 133 h 133"/>
              <a:gd name="T32" fmla="*/ 209 w 242"/>
              <a:gd name="T33" fmla="*/ 133 h 133"/>
              <a:gd name="T34" fmla="*/ 209 w 242"/>
              <a:gd name="T35" fmla="*/ 81 h 133"/>
              <a:gd name="T36" fmla="*/ 172 w 242"/>
              <a:gd name="T37" fmla="*/ 81 h 133"/>
              <a:gd name="T38" fmla="*/ 172 w 242"/>
              <a:gd name="T3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133">
                <a:moveTo>
                  <a:pt x="183" y="16"/>
                </a:moveTo>
                <a:lnTo>
                  <a:pt x="242" y="31"/>
                </a:lnTo>
                <a:lnTo>
                  <a:pt x="242" y="133"/>
                </a:lnTo>
                <a:lnTo>
                  <a:pt x="32" y="133"/>
                </a:lnTo>
                <a:lnTo>
                  <a:pt x="0" y="133"/>
                </a:lnTo>
                <a:lnTo>
                  <a:pt x="0" y="31"/>
                </a:lnTo>
                <a:lnTo>
                  <a:pt x="121" y="0"/>
                </a:lnTo>
                <a:lnTo>
                  <a:pt x="183" y="16"/>
                </a:lnTo>
                <a:moveTo>
                  <a:pt x="70" y="133"/>
                </a:moveTo>
                <a:lnTo>
                  <a:pt x="70" y="81"/>
                </a:lnTo>
                <a:lnTo>
                  <a:pt x="33" y="81"/>
                </a:lnTo>
                <a:lnTo>
                  <a:pt x="33" y="133"/>
                </a:lnTo>
                <a:moveTo>
                  <a:pt x="139" y="133"/>
                </a:moveTo>
                <a:lnTo>
                  <a:pt x="139" y="81"/>
                </a:lnTo>
                <a:lnTo>
                  <a:pt x="103" y="81"/>
                </a:lnTo>
                <a:lnTo>
                  <a:pt x="103" y="133"/>
                </a:lnTo>
                <a:moveTo>
                  <a:pt x="209" y="133"/>
                </a:moveTo>
                <a:lnTo>
                  <a:pt x="209" y="81"/>
                </a:lnTo>
                <a:lnTo>
                  <a:pt x="172" y="81"/>
                </a:lnTo>
                <a:lnTo>
                  <a:pt x="172" y="133"/>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21" name="server" descr="Server, server center, data center, storage&#10;">
            <a:extLst/>
          </p:cNvPr>
          <p:cNvSpPr>
            <a:spLocks noChangeAspect="1" noEditPoints="1"/>
          </p:cNvSpPr>
          <p:nvPr/>
        </p:nvSpPr>
        <p:spPr bwMode="auto">
          <a:xfrm>
            <a:off x="6503010" y="4441285"/>
            <a:ext cx="235979" cy="44821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22" name="Money_4" descr="Money, currency, coins&#10;">
            <a:extLst/>
          </p:cNvPr>
          <p:cNvSpPr>
            <a:spLocks noChangeAspect="1" noEditPoints="1"/>
          </p:cNvSpPr>
          <p:nvPr/>
        </p:nvSpPr>
        <p:spPr bwMode="auto">
          <a:xfrm>
            <a:off x="9071642" y="4081708"/>
            <a:ext cx="868420" cy="806782"/>
          </a:xfrm>
          <a:custGeom>
            <a:avLst/>
            <a:gdLst>
              <a:gd name="T0" fmla="*/ 267 w 358"/>
              <a:gd name="T1" fmla="*/ 332 h 332"/>
              <a:gd name="T2" fmla="*/ 225 w 358"/>
              <a:gd name="T3" fmla="*/ 332 h 332"/>
              <a:gd name="T4" fmla="*/ 134 w 358"/>
              <a:gd name="T5" fmla="*/ 225 h 332"/>
              <a:gd name="T6" fmla="*/ 225 w 358"/>
              <a:gd name="T7" fmla="*/ 119 h 332"/>
              <a:gd name="T8" fmla="*/ 267 w 358"/>
              <a:gd name="T9" fmla="*/ 119 h 332"/>
              <a:gd name="T10" fmla="*/ 267 w 358"/>
              <a:gd name="T11" fmla="*/ 119 h 332"/>
              <a:gd name="T12" fmla="*/ 177 w 358"/>
              <a:gd name="T13" fmla="*/ 225 h 332"/>
              <a:gd name="T14" fmla="*/ 267 w 358"/>
              <a:gd name="T15" fmla="*/ 332 h 332"/>
              <a:gd name="T16" fmla="*/ 358 w 358"/>
              <a:gd name="T17" fmla="*/ 225 h 332"/>
              <a:gd name="T18" fmla="*/ 267 w 358"/>
              <a:gd name="T19" fmla="*/ 119 h 332"/>
              <a:gd name="T20" fmla="*/ 0 w 358"/>
              <a:gd name="T21" fmla="*/ 269 h 332"/>
              <a:gd name="T22" fmla="*/ 116 w 358"/>
              <a:gd name="T23" fmla="*/ 332 h 332"/>
              <a:gd name="T24" fmla="*/ 183 w 358"/>
              <a:gd name="T25" fmla="*/ 320 h 332"/>
              <a:gd name="T26" fmla="*/ 0 w 358"/>
              <a:gd name="T27" fmla="*/ 218 h 332"/>
              <a:gd name="T28" fmla="*/ 116 w 358"/>
              <a:gd name="T29" fmla="*/ 280 h 332"/>
              <a:gd name="T30" fmla="*/ 146 w 358"/>
              <a:gd name="T31" fmla="*/ 278 h 332"/>
              <a:gd name="T32" fmla="*/ 0 w 358"/>
              <a:gd name="T33" fmla="*/ 166 h 332"/>
              <a:gd name="T34" fmla="*/ 116 w 358"/>
              <a:gd name="T35" fmla="*/ 229 h 332"/>
              <a:gd name="T36" fmla="*/ 134 w 358"/>
              <a:gd name="T37" fmla="*/ 228 h 332"/>
              <a:gd name="T38" fmla="*/ 0 w 358"/>
              <a:gd name="T39" fmla="*/ 115 h 332"/>
              <a:gd name="T40" fmla="*/ 116 w 358"/>
              <a:gd name="T41" fmla="*/ 177 h 332"/>
              <a:gd name="T42" fmla="*/ 145 w 358"/>
              <a:gd name="T43" fmla="*/ 174 h 332"/>
              <a:gd name="T44" fmla="*/ 116 w 358"/>
              <a:gd name="T45" fmla="*/ 0 h 332"/>
              <a:gd name="T46" fmla="*/ 0 w 358"/>
              <a:gd name="T47" fmla="*/ 63 h 332"/>
              <a:gd name="T48" fmla="*/ 116 w 358"/>
              <a:gd name="T49" fmla="*/ 126 h 332"/>
              <a:gd name="T50" fmla="*/ 231 w 358"/>
              <a:gd name="T51" fmla="*/ 63 h 332"/>
              <a:gd name="T52" fmla="*/ 116 w 358"/>
              <a:gd name="T53" fmla="*/ 0 h 332"/>
              <a:gd name="T54" fmla="*/ 0 w 358"/>
              <a:gd name="T55" fmla="*/ 63 h 332"/>
              <a:gd name="T56" fmla="*/ 0 w 358"/>
              <a:gd name="T57" fmla="*/ 269 h 332"/>
              <a:gd name="T58" fmla="*/ 231 w 358"/>
              <a:gd name="T59" fmla="*/ 63 h 332"/>
              <a:gd name="T60" fmla="*/ 231 w 358"/>
              <a:gd name="T61" fmla="*/ 1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8" h="332">
                <a:moveTo>
                  <a:pt x="267" y="332"/>
                </a:moveTo>
                <a:cubicBezTo>
                  <a:pt x="225" y="332"/>
                  <a:pt x="225" y="332"/>
                  <a:pt x="225" y="332"/>
                </a:cubicBezTo>
                <a:cubicBezTo>
                  <a:pt x="175" y="332"/>
                  <a:pt x="134" y="284"/>
                  <a:pt x="134" y="225"/>
                </a:cubicBezTo>
                <a:cubicBezTo>
                  <a:pt x="134" y="166"/>
                  <a:pt x="175" y="119"/>
                  <a:pt x="225" y="119"/>
                </a:cubicBezTo>
                <a:cubicBezTo>
                  <a:pt x="267" y="119"/>
                  <a:pt x="267" y="119"/>
                  <a:pt x="267" y="119"/>
                </a:cubicBezTo>
                <a:moveTo>
                  <a:pt x="267" y="119"/>
                </a:moveTo>
                <a:cubicBezTo>
                  <a:pt x="217" y="119"/>
                  <a:pt x="177" y="166"/>
                  <a:pt x="177" y="225"/>
                </a:cubicBezTo>
                <a:cubicBezTo>
                  <a:pt x="177" y="284"/>
                  <a:pt x="217" y="332"/>
                  <a:pt x="267" y="332"/>
                </a:cubicBezTo>
                <a:cubicBezTo>
                  <a:pt x="317" y="332"/>
                  <a:pt x="358" y="284"/>
                  <a:pt x="358" y="225"/>
                </a:cubicBezTo>
                <a:cubicBezTo>
                  <a:pt x="358" y="166"/>
                  <a:pt x="317" y="119"/>
                  <a:pt x="267" y="119"/>
                </a:cubicBezTo>
                <a:close/>
                <a:moveTo>
                  <a:pt x="0" y="269"/>
                </a:moveTo>
                <a:cubicBezTo>
                  <a:pt x="0" y="304"/>
                  <a:pt x="52" y="332"/>
                  <a:pt x="116" y="332"/>
                </a:cubicBezTo>
                <a:cubicBezTo>
                  <a:pt x="141" y="332"/>
                  <a:pt x="164" y="327"/>
                  <a:pt x="183" y="320"/>
                </a:cubicBezTo>
                <a:moveTo>
                  <a:pt x="0" y="218"/>
                </a:moveTo>
                <a:cubicBezTo>
                  <a:pt x="0" y="252"/>
                  <a:pt x="52" y="280"/>
                  <a:pt x="116" y="280"/>
                </a:cubicBezTo>
                <a:cubicBezTo>
                  <a:pt x="126" y="280"/>
                  <a:pt x="136" y="279"/>
                  <a:pt x="146" y="278"/>
                </a:cubicBezTo>
                <a:moveTo>
                  <a:pt x="0" y="166"/>
                </a:moveTo>
                <a:cubicBezTo>
                  <a:pt x="0" y="201"/>
                  <a:pt x="52" y="229"/>
                  <a:pt x="116" y="229"/>
                </a:cubicBezTo>
                <a:cubicBezTo>
                  <a:pt x="122" y="229"/>
                  <a:pt x="128" y="228"/>
                  <a:pt x="134" y="228"/>
                </a:cubicBezTo>
                <a:moveTo>
                  <a:pt x="0" y="115"/>
                </a:moveTo>
                <a:cubicBezTo>
                  <a:pt x="0" y="149"/>
                  <a:pt x="52" y="177"/>
                  <a:pt x="116" y="177"/>
                </a:cubicBezTo>
                <a:cubicBezTo>
                  <a:pt x="124" y="177"/>
                  <a:pt x="137" y="176"/>
                  <a:pt x="145" y="174"/>
                </a:cubicBezTo>
                <a:moveTo>
                  <a:pt x="116" y="0"/>
                </a:moveTo>
                <a:cubicBezTo>
                  <a:pt x="52" y="0"/>
                  <a:pt x="0" y="28"/>
                  <a:pt x="0" y="63"/>
                </a:cubicBezTo>
                <a:cubicBezTo>
                  <a:pt x="0" y="98"/>
                  <a:pt x="52" y="126"/>
                  <a:pt x="116" y="126"/>
                </a:cubicBezTo>
                <a:cubicBezTo>
                  <a:pt x="179" y="126"/>
                  <a:pt x="231" y="98"/>
                  <a:pt x="231" y="63"/>
                </a:cubicBezTo>
                <a:cubicBezTo>
                  <a:pt x="231" y="28"/>
                  <a:pt x="179" y="0"/>
                  <a:pt x="116" y="0"/>
                </a:cubicBezTo>
                <a:close/>
                <a:moveTo>
                  <a:pt x="0" y="63"/>
                </a:moveTo>
                <a:cubicBezTo>
                  <a:pt x="0" y="269"/>
                  <a:pt x="0" y="269"/>
                  <a:pt x="0" y="269"/>
                </a:cubicBezTo>
                <a:moveTo>
                  <a:pt x="231" y="63"/>
                </a:moveTo>
                <a:cubicBezTo>
                  <a:pt x="231" y="119"/>
                  <a:pt x="231" y="119"/>
                  <a:pt x="231" y="11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23" name="globe_4" descr="Globe, global, earth&#10;">
            <a:extLst/>
          </p:cNvPr>
          <p:cNvSpPr>
            <a:spLocks noChangeAspect="1" noEditPoints="1"/>
          </p:cNvSpPr>
          <p:nvPr/>
        </p:nvSpPr>
        <p:spPr bwMode="auto">
          <a:xfrm>
            <a:off x="9722418" y="2084816"/>
            <a:ext cx="796778" cy="806782"/>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24" name="TextBox 23"/>
          <p:cNvSpPr txBox="1"/>
          <p:nvPr/>
        </p:nvSpPr>
        <p:spPr>
          <a:xfrm>
            <a:off x="8693552" y="2936420"/>
            <a:ext cx="2854505" cy="669832"/>
          </a:xfrm>
          <a:prstGeom prst="rect">
            <a:avLst/>
          </a:prstGeom>
          <a:noFill/>
        </p:spPr>
        <p:txBody>
          <a:bodyPr wrap="squar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Reach &amp; locality</a:t>
            </a:r>
          </a:p>
        </p:txBody>
      </p:sp>
    </p:spTree>
    <p:extLst>
      <p:ext uri="{BB962C8B-B14F-4D97-AF65-F5344CB8AC3E}">
        <p14:creationId xmlns:p14="http://schemas.microsoft.com/office/powerpoint/2010/main" val="2478060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500"/>
                                        <p:tgtEl>
                                          <p:spTgt spid="24"/>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500"/>
                                        <p:tgtEl>
                                          <p:spTgt spid="17"/>
                                        </p:tgtEl>
                                      </p:cBhvr>
                                    </p:animEffect>
                                  </p:childTnLst>
                                </p:cTn>
                              </p:par>
                            </p:childTnLst>
                          </p:cTn>
                        </p:par>
                        <p:par>
                          <p:cTn id="39" fill="hold">
                            <p:stCondLst>
                              <p:cond delay="2500"/>
                            </p:stCondLst>
                            <p:childTnLst>
                              <p:par>
                                <p:cTn id="40" presetID="10" presetClass="entr" presetSubtype="0" fill="hold" grpId="0" nodeType="after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fade">
                                      <p:cBhvr>
                                        <p:cTn id="45" dur="500"/>
                                        <p:tgtEl>
                                          <p:spTgt spid="2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1"/>
                                        </p:tgtEl>
                                        <p:attrNameLst>
                                          <p:attrName>style.visibility</p:attrName>
                                        </p:attrNameLst>
                                      </p:cBhvr>
                                      <p:to>
                                        <p:strVal val="visible"/>
                                      </p:to>
                                    </p:set>
                                    <p:animEffect transition="in" filter="fade">
                                      <p:cBhvr>
                                        <p:cTn id="48" dur="500"/>
                                        <p:tgtEl>
                                          <p:spTgt spid="21"/>
                                        </p:tgtEl>
                                      </p:cBhvr>
                                    </p:animEffect>
                                  </p:childTnLst>
                                </p:cTn>
                              </p:par>
                            </p:childTnLst>
                          </p:cTn>
                        </p:par>
                        <p:par>
                          <p:cTn id="49" fill="hold">
                            <p:stCondLst>
                              <p:cond delay="3000"/>
                            </p:stCondLst>
                            <p:childTnLst>
                              <p:par>
                                <p:cTn id="50" presetID="10" presetClass="entr" presetSubtype="0" fill="hold" grpId="0" nodeType="after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p:bldP spid="12" grpId="0"/>
      <p:bldP spid="13" grpId="0" animBg="1"/>
      <p:bldP spid="14" grpId="0" animBg="1"/>
      <p:bldP spid="15" grpId="0"/>
      <p:bldP spid="16" grpId="0" animBg="1"/>
      <p:bldP spid="17" grpId="0"/>
      <p:bldP spid="18" grpId="0"/>
      <p:bldP spid="19" grpId="0"/>
      <p:bldP spid="20" grpId="0" animBg="1"/>
      <p:bldP spid="21" grpId="0" animBg="1"/>
      <p:bldP spid="22" grpId="0" animBg="1"/>
      <p:bldP spid="23" grpId="0" animBg="1"/>
      <p:bldP spid="24"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own Arrow 3"/>
          <p:cNvSpPr/>
          <p:nvPr/>
        </p:nvSpPr>
        <p:spPr bwMode="auto">
          <a:xfrm>
            <a:off x="6372591" y="1284776"/>
            <a:ext cx="282229" cy="1807372"/>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marL="0" marR="0" lvl="0" indent="0" algn="ctr" defTabSz="914016"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grpSp>
        <p:nvGrpSpPr>
          <p:cNvPr id="127" name="Group 126"/>
          <p:cNvGrpSpPr/>
          <p:nvPr/>
        </p:nvGrpSpPr>
        <p:grpSpPr>
          <a:xfrm>
            <a:off x="4143175" y="4739739"/>
            <a:ext cx="3276939" cy="1669194"/>
            <a:chOff x="5442654" y="4275734"/>
            <a:chExt cx="3342649" cy="1702664"/>
          </a:xfrm>
        </p:grpSpPr>
        <p:sp>
          <p:nvSpPr>
            <p:cNvPr id="125" name="Freeform 124"/>
            <p:cNvSpPr/>
            <p:nvPr/>
          </p:nvSpPr>
          <p:spPr bwMode="auto">
            <a:xfrm>
              <a:off x="5905500" y="4295007"/>
              <a:ext cx="1085900" cy="705618"/>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6" name="Freeform 125"/>
            <p:cNvSpPr/>
            <p:nvPr/>
          </p:nvSpPr>
          <p:spPr bwMode="auto">
            <a:xfrm flipH="1">
              <a:off x="7134225" y="4275734"/>
              <a:ext cx="1125344" cy="724891"/>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24" name="Group 123"/>
            <p:cNvGrpSpPr/>
            <p:nvPr/>
          </p:nvGrpSpPr>
          <p:grpSpPr>
            <a:xfrm>
              <a:off x="5442654" y="5035088"/>
              <a:ext cx="3342649" cy="943310"/>
              <a:chOff x="6332961" y="5035088"/>
              <a:chExt cx="3342649" cy="943310"/>
            </a:xfrm>
          </p:grpSpPr>
          <p:sp>
            <p:nvSpPr>
              <p:cNvPr id="78" name="Freeform 17"/>
              <p:cNvSpPr>
                <a:spLocks noEditPoints="1"/>
              </p:cNvSpPr>
              <p:nvPr/>
            </p:nvSpPr>
            <p:spPr bwMode="auto">
              <a:xfrm>
                <a:off x="8947294"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Freeform 106"/>
              <p:cNvSpPr/>
              <p:nvPr/>
            </p:nvSpPr>
            <p:spPr bwMode="auto">
              <a:xfrm>
                <a:off x="6833903" y="5314557"/>
                <a:ext cx="500153"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Freeform 17"/>
              <p:cNvSpPr>
                <a:spLocks noEditPoints="1"/>
              </p:cNvSpPr>
              <p:nvPr/>
            </p:nvSpPr>
            <p:spPr bwMode="auto">
              <a:xfrm>
                <a:off x="6525341"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Freeform 107"/>
              <p:cNvSpPr/>
              <p:nvPr/>
            </p:nvSpPr>
            <p:spPr bwMode="auto">
              <a:xfrm>
                <a:off x="8570966" y="5314557"/>
                <a:ext cx="365760"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00" name="Group 99"/>
              <p:cNvGrpSpPr/>
              <p:nvPr/>
            </p:nvGrpSpPr>
            <p:grpSpPr>
              <a:xfrm>
                <a:off x="7345682" y="5205437"/>
                <a:ext cx="1232507" cy="226619"/>
                <a:chOff x="7974942" y="1629143"/>
                <a:chExt cx="781050" cy="226619"/>
              </a:xfrm>
            </p:grpSpPr>
            <p:sp>
              <p:nvSpPr>
                <p:cNvPr id="101" name="Rectangle 100"/>
                <p:cNvSpPr/>
                <p:nvPr/>
              </p:nvSpPr>
              <p:spPr bwMode="auto">
                <a:xfrm>
                  <a:off x="7974942" y="1629143"/>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02" name="Rectangle 101"/>
                <p:cNvSpPr/>
                <p:nvPr/>
              </p:nvSpPr>
              <p:spPr bwMode="auto">
                <a:xfrm>
                  <a:off x="8045429"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109" name="TextBox 108"/>
              <p:cNvSpPr txBox="1"/>
              <p:nvPr/>
            </p:nvSpPr>
            <p:spPr>
              <a:xfrm>
                <a:off x="6332961" y="5485145"/>
                <a:ext cx="835349" cy="493253"/>
              </a:xfrm>
              <a:prstGeom prst="rect">
                <a:avLst/>
              </a:prstGeom>
              <a:noFill/>
            </p:spPr>
            <p:txBody>
              <a:bodyPr wrap="none" lIns="179285" tIns="143428" rIns="179285"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INPUT</a:t>
                </a:r>
              </a:p>
            </p:txBody>
          </p:sp>
          <p:sp>
            <p:nvSpPr>
              <p:cNvPr id="110" name="TextBox 109"/>
              <p:cNvSpPr txBox="1"/>
              <p:nvPr/>
            </p:nvSpPr>
            <p:spPr>
              <a:xfrm>
                <a:off x="8675111" y="5485145"/>
                <a:ext cx="1000499" cy="493253"/>
              </a:xfrm>
              <a:prstGeom prst="rect">
                <a:avLst/>
              </a:prstGeom>
              <a:noFill/>
            </p:spPr>
            <p:txBody>
              <a:bodyPr wrap="none" lIns="179285" tIns="143428" rIns="179285"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OUTPUT</a:t>
                </a:r>
              </a:p>
            </p:txBody>
          </p:sp>
        </p:grpSp>
      </p:grpSp>
      <p:sp>
        <p:nvSpPr>
          <p:cNvPr id="2" name="Title 1"/>
          <p:cNvSpPr>
            <a:spLocks noGrp="1"/>
          </p:cNvSpPr>
          <p:nvPr>
            <p:ph type="title"/>
          </p:nvPr>
        </p:nvSpPr>
        <p:spPr>
          <a:xfrm>
            <a:off x="269241" y="289957"/>
            <a:ext cx="4855632" cy="899537"/>
          </a:xfrm>
        </p:spPr>
        <p:txBody>
          <a:bodyPr>
            <a:normAutofit fontScale="90000"/>
          </a:bodyPr>
          <a:lstStyle/>
          <a:p>
            <a:r>
              <a:rPr lang="en-US"/>
              <a:t>Azure Batch Concepts</a:t>
            </a:r>
          </a:p>
        </p:txBody>
      </p:sp>
      <p:sp>
        <p:nvSpPr>
          <p:cNvPr id="27" name="Freeform 9"/>
          <p:cNvSpPr>
            <a:spLocks noEditPoints="1"/>
          </p:cNvSpPr>
          <p:nvPr/>
        </p:nvSpPr>
        <p:spPr bwMode="auto">
          <a:xfrm>
            <a:off x="5315292" y="3487216"/>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9"/>
          <p:cNvSpPr>
            <a:spLocks noEditPoints="1"/>
          </p:cNvSpPr>
          <p:nvPr/>
        </p:nvSpPr>
        <p:spPr bwMode="auto">
          <a:xfrm>
            <a:off x="7141697" y="348010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9"/>
          <p:cNvSpPr>
            <a:spLocks noEditPoints="1"/>
          </p:cNvSpPr>
          <p:nvPr/>
        </p:nvSpPr>
        <p:spPr bwMode="auto">
          <a:xfrm>
            <a:off x="5311549" y="448799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9"/>
          <p:cNvSpPr>
            <a:spLocks noEditPoints="1"/>
          </p:cNvSpPr>
          <p:nvPr/>
        </p:nvSpPr>
        <p:spPr bwMode="auto">
          <a:xfrm>
            <a:off x="7125743" y="4490947"/>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Rectangle 89"/>
          <p:cNvSpPr/>
          <p:nvPr/>
        </p:nvSpPr>
        <p:spPr bwMode="auto">
          <a:xfrm>
            <a:off x="8331388" y="2461051"/>
            <a:ext cx="1249639" cy="426788"/>
          </a:xfrm>
          <a:prstGeom prst="rect">
            <a:avLst/>
          </a:prstGeom>
          <a:solidFill>
            <a:schemeClr val="accent2"/>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Applications / Algorithms</a:t>
            </a:r>
          </a:p>
        </p:txBody>
      </p:sp>
      <p:grpSp>
        <p:nvGrpSpPr>
          <p:cNvPr id="93" name="Group 92"/>
          <p:cNvGrpSpPr/>
          <p:nvPr/>
        </p:nvGrpSpPr>
        <p:grpSpPr>
          <a:xfrm>
            <a:off x="6113740" y="2303421"/>
            <a:ext cx="765696" cy="222164"/>
            <a:chOff x="7969031" y="1629143"/>
            <a:chExt cx="781050" cy="226619"/>
          </a:xfrm>
          <a:solidFill>
            <a:srgbClr val="92D050"/>
          </a:solidFill>
        </p:grpSpPr>
        <p:sp>
          <p:nvSpPr>
            <p:cNvPr id="91" name="Rectangle 90"/>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2" name="Rectangle 91"/>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94" name="Group 93"/>
          <p:cNvGrpSpPr/>
          <p:nvPr/>
        </p:nvGrpSpPr>
        <p:grpSpPr>
          <a:xfrm>
            <a:off x="6113740" y="2031389"/>
            <a:ext cx="765696" cy="222164"/>
            <a:chOff x="7969031" y="1629143"/>
            <a:chExt cx="781050" cy="226619"/>
          </a:xfrm>
          <a:solidFill>
            <a:srgbClr val="92D050"/>
          </a:solidFill>
        </p:grpSpPr>
        <p:sp>
          <p:nvSpPr>
            <p:cNvPr id="95" name="Rectangle 94"/>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6" name="Rectangle 95"/>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97" name="Group 96"/>
          <p:cNvGrpSpPr/>
          <p:nvPr/>
        </p:nvGrpSpPr>
        <p:grpSpPr>
          <a:xfrm>
            <a:off x="6113740" y="1552099"/>
            <a:ext cx="765696" cy="222164"/>
            <a:chOff x="7969031" y="1629143"/>
            <a:chExt cx="781050" cy="226619"/>
          </a:xfrm>
          <a:solidFill>
            <a:srgbClr val="92D050"/>
          </a:solidFill>
        </p:grpSpPr>
        <p:sp>
          <p:nvSpPr>
            <p:cNvPr id="98" name="Rectangle 97"/>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9" name="Rectangle 98"/>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73" name="Group 72"/>
          <p:cNvGrpSpPr/>
          <p:nvPr/>
        </p:nvGrpSpPr>
        <p:grpSpPr>
          <a:xfrm>
            <a:off x="6113740" y="2589240"/>
            <a:ext cx="765696" cy="211042"/>
            <a:chOff x="7969031" y="1621957"/>
            <a:chExt cx="781050" cy="226619"/>
          </a:xfrm>
          <a:solidFill>
            <a:srgbClr val="FFFF00"/>
          </a:solidFill>
        </p:grpSpPr>
        <p:sp>
          <p:nvSpPr>
            <p:cNvPr id="74" name="Rectangle 73"/>
            <p:cNvSpPr/>
            <p:nvPr/>
          </p:nvSpPr>
          <p:spPr bwMode="auto">
            <a:xfrm>
              <a:off x="7969031" y="1621957"/>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5" name="Rectangle 74"/>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72" name="TextBox 71"/>
          <p:cNvSpPr txBox="1"/>
          <p:nvPr/>
        </p:nvSpPr>
        <p:spPr>
          <a:xfrm>
            <a:off x="5596788" y="897976"/>
            <a:ext cx="1833834" cy="402618"/>
          </a:xfrm>
          <a:prstGeom prst="rect">
            <a:avLst/>
          </a:prstGeom>
          <a:noFill/>
        </p:spPr>
        <p:txBody>
          <a:bodyPr wrap="square" lIns="89634" tIns="89634" rIns="89634" bIns="89634" rtlCol="0" anchor="ctr" anchorCtr="0">
            <a:sp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Segoe UI" pitchFamily="34" charset="0"/>
                <a:cs typeface="Segoe UI" pitchFamily="34" charset="0"/>
              </a:rPr>
              <a:t>Queue</a:t>
            </a:r>
          </a:p>
        </p:txBody>
      </p:sp>
      <p:sp>
        <p:nvSpPr>
          <p:cNvPr id="50" name="Rectangle 49"/>
          <p:cNvSpPr/>
          <p:nvPr/>
        </p:nvSpPr>
        <p:spPr bwMode="auto">
          <a:xfrm>
            <a:off x="7044415" y="4484119"/>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1" name="Rectangle 50"/>
          <p:cNvSpPr/>
          <p:nvPr/>
        </p:nvSpPr>
        <p:spPr bwMode="auto">
          <a:xfrm>
            <a:off x="7043052" y="3479943"/>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2" name="Rectangle 61"/>
          <p:cNvSpPr/>
          <p:nvPr/>
        </p:nvSpPr>
        <p:spPr bwMode="auto">
          <a:xfrm>
            <a:off x="5111436" y="4482896"/>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3" name="Rectangle 62"/>
          <p:cNvSpPr/>
          <p:nvPr/>
        </p:nvSpPr>
        <p:spPr bwMode="auto">
          <a:xfrm>
            <a:off x="5111436" y="3479942"/>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 name="Rectangle: Rounded Corners 2"/>
          <p:cNvSpPr/>
          <p:nvPr/>
        </p:nvSpPr>
        <p:spPr bwMode="auto">
          <a:xfrm>
            <a:off x="4676661" y="3204894"/>
            <a:ext cx="3585699" cy="2038356"/>
          </a:xfrm>
          <a:prstGeom prst="roundRect">
            <a:avLst/>
          </a:prstGeom>
          <a:noFill/>
          <a:ln w="381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 name="TextBox 5"/>
          <p:cNvSpPr txBox="1"/>
          <p:nvPr/>
        </p:nvSpPr>
        <p:spPr>
          <a:xfrm>
            <a:off x="2637394" y="3950790"/>
            <a:ext cx="1861102" cy="622030"/>
          </a:xfrm>
          <a:prstGeom prst="rect">
            <a:avLst/>
          </a:prstGeom>
          <a:noFill/>
        </p:spPr>
        <p:txBody>
          <a:bodyPr wrap="none" lIns="179268" tIns="143415" rIns="179268" bIns="143415"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Pool of VMs</a:t>
            </a:r>
          </a:p>
        </p:txBody>
      </p:sp>
      <p:sp>
        <p:nvSpPr>
          <p:cNvPr id="55" name="Rectangle: Rounded Corners 54"/>
          <p:cNvSpPr/>
          <p:nvPr/>
        </p:nvSpPr>
        <p:spPr bwMode="auto">
          <a:xfrm>
            <a:off x="5950125" y="1942937"/>
            <a:ext cx="1092927" cy="944709"/>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6" name="Rectangle: Rounded Corners 55"/>
          <p:cNvSpPr/>
          <p:nvPr/>
        </p:nvSpPr>
        <p:spPr bwMode="auto">
          <a:xfrm>
            <a:off x="5950125" y="1466079"/>
            <a:ext cx="1092927" cy="385247"/>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8" name="TextBox 57"/>
          <p:cNvSpPr txBox="1"/>
          <p:nvPr/>
        </p:nvSpPr>
        <p:spPr>
          <a:xfrm>
            <a:off x="4607569" y="1671777"/>
            <a:ext cx="1322274" cy="954428"/>
          </a:xfrm>
          <a:prstGeom prst="rect">
            <a:avLst/>
          </a:prstGeom>
          <a:noFill/>
        </p:spPr>
        <p:txBody>
          <a:bodyPr wrap="square" lIns="179268" tIns="143415" rIns="179268" bIns="143415"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Jobs &amp; Tasks</a:t>
            </a:r>
          </a:p>
        </p:txBody>
      </p:sp>
    </p:spTree>
    <p:extLst>
      <p:ext uri="{BB962C8B-B14F-4D97-AF65-F5344CB8AC3E}">
        <p14:creationId xmlns:p14="http://schemas.microsoft.com/office/powerpoint/2010/main" val="18491500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500"/>
                                        <p:tgtEl>
                                          <p:spTgt spid="5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fade">
                                      <p:cBhvr>
                                        <p:cTn id="18" dur="500"/>
                                        <p:tgtEl>
                                          <p:spTgt spid="5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0"/>
                                        </p:tgtEl>
                                        <p:attrNameLst>
                                          <p:attrName>style.visibility</p:attrName>
                                        </p:attrNameLst>
                                      </p:cBhvr>
                                      <p:to>
                                        <p:strVal val="visible"/>
                                      </p:to>
                                    </p:set>
                                    <p:animEffect transition="in" filter="fade">
                                      <p:cBhvr>
                                        <p:cTn id="21" dur="500"/>
                                        <p:tgtEl>
                                          <p:spTgt spid="6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63"/>
                                        </p:tgtEl>
                                        <p:attrNameLst>
                                          <p:attrName>style.visibility</p:attrName>
                                        </p:attrNameLst>
                                      </p:cBhvr>
                                      <p:to>
                                        <p:strVal val="visible"/>
                                      </p:to>
                                    </p:set>
                                    <p:animEffect transition="in" filter="fade">
                                      <p:cBhvr>
                                        <p:cTn id="34" dur="500"/>
                                        <p:tgtEl>
                                          <p:spTgt spid="63"/>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animEffect transition="in" filter="fade">
                                      <p:cBhvr>
                                        <p:cTn id="37" dur="500"/>
                                        <p:tgtEl>
                                          <p:spTgt spid="5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50"/>
                                        </p:tgtEl>
                                        <p:attrNameLst>
                                          <p:attrName>style.visibility</p:attrName>
                                        </p:attrNameLst>
                                      </p:cBhvr>
                                      <p:to>
                                        <p:strVal val="visible"/>
                                      </p:to>
                                    </p:set>
                                    <p:animEffect transition="in" filter="fade">
                                      <p:cBhvr>
                                        <p:cTn id="40" dur="500"/>
                                        <p:tgtEl>
                                          <p:spTgt spid="5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62"/>
                                        </p:tgtEl>
                                        <p:attrNameLst>
                                          <p:attrName>style.visibility</p:attrName>
                                        </p:attrNameLst>
                                      </p:cBhvr>
                                      <p:to>
                                        <p:strVal val="visible"/>
                                      </p:to>
                                    </p:set>
                                    <p:animEffect transition="in" filter="fade">
                                      <p:cBhvr>
                                        <p:cTn id="43" dur="500"/>
                                        <p:tgtEl>
                                          <p:spTgt spid="62"/>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72"/>
                                        </p:tgtEl>
                                        <p:attrNameLst>
                                          <p:attrName>style.visibility</p:attrName>
                                        </p:attrNameLst>
                                      </p:cBhvr>
                                      <p:to>
                                        <p:strVal val="visible"/>
                                      </p:to>
                                    </p:set>
                                    <p:animEffect transition="in" filter="fade">
                                      <p:cBhvr>
                                        <p:cTn id="48" dur="500"/>
                                        <p:tgtEl>
                                          <p:spTgt spid="72"/>
                                        </p:tgtEl>
                                      </p:cBhvr>
                                    </p:animEffect>
                                  </p:childTnLst>
                                </p:cTn>
                              </p:par>
                            </p:childTnLst>
                          </p:cTn>
                        </p:par>
                        <p:par>
                          <p:cTn id="49" fill="hold">
                            <p:stCondLst>
                              <p:cond delay="500"/>
                            </p:stCondLst>
                            <p:childTnLst>
                              <p:par>
                                <p:cTn id="50" presetID="10" presetClass="entr" presetSubtype="0" fill="hold" grpId="0" nodeType="after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fade">
                                      <p:cBhvr>
                                        <p:cTn id="52" dur="500"/>
                                        <p:tgtEl>
                                          <p:spTgt spid="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8"/>
                                        </p:tgtEl>
                                        <p:attrNameLst>
                                          <p:attrName>style.visibility</p:attrName>
                                        </p:attrNameLst>
                                      </p:cBhvr>
                                      <p:to>
                                        <p:strVal val="visible"/>
                                      </p:to>
                                    </p:set>
                                    <p:animEffect transition="in" filter="fade">
                                      <p:cBhvr>
                                        <p:cTn id="55" dur="500"/>
                                        <p:tgtEl>
                                          <p:spTgt spid="5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73"/>
                                        </p:tgtEl>
                                        <p:attrNameLst>
                                          <p:attrName>style.visibility</p:attrName>
                                        </p:attrNameLst>
                                      </p:cBhvr>
                                      <p:to>
                                        <p:strVal val="visible"/>
                                      </p:to>
                                    </p:set>
                                    <p:animEffect transition="in" filter="fade">
                                      <p:cBhvr>
                                        <p:cTn id="60" dur="500"/>
                                        <p:tgtEl>
                                          <p:spTgt spid="73"/>
                                        </p:tgtEl>
                                      </p:cBhvr>
                                    </p:animEffect>
                                  </p:childTnLst>
                                </p:cTn>
                              </p:par>
                            </p:childTnLst>
                          </p:cTn>
                        </p:par>
                        <p:par>
                          <p:cTn id="61" fill="hold">
                            <p:stCondLst>
                              <p:cond delay="500"/>
                            </p:stCondLst>
                            <p:childTnLst>
                              <p:par>
                                <p:cTn id="62" presetID="10" presetClass="entr" presetSubtype="0" fill="hold" nodeType="afterEffect">
                                  <p:stCondLst>
                                    <p:cond delay="0"/>
                                  </p:stCondLst>
                                  <p:childTnLst>
                                    <p:set>
                                      <p:cBhvr>
                                        <p:cTn id="63" dur="1" fill="hold">
                                          <p:stCondLst>
                                            <p:cond delay="0"/>
                                          </p:stCondLst>
                                        </p:cTn>
                                        <p:tgtEl>
                                          <p:spTgt spid="93"/>
                                        </p:tgtEl>
                                        <p:attrNameLst>
                                          <p:attrName>style.visibility</p:attrName>
                                        </p:attrNameLst>
                                      </p:cBhvr>
                                      <p:to>
                                        <p:strVal val="visible"/>
                                      </p:to>
                                    </p:set>
                                    <p:animEffect transition="in" filter="fade">
                                      <p:cBhvr>
                                        <p:cTn id="64" dur="500"/>
                                        <p:tgtEl>
                                          <p:spTgt spid="93"/>
                                        </p:tgtEl>
                                      </p:cBhvr>
                                    </p:animEffect>
                                  </p:childTnLst>
                                </p:cTn>
                              </p:par>
                            </p:childTnLst>
                          </p:cTn>
                        </p:par>
                        <p:par>
                          <p:cTn id="65" fill="hold">
                            <p:stCondLst>
                              <p:cond delay="1000"/>
                            </p:stCondLst>
                            <p:childTnLst>
                              <p:par>
                                <p:cTn id="66" presetID="10" presetClass="entr" presetSubtype="0" fill="hold" nodeType="afterEffect">
                                  <p:stCondLst>
                                    <p:cond delay="0"/>
                                  </p:stCondLst>
                                  <p:childTnLst>
                                    <p:set>
                                      <p:cBhvr>
                                        <p:cTn id="67" dur="1" fill="hold">
                                          <p:stCondLst>
                                            <p:cond delay="0"/>
                                          </p:stCondLst>
                                        </p:cTn>
                                        <p:tgtEl>
                                          <p:spTgt spid="94"/>
                                        </p:tgtEl>
                                        <p:attrNameLst>
                                          <p:attrName>style.visibility</p:attrName>
                                        </p:attrNameLst>
                                      </p:cBhvr>
                                      <p:to>
                                        <p:strVal val="visible"/>
                                      </p:to>
                                    </p:set>
                                    <p:animEffect transition="in" filter="fade">
                                      <p:cBhvr>
                                        <p:cTn id="68" dur="500"/>
                                        <p:tgtEl>
                                          <p:spTgt spid="94"/>
                                        </p:tgtEl>
                                      </p:cBhvr>
                                    </p:animEffect>
                                  </p:childTnLst>
                                </p:cTn>
                              </p:par>
                            </p:childTnLst>
                          </p:cTn>
                        </p:par>
                        <p:par>
                          <p:cTn id="69" fill="hold">
                            <p:stCondLst>
                              <p:cond delay="1500"/>
                            </p:stCondLst>
                            <p:childTnLst>
                              <p:par>
                                <p:cTn id="70" presetID="10" presetClass="entr" presetSubtype="0" fill="hold" nodeType="afterEffect">
                                  <p:stCondLst>
                                    <p:cond delay="0"/>
                                  </p:stCondLst>
                                  <p:childTnLst>
                                    <p:set>
                                      <p:cBhvr>
                                        <p:cTn id="71" dur="1" fill="hold">
                                          <p:stCondLst>
                                            <p:cond delay="0"/>
                                          </p:stCondLst>
                                        </p:cTn>
                                        <p:tgtEl>
                                          <p:spTgt spid="97"/>
                                        </p:tgtEl>
                                        <p:attrNameLst>
                                          <p:attrName>style.visibility</p:attrName>
                                        </p:attrNameLst>
                                      </p:cBhvr>
                                      <p:to>
                                        <p:strVal val="visible"/>
                                      </p:to>
                                    </p:set>
                                    <p:animEffect transition="in" filter="fade">
                                      <p:cBhvr>
                                        <p:cTn id="72" dur="500"/>
                                        <p:tgtEl>
                                          <p:spTgt spid="97"/>
                                        </p:tgtEl>
                                      </p:cBhvr>
                                    </p:animEffect>
                                  </p:childTnLst>
                                </p:cTn>
                              </p:par>
                            </p:childTnLst>
                          </p:cTn>
                        </p:par>
                        <p:par>
                          <p:cTn id="73" fill="hold">
                            <p:stCondLst>
                              <p:cond delay="2000"/>
                            </p:stCondLst>
                            <p:childTnLst>
                              <p:par>
                                <p:cTn id="74" presetID="10" presetClass="entr" presetSubtype="0" fill="hold" grpId="0" nodeType="afterEffect">
                                  <p:stCondLst>
                                    <p:cond delay="0"/>
                                  </p:stCondLst>
                                  <p:childTnLst>
                                    <p:set>
                                      <p:cBhvr>
                                        <p:cTn id="75" dur="1" fill="hold">
                                          <p:stCondLst>
                                            <p:cond delay="0"/>
                                          </p:stCondLst>
                                        </p:cTn>
                                        <p:tgtEl>
                                          <p:spTgt spid="55"/>
                                        </p:tgtEl>
                                        <p:attrNameLst>
                                          <p:attrName>style.visibility</p:attrName>
                                        </p:attrNameLst>
                                      </p:cBhvr>
                                      <p:to>
                                        <p:strVal val="visible"/>
                                      </p:to>
                                    </p:set>
                                    <p:animEffect transition="in" filter="fade">
                                      <p:cBhvr>
                                        <p:cTn id="76" dur="500"/>
                                        <p:tgtEl>
                                          <p:spTgt spid="55"/>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56"/>
                                        </p:tgtEl>
                                        <p:attrNameLst>
                                          <p:attrName>style.visibility</p:attrName>
                                        </p:attrNameLst>
                                      </p:cBhvr>
                                      <p:to>
                                        <p:strVal val="visible"/>
                                      </p:to>
                                    </p:set>
                                    <p:animEffect transition="in" filter="fade">
                                      <p:cBhvr>
                                        <p:cTn id="79" dur="500"/>
                                        <p:tgtEl>
                                          <p:spTgt spid="56"/>
                                        </p:tgtEl>
                                      </p:cBhvr>
                                    </p:animEffect>
                                  </p:childTnLst>
                                </p:cTn>
                              </p:par>
                            </p:childTnLst>
                          </p:cTn>
                        </p:par>
                      </p:childTnLst>
                    </p:cTn>
                  </p:par>
                  <p:par>
                    <p:cTn id="80" fill="hold">
                      <p:stCondLst>
                        <p:cond delay="indefinite"/>
                      </p:stCondLst>
                      <p:childTnLst>
                        <p:par>
                          <p:cTn id="81" fill="hold">
                            <p:stCondLst>
                              <p:cond delay="0"/>
                            </p:stCondLst>
                            <p:childTnLst>
                              <p:par>
                                <p:cTn id="82" presetID="50" presetClass="path" presetSubtype="0" accel="50000" decel="50000" fill="hold" nodeType="clickEffect">
                                  <p:stCondLst>
                                    <p:cond delay="0"/>
                                  </p:stCondLst>
                                  <p:childTnLst>
                                    <p:animMotion origin="layout" path="M 4.28134E-6 -3.35452E-6 L -0.01443 -3.35452E-6 C -0.02081 -3.35452E-6 -0.0286 0.03201 -0.0286 0.05833 L -0.0286 0.11757 " pathEditMode="relative" rAng="0" ptsTypes="AAAA">
                                      <p:cBhvr>
                                        <p:cTn id="83" dur="1500" fill="hold"/>
                                        <p:tgtEl>
                                          <p:spTgt spid="73"/>
                                        </p:tgtEl>
                                        <p:attrNameLst>
                                          <p:attrName>ppt_x</p:attrName>
                                          <p:attrName>ppt_y</p:attrName>
                                        </p:attrNameLst>
                                      </p:cBhvr>
                                      <p:rCtr x="-1430" y="5878"/>
                                    </p:animMotion>
                                  </p:childTnLst>
                                </p:cTn>
                              </p:par>
                            </p:childTnLst>
                          </p:cTn>
                        </p:par>
                        <p:par>
                          <p:cTn id="84" fill="hold">
                            <p:stCondLst>
                              <p:cond delay="1500"/>
                            </p:stCondLst>
                            <p:childTnLst>
                              <p:par>
                                <p:cTn id="85" presetID="50" presetClass="path" presetSubtype="0" accel="50000" decel="50000" fill="hold" nodeType="afterEffect">
                                  <p:stCondLst>
                                    <p:cond delay="0"/>
                                  </p:stCondLst>
                                  <p:childTnLst>
                                    <p:animMotion origin="layout" path="M 4.28134E-6 2.72356E-8 L 0.05833 2.72356E-8 C 0.0845 2.72356E-8 0.11705 0.04244 0.11705 0.07717 L 0.11705 0.15502 " pathEditMode="relative" rAng="0" ptsTypes="AAAA">
                                      <p:cBhvr>
                                        <p:cTn id="86" dur="1500" fill="hold"/>
                                        <p:tgtEl>
                                          <p:spTgt spid="93"/>
                                        </p:tgtEl>
                                        <p:attrNameLst>
                                          <p:attrName>ppt_x</p:attrName>
                                          <p:attrName>ppt_y</p:attrName>
                                        </p:attrNameLst>
                                      </p:cBhvr>
                                      <p:rCtr x="5846" y="7739"/>
                                    </p:animMotion>
                                  </p:childTnLst>
                                </p:cTn>
                              </p:par>
                            </p:childTnLst>
                          </p:cTn>
                        </p:par>
                        <p:par>
                          <p:cTn id="87" fill="hold">
                            <p:stCondLst>
                              <p:cond delay="3000"/>
                            </p:stCondLst>
                            <p:childTnLst>
                              <p:par>
                                <p:cTn id="88" presetID="50" presetClass="path" presetSubtype="0" accel="50000" decel="50000" fill="hold" nodeType="afterEffect">
                                  <p:stCondLst>
                                    <p:cond delay="0"/>
                                  </p:stCondLst>
                                  <p:childTnLst>
                                    <p:animMotion origin="layout" path="M 4.28134E-6 -1.40717E-6 L 0.0591 -1.40717E-6 C 0.08565 -1.40717E-6 0.11871 0.09578 0.11871 0.17408 L 0.11871 0.34862 " pathEditMode="relative" rAng="0" ptsTypes="AAAA">
                                      <p:cBhvr>
                                        <p:cTn id="89" dur="1500" fill="hold"/>
                                        <p:tgtEl>
                                          <p:spTgt spid="94"/>
                                        </p:tgtEl>
                                        <p:attrNameLst>
                                          <p:attrName>ppt_x</p:attrName>
                                          <p:attrName>ppt_y</p:attrName>
                                        </p:attrNameLst>
                                      </p:cBhvr>
                                      <p:rCtr x="5936" y="17431"/>
                                    </p:animMotion>
                                  </p:childTnLst>
                                </p:cTn>
                              </p:par>
                              <p:par>
                                <p:cTn id="90" presetID="10" presetClass="exit" presetSubtype="0" fill="hold" grpId="1" nodeType="withEffect">
                                  <p:stCondLst>
                                    <p:cond delay="0"/>
                                  </p:stCondLst>
                                  <p:childTnLst>
                                    <p:animEffect transition="out" filter="fade">
                                      <p:cBhvr>
                                        <p:cTn id="91" dur="500"/>
                                        <p:tgtEl>
                                          <p:spTgt spid="55"/>
                                        </p:tgtEl>
                                      </p:cBhvr>
                                    </p:animEffect>
                                    <p:set>
                                      <p:cBhvr>
                                        <p:cTn id="92" dur="1" fill="hold">
                                          <p:stCondLst>
                                            <p:cond delay="499"/>
                                          </p:stCondLst>
                                        </p:cTn>
                                        <p:tgtEl>
                                          <p:spTgt spid="55"/>
                                        </p:tgtEl>
                                        <p:attrNameLst>
                                          <p:attrName>style.visibility</p:attrName>
                                        </p:attrNameLst>
                                      </p:cBhvr>
                                      <p:to>
                                        <p:strVal val="hidden"/>
                                      </p:to>
                                    </p:set>
                                  </p:childTnLst>
                                </p:cTn>
                              </p:par>
                            </p:childTnLst>
                          </p:cTn>
                        </p:par>
                        <p:par>
                          <p:cTn id="93" fill="hold">
                            <p:stCondLst>
                              <p:cond delay="4500"/>
                            </p:stCondLst>
                            <p:childTnLst>
                              <p:par>
                                <p:cTn id="94" presetID="50" presetClass="path" presetSubtype="0" accel="50000" decel="50000" fill="hold" nodeType="afterEffect">
                                  <p:stCondLst>
                                    <p:cond delay="0"/>
                                  </p:stCondLst>
                                  <p:childTnLst>
                                    <p:animMotion origin="layout" path="M 4.28134E-6 3.26827E-6 L -0.01609 3.26827E-6 C -0.02311 3.26827E-6 -0.03179 0.11302 -0.03179 0.20517 L -0.03179 0.41125 " pathEditMode="relative" rAng="0" ptsTypes="AAAA">
                                      <p:cBhvr>
                                        <p:cTn id="95" dur="1500" fill="hold"/>
                                        <p:tgtEl>
                                          <p:spTgt spid="97"/>
                                        </p:tgtEl>
                                        <p:attrNameLst>
                                          <p:attrName>ppt_x</p:attrName>
                                          <p:attrName>ppt_y</p:attrName>
                                        </p:attrNameLst>
                                      </p:cBhvr>
                                      <p:rCtr x="-1596" y="20563"/>
                                    </p:animMotion>
                                  </p:childTnLst>
                                </p:cTn>
                              </p:par>
                              <p:par>
                                <p:cTn id="96" presetID="10" presetClass="exit" presetSubtype="0" fill="hold" grpId="1" nodeType="withEffect">
                                  <p:stCondLst>
                                    <p:cond delay="0"/>
                                  </p:stCondLst>
                                  <p:childTnLst>
                                    <p:animEffect transition="out" filter="fade">
                                      <p:cBhvr>
                                        <p:cTn id="97" dur="500"/>
                                        <p:tgtEl>
                                          <p:spTgt spid="56"/>
                                        </p:tgtEl>
                                      </p:cBhvr>
                                    </p:animEffect>
                                    <p:set>
                                      <p:cBhvr>
                                        <p:cTn id="98" dur="1" fill="hold">
                                          <p:stCondLst>
                                            <p:cond delay="499"/>
                                          </p:stCondLst>
                                        </p:cTn>
                                        <p:tgtEl>
                                          <p:spTgt spid="56"/>
                                        </p:tgtEl>
                                        <p:attrNameLst>
                                          <p:attrName>style.visibility</p:attrName>
                                        </p:attrNameLst>
                                      </p:cBhvr>
                                      <p:to>
                                        <p:strVal val="hidden"/>
                                      </p:to>
                                    </p:se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nodeType="clickEffect">
                                  <p:stCondLst>
                                    <p:cond delay="0"/>
                                  </p:stCondLst>
                                  <p:childTnLst>
                                    <p:set>
                                      <p:cBhvr>
                                        <p:cTn id="102" dur="1" fill="hold">
                                          <p:stCondLst>
                                            <p:cond delay="0"/>
                                          </p:stCondLst>
                                        </p:cTn>
                                        <p:tgtEl>
                                          <p:spTgt spid="127"/>
                                        </p:tgtEl>
                                        <p:attrNameLst>
                                          <p:attrName>style.visibility</p:attrName>
                                        </p:attrNameLst>
                                      </p:cBhvr>
                                      <p:to>
                                        <p:strVal val="visible"/>
                                      </p:to>
                                    </p:set>
                                    <p:animEffect transition="in" filter="fade">
                                      <p:cBhvr>
                                        <p:cTn id="103" dur="500"/>
                                        <p:tgtEl>
                                          <p:spTgt spid="1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7" grpId="0" animBg="1"/>
      <p:bldP spid="54" grpId="0" animBg="1"/>
      <p:bldP spid="57" grpId="0" animBg="1"/>
      <p:bldP spid="60" grpId="0" animBg="1"/>
      <p:bldP spid="90" grpId="0" animBg="1"/>
      <p:bldP spid="72" grpId="0"/>
      <p:bldP spid="50" grpId="0" animBg="1"/>
      <p:bldP spid="51" grpId="0" animBg="1"/>
      <p:bldP spid="62" grpId="0" animBg="1"/>
      <p:bldP spid="63" grpId="0" animBg="1"/>
      <p:bldP spid="3" grpId="0" animBg="1"/>
      <p:bldP spid="6" grpId="0"/>
      <p:bldP spid="55" grpId="0" animBg="1"/>
      <p:bldP spid="55" grpId="1" animBg="1"/>
      <p:bldP spid="56" grpId="0" animBg="1"/>
      <p:bldP spid="56" grpId="1" animBg="1"/>
      <p:bldP spid="58"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dirty="0"/>
              <a:t>HPC cluster deployed in the cloud</a:t>
            </a:r>
          </a:p>
          <a:p>
            <a:endParaRPr lang="en-US" dirty="0"/>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564221" cy="4700587"/>
          </a:xfrm>
        </p:spPr>
        <p:txBody>
          <a:bodyPr/>
          <a:lstStyle/>
          <a:p>
            <a:r>
              <a:rPr lang="en-US" dirty="0"/>
              <a:t>High performance computing (HPC) applications can scale to thousands of compute </a:t>
            </a:r>
            <a:r>
              <a:rPr lang="en-US"/>
              <a:t>cores that run </a:t>
            </a:r>
            <a:r>
              <a:rPr lang="en-US" dirty="0"/>
              <a:t>as a 100% cloud native solution. This HPC solution including the head node, compute nodes, and storage nodes, runs in Azure with no hardware infrastructure to maintain.</a:t>
            </a:r>
          </a:p>
          <a:p>
            <a:r>
              <a:rPr lang="en-US" dirty="0"/>
              <a:t>This solution is built on the Azure managed services: </a:t>
            </a:r>
            <a:r>
              <a:rPr lang="en-US" dirty="0">
                <a:hlinkClick r:id="rId3"/>
              </a:rPr>
              <a:t>Virtual Machine Scale Sets</a:t>
            </a:r>
            <a:r>
              <a:rPr lang="en-US" dirty="0"/>
              <a:t>, </a:t>
            </a:r>
            <a:r>
              <a:rPr lang="en-US" dirty="0">
                <a:hlinkClick r:id="rId4"/>
              </a:rPr>
              <a:t>Virtual Network</a:t>
            </a:r>
            <a:r>
              <a:rPr lang="en-US" dirty="0"/>
              <a:t> and </a:t>
            </a:r>
            <a:r>
              <a:rPr lang="en-US" dirty="0">
                <a:hlinkClick r:id="rId5"/>
              </a:rPr>
              <a:t>Storage</a:t>
            </a:r>
            <a:r>
              <a:rPr lang="en-US" dirty="0"/>
              <a:t>. These services run in a high-availability environment, patched and supported, allowing you to focus on your solution instead of the environment they run in. </a:t>
            </a:r>
          </a:p>
          <a:p>
            <a:endParaRPr lang="en-US" dirty="0"/>
          </a:p>
        </p:txBody>
      </p:sp>
      <p:pic>
        <p:nvPicPr>
          <p:cNvPr id="6" name="Picture 5"/>
          <p:cNvPicPr>
            <a:picLocks noChangeAspect="1"/>
          </p:cNvPicPr>
          <p:nvPr/>
        </p:nvPicPr>
        <p:blipFill>
          <a:blip r:embed="rId6"/>
          <a:stretch>
            <a:fillRect/>
          </a:stretch>
        </p:blipFill>
        <p:spPr>
          <a:xfrm>
            <a:off x="5680957" y="1578419"/>
            <a:ext cx="6255038" cy="5188146"/>
          </a:xfrm>
          <a:prstGeom prst="rect">
            <a:avLst/>
          </a:prstGeom>
        </p:spPr>
      </p:pic>
    </p:spTree>
    <p:extLst>
      <p:ext uri="{BB962C8B-B14F-4D97-AF65-F5344CB8AC3E}">
        <p14:creationId xmlns:p14="http://schemas.microsoft.com/office/powerpoint/2010/main" val="3379888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pc="-100" dirty="0"/>
              <a:t>On-premises HPC implementation bursting to Azure</a:t>
            </a:r>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038928" cy="4700587"/>
          </a:xfrm>
        </p:spPr>
        <p:txBody>
          <a:bodyPr>
            <a:normAutofit/>
          </a:bodyPr>
          <a:lstStyle/>
          <a:p>
            <a:r>
              <a:rPr lang="en-US" dirty="0"/>
              <a:t>High performance computing (HPC) applications can extend on-premises big compute. This HPC solution can extend its computational capacity by leveraging the compute-intensive instances of Virtual Machines running in Azure and accessed via Express Route or VPN.</a:t>
            </a:r>
          </a:p>
          <a:p>
            <a:r>
              <a:rPr lang="en-US" dirty="0"/>
              <a:t>This solution is built on the Azure managed services: </a:t>
            </a:r>
            <a:r>
              <a:rPr lang="en-US" dirty="0">
                <a:hlinkClick r:id="rId3"/>
              </a:rPr>
              <a:t>Virtual Machines</a:t>
            </a:r>
            <a:r>
              <a:rPr lang="en-US" dirty="0"/>
              <a:t>, </a:t>
            </a:r>
            <a:r>
              <a:rPr lang="en-US" dirty="0">
                <a:hlinkClick r:id="rId4"/>
              </a:rPr>
              <a:t>Virtual Network</a:t>
            </a:r>
            <a:r>
              <a:rPr lang="en-US" dirty="0"/>
              <a:t>, </a:t>
            </a:r>
            <a:r>
              <a:rPr lang="en-US" dirty="0">
                <a:hlinkClick r:id="rId5"/>
              </a:rPr>
              <a:t>VPN Gateway</a:t>
            </a:r>
            <a:r>
              <a:rPr lang="en-US" dirty="0"/>
              <a:t>, </a:t>
            </a:r>
            <a:r>
              <a:rPr lang="en-US" dirty="0">
                <a:hlinkClick r:id="rId6"/>
              </a:rPr>
              <a:t>ExpressRoute</a:t>
            </a:r>
            <a:r>
              <a:rPr lang="en-US" dirty="0"/>
              <a:t> and </a:t>
            </a:r>
            <a:r>
              <a:rPr lang="en-US" dirty="0">
                <a:hlinkClick r:id="rId7"/>
              </a:rPr>
              <a:t>Storage</a:t>
            </a:r>
            <a:r>
              <a:rPr lang="en-US" dirty="0"/>
              <a:t>. These services run in a high-availability environment, patched and supported, allowing you to focus on your solution instead of the environment they run in. </a:t>
            </a:r>
          </a:p>
        </p:txBody>
      </p:sp>
      <p:pic>
        <p:nvPicPr>
          <p:cNvPr id="7" name="Picture 6"/>
          <p:cNvPicPr>
            <a:picLocks noChangeAspect="1"/>
          </p:cNvPicPr>
          <p:nvPr/>
        </p:nvPicPr>
        <p:blipFill rotWithShape="1">
          <a:blip r:embed="rId8"/>
          <a:srcRect l="17957" r="18846"/>
          <a:stretch/>
        </p:blipFill>
        <p:spPr>
          <a:xfrm>
            <a:off x="5038929" y="2234844"/>
            <a:ext cx="7042824" cy="4286250"/>
          </a:xfrm>
          <a:prstGeom prst="rect">
            <a:avLst/>
          </a:prstGeom>
        </p:spPr>
      </p:pic>
    </p:spTree>
    <p:extLst>
      <p:ext uri="{BB962C8B-B14F-4D97-AF65-F5344CB8AC3E}">
        <p14:creationId xmlns:p14="http://schemas.microsoft.com/office/powerpoint/2010/main" val="3129814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a:t>
            </a:r>
            <a:r>
              <a:rPr lang="en-US" dirty="0" err="1"/>
              <a:t>microservices</a:t>
            </a:r>
            <a:r>
              <a:rPr lang="en-US" dirty="0"/>
              <a:t>-based solutions</a:t>
            </a:r>
          </a:p>
        </p:txBody>
      </p:sp>
    </p:spTree>
    <p:extLst>
      <p:ext uri="{BB962C8B-B14F-4D97-AF65-F5344CB8AC3E}">
        <p14:creationId xmlns:p14="http://schemas.microsoft.com/office/powerpoint/2010/main" val="24129346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Image result for images of pail">
            <a:extLst>
              <a:ext uri="{FF2B5EF4-FFF2-40B4-BE49-F238E27FC236}">
                <a16:creationId xmlns:a16="http://schemas.microsoft.com/office/drawing/2014/main" id="{5A14A948-EB4D-4E90-8A5E-52669737FC7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9317"/>
            <a:ext cx="12192001" cy="68322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548482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284893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608978" y="0"/>
            <a:ext cx="11176000" cy="1141598"/>
          </a:xfrm>
        </p:spPr>
        <p:txBody>
          <a:bodyPr/>
          <a:lstStyle/>
          <a:p>
            <a:r>
              <a:rPr lang="en-US"/>
              <a:t>What is a Container?</a:t>
            </a:r>
          </a:p>
        </p:txBody>
      </p:sp>
      <p:pic>
        <p:nvPicPr>
          <p:cNvPr id="3" name="Picture 2"/>
          <p:cNvPicPr>
            <a:picLocks noChangeAspect="1"/>
          </p:cNvPicPr>
          <p:nvPr/>
        </p:nvPicPr>
        <p:blipFill>
          <a:blip r:embed="rId3"/>
          <a:stretch>
            <a:fillRect/>
          </a:stretch>
        </p:blipFill>
        <p:spPr>
          <a:xfrm>
            <a:off x="2203520" y="1141598"/>
            <a:ext cx="8132769" cy="5419814"/>
          </a:xfrm>
          <a:prstGeom prst="rect">
            <a:avLst/>
          </a:prstGeom>
        </p:spPr>
      </p:pic>
      <p:pic>
        <p:nvPicPr>
          <p:cNvPr id="3074" name="Picture 2" descr="Image result for santos brazil port">
            <a:extLst>
              <a:ext uri="{FF2B5EF4-FFF2-40B4-BE49-F238E27FC236}">
                <a16:creationId xmlns:a16="http://schemas.microsoft.com/office/drawing/2014/main" id="{07C65DA4-601D-46F7-9674-1610854F39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94175" y="1017117"/>
            <a:ext cx="8503166" cy="56687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9027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Tree>
    <p:extLst>
      <p:ext uri="{BB962C8B-B14F-4D97-AF65-F5344CB8AC3E}">
        <p14:creationId xmlns:p14="http://schemas.microsoft.com/office/powerpoint/2010/main" val="54229360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Tree>
    <p:extLst>
      <p:ext uri="{BB962C8B-B14F-4D97-AF65-F5344CB8AC3E}">
        <p14:creationId xmlns:p14="http://schemas.microsoft.com/office/powerpoint/2010/main" val="198385488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4" name="Rectangle 3"/>
          <p:cNvSpPr/>
          <p:nvPr/>
        </p:nvSpPr>
        <p:spPr bwMode="auto">
          <a:xfrm>
            <a:off x="6740141"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8" name="Rectangle 27"/>
          <p:cNvSpPr/>
          <p:nvPr/>
        </p:nvSpPr>
        <p:spPr>
          <a:xfrm>
            <a:off x="6990501"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6990503"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Tree>
    <p:extLst>
      <p:ext uri="{BB962C8B-B14F-4D97-AF65-F5344CB8AC3E}">
        <p14:creationId xmlns:p14="http://schemas.microsoft.com/office/powerpoint/2010/main" val="167928205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9721811"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331629"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6740141"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8549287"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8549288"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9802700"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6990501"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6990503"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9803421"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Tree>
    <p:extLst>
      <p:ext uri="{BB962C8B-B14F-4D97-AF65-F5344CB8AC3E}">
        <p14:creationId xmlns:p14="http://schemas.microsoft.com/office/powerpoint/2010/main" val="240613725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Why?</a:t>
            </a:r>
          </a:p>
        </p:txBody>
      </p:sp>
    </p:spTree>
    <p:extLst>
      <p:ext uri="{BB962C8B-B14F-4D97-AF65-F5344CB8AC3E}">
        <p14:creationId xmlns:p14="http://schemas.microsoft.com/office/powerpoint/2010/main" val="895873413"/>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Lightweight</a:t>
            </a:r>
          </a:p>
        </p:txBody>
      </p:sp>
    </p:spTree>
    <p:extLst>
      <p:ext uri="{BB962C8B-B14F-4D97-AF65-F5344CB8AC3E}">
        <p14:creationId xmlns:p14="http://schemas.microsoft.com/office/powerpoint/2010/main" val="3026271296"/>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Portable</a:t>
            </a:r>
          </a:p>
        </p:txBody>
      </p:sp>
    </p:spTree>
    <p:extLst>
      <p:ext uri="{BB962C8B-B14F-4D97-AF65-F5344CB8AC3E}">
        <p14:creationId xmlns:p14="http://schemas.microsoft.com/office/powerpoint/2010/main" val="1412796975"/>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127985" y="1529866"/>
            <a:ext cx="3936031" cy="3798270"/>
          </a:xfrm>
          <a:prstGeom prst="rect">
            <a:avLst/>
          </a:prstGeom>
        </p:spPr>
      </p:pic>
    </p:spTree>
    <p:extLst>
      <p:ext uri="{BB962C8B-B14F-4D97-AF65-F5344CB8AC3E}">
        <p14:creationId xmlns:p14="http://schemas.microsoft.com/office/powerpoint/2010/main" val="42199367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Image result for fire put out with water bucket">
            <a:extLst>
              <a:ext uri="{FF2B5EF4-FFF2-40B4-BE49-F238E27FC236}">
                <a16:creationId xmlns:a16="http://schemas.microsoft.com/office/drawing/2014/main" id="{9B22012A-2783-4E3C-9A75-457E2B089F0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19885" y="862206"/>
            <a:ext cx="5677980" cy="4884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277599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69498" y="2404986"/>
            <a:ext cx="10829676" cy="2031325"/>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Ok, I’ve got containers. </a:t>
            </a:r>
          </a:p>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Now what?</a:t>
            </a:r>
          </a:p>
        </p:txBody>
      </p:sp>
    </p:spTree>
    <p:extLst>
      <p:ext uri="{BB962C8B-B14F-4D97-AF65-F5344CB8AC3E}">
        <p14:creationId xmlns:p14="http://schemas.microsoft.com/office/powerpoint/2010/main" val="1471624942"/>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02155" y="2365798"/>
            <a:ext cx="10829676" cy="1828193"/>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Tree>
    <p:extLst>
      <p:ext uri="{BB962C8B-B14F-4D97-AF65-F5344CB8AC3E}">
        <p14:creationId xmlns:p14="http://schemas.microsoft.com/office/powerpoint/2010/main" val="1931445682"/>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7191746"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10350072"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959890"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7368402"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8" name="Rectangle 17"/>
          <p:cNvSpPr/>
          <p:nvPr/>
        </p:nvSpPr>
        <p:spPr>
          <a:xfrm>
            <a:off x="7103268"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7103268"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7103268"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9177548"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9177549"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10430961"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7618762"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7618764"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3548" y="321391"/>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
        <p:nvSpPr>
          <p:cNvPr id="10" name="Rectangle 9"/>
          <p:cNvSpPr/>
          <p:nvPr/>
        </p:nvSpPr>
        <p:spPr bwMode="auto">
          <a:xfrm>
            <a:off x="7368402"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7368402"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10431682"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2243731" y="1203587"/>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5402057" y="1756426"/>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4011875" y="1753701"/>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2420387" y="1763399"/>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2155253" y="5967743"/>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2155253" y="5487113"/>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2155253" y="5006483"/>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4229533" y="3600378"/>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4229534" y="2167909"/>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5482946" y="2167907"/>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670747" y="3616722"/>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670749" y="2184253"/>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2420387" y="4500435"/>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2420387" y="4085665"/>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5483667" y="3612009"/>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62" name="Rectangle 61">
            <a:extLst>
              <a:ext uri="{FF2B5EF4-FFF2-40B4-BE49-F238E27FC236}">
                <a16:creationId xmlns:a16="http://schemas.microsoft.com/office/drawing/2014/main" id="{A4EF9EF4-8E81-4AEB-A0ED-D1392384EB49}"/>
              </a:ext>
            </a:extLst>
          </p:cNvPr>
          <p:cNvSpPr/>
          <p:nvPr/>
        </p:nvSpPr>
        <p:spPr>
          <a:xfrm>
            <a:off x="526875" y="1273630"/>
            <a:ext cx="1075923" cy="3618130"/>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ntainer Orchestrator</a:t>
            </a:r>
          </a:p>
        </p:txBody>
      </p:sp>
    </p:spTree>
    <p:extLst>
      <p:ext uri="{BB962C8B-B14F-4D97-AF65-F5344CB8AC3E}">
        <p14:creationId xmlns:p14="http://schemas.microsoft.com/office/powerpoint/2010/main" val="3611169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7191746"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10350072"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959890"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7368402"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8" name="Rectangle 17"/>
          <p:cNvSpPr/>
          <p:nvPr/>
        </p:nvSpPr>
        <p:spPr>
          <a:xfrm>
            <a:off x="7103268"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7103268"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7103268"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9177548"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9177549"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10430961"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7618762"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7618764"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3548" y="321391"/>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
        <p:nvSpPr>
          <p:cNvPr id="10" name="Rectangle 9"/>
          <p:cNvSpPr/>
          <p:nvPr/>
        </p:nvSpPr>
        <p:spPr bwMode="auto">
          <a:xfrm>
            <a:off x="7368402"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7368402"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10431682"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2243731" y="1203587"/>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5402057" y="1756426"/>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4011875" y="1753701"/>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2420387" y="1763399"/>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2155253" y="5967743"/>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2155253" y="5487113"/>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2155253" y="5006483"/>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4229533" y="3600378"/>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4229534" y="2167909"/>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5482946" y="2167907"/>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670747" y="3616722"/>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670749" y="2184253"/>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2420387" y="4500435"/>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2420387" y="4085665"/>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5483667" y="3612009"/>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53" name="Rectangle 52">
            <a:extLst>
              <a:ext uri="{FF2B5EF4-FFF2-40B4-BE49-F238E27FC236}">
                <a16:creationId xmlns:a16="http://schemas.microsoft.com/office/drawing/2014/main" id="{3D181B9A-90CE-4933-BA80-373AC8E46B54}"/>
              </a:ext>
            </a:extLst>
          </p:cNvPr>
          <p:cNvSpPr/>
          <p:nvPr/>
        </p:nvSpPr>
        <p:spPr bwMode="auto">
          <a:xfrm>
            <a:off x="359280"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54" name="Rectangle 53">
            <a:extLst>
              <a:ext uri="{FF2B5EF4-FFF2-40B4-BE49-F238E27FC236}">
                <a16:creationId xmlns:a16="http://schemas.microsoft.com/office/drawing/2014/main" id="{E6F4295A-7FDB-4D21-94F7-ED4A6573A336}"/>
              </a:ext>
            </a:extLst>
          </p:cNvPr>
          <p:cNvSpPr/>
          <p:nvPr/>
        </p:nvSpPr>
        <p:spPr>
          <a:xfrm>
            <a:off x="341586" y="5973735"/>
            <a:ext cx="1455683"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55" name="Rectangle 54">
            <a:extLst>
              <a:ext uri="{FF2B5EF4-FFF2-40B4-BE49-F238E27FC236}">
                <a16:creationId xmlns:a16="http://schemas.microsoft.com/office/drawing/2014/main" id="{9AD38274-4396-492C-81B5-9C2CE555F9EE}"/>
              </a:ext>
            </a:extLst>
          </p:cNvPr>
          <p:cNvSpPr/>
          <p:nvPr/>
        </p:nvSpPr>
        <p:spPr>
          <a:xfrm>
            <a:off x="341586" y="5493105"/>
            <a:ext cx="1455683"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56" name="Rectangle 55">
            <a:extLst>
              <a:ext uri="{FF2B5EF4-FFF2-40B4-BE49-F238E27FC236}">
                <a16:creationId xmlns:a16="http://schemas.microsoft.com/office/drawing/2014/main" id="{C010CB4D-0C8F-4832-9667-AD9393E7CE52}"/>
              </a:ext>
            </a:extLst>
          </p:cNvPr>
          <p:cNvSpPr/>
          <p:nvPr/>
        </p:nvSpPr>
        <p:spPr>
          <a:xfrm>
            <a:off x="341586" y="4999510"/>
            <a:ext cx="1455683"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57" name="Rectangle 56">
            <a:extLst>
              <a:ext uri="{FF2B5EF4-FFF2-40B4-BE49-F238E27FC236}">
                <a16:creationId xmlns:a16="http://schemas.microsoft.com/office/drawing/2014/main" id="{17445BB9-B174-4D2D-AA83-0365D7316C50}"/>
              </a:ext>
            </a:extLst>
          </p:cNvPr>
          <p:cNvSpPr/>
          <p:nvPr/>
        </p:nvSpPr>
        <p:spPr>
          <a:xfrm>
            <a:off x="532251" y="4345294"/>
            <a:ext cx="1074351" cy="5464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62" name="Rectangle 61">
            <a:extLst>
              <a:ext uri="{FF2B5EF4-FFF2-40B4-BE49-F238E27FC236}">
                <a16:creationId xmlns:a16="http://schemas.microsoft.com/office/drawing/2014/main" id="{A4EF9EF4-8E81-4AEB-A0ED-D1392384EB49}"/>
              </a:ext>
            </a:extLst>
          </p:cNvPr>
          <p:cNvSpPr/>
          <p:nvPr/>
        </p:nvSpPr>
        <p:spPr>
          <a:xfrm>
            <a:off x="526875" y="1726334"/>
            <a:ext cx="1075923" cy="2605995"/>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ntainer Orchestrator</a:t>
            </a:r>
          </a:p>
        </p:txBody>
      </p:sp>
    </p:spTree>
    <p:extLst>
      <p:ext uri="{BB962C8B-B14F-4D97-AF65-F5344CB8AC3E}">
        <p14:creationId xmlns:p14="http://schemas.microsoft.com/office/powerpoint/2010/main" val="327105430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1"/>
          <p:cNvSpPr txBox="1">
            <a:spLocks/>
          </p:cNvSpPr>
          <p:nvPr/>
        </p:nvSpPr>
        <p:spPr>
          <a:xfrm>
            <a:off x="165180" y="-353726"/>
            <a:ext cx="654421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Service</a:t>
            </a:r>
            <a:endParaRPr sz="5300">
              <a:solidFill>
                <a:srgbClr val="353535"/>
              </a:solidFill>
            </a:endParaRPr>
          </a:p>
        </p:txBody>
      </p:sp>
      <p:grpSp>
        <p:nvGrpSpPr>
          <p:cNvPr id="34" name="Group 33"/>
          <p:cNvGrpSpPr/>
          <p:nvPr/>
        </p:nvGrpSpPr>
        <p:grpSpPr>
          <a:xfrm>
            <a:off x="6161336" y="1066763"/>
            <a:ext cx="5915303" cy="5088023"/>
            <a:chOff x="6417613" y="1088000"/>
            <a:chExt cx="6033917" cy="5189312"/>
          </a:xfrm>
        </p:grpSpPr>
        <p:sp>
          <p:nvSpPr>
            <p:cNvPr id="36" name="Rounded Rectangle 21"/>
            <p:cNvSpPr/>
            <p:nvPr/>
          </p:nvSpPr>
          <p:spPr bwMode="auto">
            <a:xfrm>
              <a:off x="6503686" y="1644137"/>
              <a:ext cx="5851606" cy="4633175"/>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75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AutoShape 3"/>
            <p:cNvSpPr>
              <a:spLocks noChangeAspect="1" noChangeArrowheads="1" noTextEdit="1"/>
            </p:cNvSpPr>
            <p:nvPr/>
          </p:nvSpPr>
          <p:spPr bwMode="auto">
            <a:xfrm>
              <a:off x="8390529" y="1404516"/>
              <a:ext cx="4061001" cy="384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38" name="Freeform 5"/>
            <p:cNvSpPr>
              <a:spLocks/>
            </p:cNvSpPr>
            <p:nvPr/>
          </p:nvSpPr>
          <p:spPr bwMode="auto">
            <a:xfrm>
              <a:off x="6503685" y="1088000"/>
              <a:ext cx="5851605" cy="2257085"/>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algn="ctr" defTabSz="896045">
                <a:defRPr/>
              </a:pPr>
              <a:r>
                <a:rPr lang="en-US" sz="3100" kern="0" dirty="0">
                  <a:solidFill>
                    <a:sysClr val="windowText" lastClr="000000"/>
                  </a:solidFill>
                </a:rPr>
                <a:t>Azure Container Service</a:t>
              </a:r>
            </a:p>
          </p:txBody>
        </p:sp>
        <p:sp>
          <p:nvSpPr>
            <p:cNvPr id="39" name="Freeform 17"/>
            <p:cNvSpPr>
              <a:spLocks/>
            </p:cNvSpPr>
            <p:nvPr/>
          </p:nvSpPr>
          <p:spPr bwMode="auto">
            <a:xfrm>
              <a:off x="10178085" y="3946175"/>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0" name="Freeform 18"/>
            <p:cNvSpPr>
              <a:spLocks/>
            </p:cNvSpPr>
            <p:nvPr/>
          </p:nvSpPr>
          <p:spPr bwMode="auto">
            <a:xfrm>
              <a:off x="8978423" y="394617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41" name="Picture 10" descr="http://devopscube.com/wp-content/uploads/2015/01/SWAR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02072" y="4159110"/>
              <a:ext cx="1143000" cy="95173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10930233" y="5449739"/>
              <a:ext cx="1075940"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Swarm</a:t>
              </a:r>
              <a:endParaRPr lang="en-US" kern="0" dirty="0">
                <a:solidFill>
                  <a:srgbClr val="F1F1F1"/>
                </a:solidFill>
              </a:endParaRPr>
            </a:p>
          </p:txBody>
        </p:sp>
        <p:sp>
          <p:nvSpPr>
            <p:cNvPr id="43" name="Freeform 17"/>
            <p:cNvSpPr>
              <a:spLocks/>
            </p:cNvSpPr>
            <p:nvPr/>
          </p:nvSpPr>
          <p:spPr bwMode="auto">
            <a:xfrm>
              <a:off x="11954184" y="3971046"/>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4" name="Freeform 18"/>
            <p:cNvSpPr>
              <a:spLocks/>
            </p:cNvSpPr>
            <p:nvPr/>
          </p:nvSpPr>
          <p:spPr bwMode="auto">
            <a:xfrm>
              <a:off x="10868455" y="3973117"/>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nvGrpSpPr>
            <p:cNvPr id="45" name="Group 44"/>
            <p:cNvGrpSpPr/>
            <p:nvPr/>
          </p:nvGrpSpPr>
          <p:grpSpPr>
            <a:xfrm>
              <a:off x="9127045" y="4185901"/>
              <a:ext cx="990174" cy="978311"/>
              <a:chOff x="8667280" y="4271101"/>
              <a:chExt cx="990174" cy="978311"/>
            </a:xfrm>
          </p:grpSpPr>
          <p:sp>
            <p:nvSpPr>
              <p:cNvPr id="71" name="Oval 14"/>
              <p:cNvSpPr>
                <a:spLocks noChangeArrowheads="1"/>
              </p:cNvSpPr>
              <p:nvPr/>
            </p:nvSpPr>
            <p:spPr bwMode="auto">
              <a:xfrm>
                <a:off x="8667280" y="4271101"/>
                <a:ext cx="990174" cy="9783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72" name="Picture 2" descr="https://mesosphere.com/wp-content/uploads/2016/04/logo-horizontal-styled.png"/>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8972" t="28232" r="59508" b="22874"/>
              <a:stretch/>
            </p:blipFill>
            <p:spPr bwMode="auto">
              <a:xfrm>
                <a:off x="8763542" y="4296264"/>
                <a:ext cx="797650" cy="927984"/>
              </a:xfrm>
              <a:prstGeom prst="rect">
                <a:avLst/>
              </a:prstGeom>
              <a:noFill/>
              <a:extLst>
                <a:ext uri="{909E8E84-426E-40DD-AFC4-6F175D3DCCD1}">
                  <a14:hiddenFill xmlns:a14="http://schemas.microsoft.com/office/drawing/2010/main">
                    <a:solidFill>
                      <a:srgbClr val="FFFFFF"/>
                    </a:solidFill>
                  </a14:hiddenFill>
                </a:ext>
              </a:extLst>
            </p:spPr>
          </p:pic>
        </p:grpSp>
        <p:sp>
          <p:nvSpPr>
            <p:cNvPr id="46" name="Rectangle 45"/>
            <p:cNvSpPr/>
            <p:nvPr/>
          </p:nvSpPr>
          <p:spPr>
            <a:xfrm>
              <a:off x="9087920" y="5449739"/>
              <a:ext cx="1068424"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DC/OS</a:t>
              </a:r>
              <a:endParaRPr lang="en-US" kern="0" dirty="0">
                <a:solidFill>
                  <a:srgbClr val="F1F1F1"/>
                </a:solidFill>
              </a:endParaRPr>
            </a:p>
          </p:txBody>
        </p:sp>
        <p:sp>
          <p:nvSpPr>
            <p:cNvPr id="47" name="Rectangle 46"/>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8" name="Rectangle 47"/>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9" name="Rectangle 48"/>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0" name="Rectangle 49"/>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1" name="Rectangle 50"/>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2" name="Freeform 51"/>
            <p:cNvSpPr>
              <a:spLocks/>
            </p:cNvSpPr>
            <p:nvPr/>
          </p:nvSpPr>
          <p:spPr bwMode="auto">
            <a:xfrm>
              <a:off x="6987755" y="396072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53" name="Freeform 17"/>
            <p:cNvSpPr>
              <a:spLocks/>
            </p:cNvSpPr>
            <p:nvPr/>
          </p:nvSpPr>
          <p:spPr bwMode="auto">
            <a:xfrm>
              <a:off x="8068326" y="3960724"/>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54" name="Picture 5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06313" y="4177775"/>
              <a:ext cx="942409" cy="914400"/>
            </a:xfrm>
            <a:prstGeom prst="rect">
              <a:avLst/>
            </a:prstGeom>
          </p:spPr>
        </p:pic>
        <p:sp>
          <p:nvSpPr>
            <p:cNvPr id="55" name="Rectangle 54"/>
            <p:cNvSpPr/>
            <p:nvPr/>
          </p:nvSpPr>
          <p:spPr>
            <a:xfrm>
              <a:off x="6939727" y="5455525"/>
              <a:ext cx="1406272"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Kubernetes</a:t>
              </a:r>
              <a:endParaRPr lang="en-US" kern="0" dirty="0">
                <a:solidFill>
                  <a:srgbClr val="F1F1F1"/>
                </a:solidFill>
              </a:endParaRPr>
            </a:p>
          </p:txBody>
        </p:sp>
        <p:grpSp>
          <p:nvGrpSpPr>
            <p:cNvPr id="56" name="Group 55"/>
            <p:cNvGrpSpPr/>
            <p:nvPr/>
          </p:nvGrpSpPr>
          <p:grpSpPr>
            <a:xfrm>
              <a:off x="7375778" y="2889307"/>
              <a:ext cx="409967" cy="1015565"/>
              <a:chOff x="7179271" y="3040062"/>
              <a:chExt cx="409967" cy="1015565"/>
            </a:xfrm>
          </p:grpSpPr>
          <p:sp>
            <p:nvSpPr>
              <p:cNvPr id="67"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8"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9"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70"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7" name="Group 56"/>
            <p:cNvGrpSpPr/>
            <p:nvPr/>
          </p:nvGrpSpPr>
          <p:grpSpPr>
            <a:xfrm>
              <a:off x="9417757" y="2889307"/>
              <a:ext cx="409967" cy="1015565"/>
              <a:chOff x="7179271" y="3040062"/>
              <a:chExt cx="409967" cy="1015565"/>
            </a:xfrm>
          </p:grpSpPr>
          <p:sp>
            <p:nvSpPr>
              <p:cNvPr id="63"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4"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5"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6"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8" name="Group 57"/>
            <p:cNvGrpSpPr/>
            <p:nvPr/>
          </p:nvGrpSpPr>
          <p:grpSpPr>
            <a:xfrm>
              <a:off x="11264920" y="2889307"/>
              <a:ext cx="409967" cy="1015565"/>
              <a:chOff x="7179271" y="3040062"/>
              <a:chExt cx="409967" cy="1015565"/>
            </a:xfrm>
          </p:grpSpPr>
          <p:sp>
            <p:nvSpPr>
              <p:cNvPr id="59"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0"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1"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2"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sp>
        <p:nvSpPr>
          <p:cNvPr id="2" name="TextBox 1">
            <a:extLst>
              <a:ext uri="{FF2B5EF4-FFF2-40B4-BE49-F238E27FC236}">
                <a16:creationId xmlns:a16="http://schemas.microsoft.com/office/drawing/2014/main" id="{583E6392-CBB0-4F2B-AFA1-B85332B1C9C3}"/>
              </a:ext>
            </a:extLst>
          </p:cNvPr>
          <p:cNvSpPr txBox="1"/>
          <p:nvPr/>
        </p:nvSpPr>
        <p:spPr>
          <a:xfrm>
            <a:off x="351910" y="1515260"/>
            <a:ext cx="5736576" cy="456740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Making containers in Azure EZ!</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andard Docker tooling &amp; API Support</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reamlined provisioning of K8S, DCOS, and Docker Swarm</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Linux &amp; Windows Server Container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zure &amp; Azure Stack</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ACS --&gt; AKS (Preview)</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ocus on Kubernet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anaged Orchestrator</a:t>
            </a:r>
          </a:p>
        </p:txBody>
      </p:sp>
    </p:spTree>
    <p:extLst>
      <p:ext uri="{BB962C8B-B14F-4D97-AF65-F5344CB8AC3E}">
        <p14:creationId xmlns:p14="http://schemas.microsoft.com/office/powerpoint/2010/main" val="824557701"/>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34523" y="2721848"/>
            <a:ext cx="11007020" cy="914096"/>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the point of all of this?!</a:t>
            </a:r>
          </a:p>
        </p:txBody>
      </p:sp>
    </p:spTree>
    <p:extLst>
      <p:ext uri="{BB962C8B-B14F-4D97-AF65-F5344CB8AC3E}">
        <p14:creationId xmlns:p14="http://schemas.microsoft.com/office/powerpoint/2010/main" val="1288215035"/>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ervices 101 </a:t>
            </a:r>
          </a:p>
        </p:txBody>
      </p:sp>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228144" y="1690688"/>
            <a:ext cx="7735712" cy="4351338"/>
          </a:xfrm>
        </p:spPr>
      </p:pic>
      <p:sp>
        <p:nvSpPr>
          <p:cNvPr id="3" name="Rectangle 2">
            <a:extLst>
              <a:ext uri="{FF2B5EF4-FFF2-40B4-BE49-F238E27FC236}">
                <a16:creationId xmlns:a16="http://schemas.microsoft.com/office/drawing/2014/main" id="{550D79CF-83ED-4FD7-93B5-F6A32F0AE004}"/>
              </a:ext>
            </a:extLst>
          </p:cNvPr>
          <p:cNvSpPr/>
          <p:nvPr/>
        </p:nvSpPr>
        <p:spPr>
          <a:xfrm>
            <a:off x="5948854" y="1823544"/>
            <a:ext cx="4015001" cy="4218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6823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4939" y="355019"/>
            <a:ext cx="9382125" cy="5295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3380509" y="5942553"/>
            <a:ext cx="6096000" cy="646331"/>
          </a:xfrm>
          <a:prstGeom prst="rect">
            <a:avLst/>
          </a:prstGeom>
        </p:spPr>
        <p:txBody>
          <a:bodyPr lIns="91432" tIns="45715" rIns="91432" bIns="45715">
            <a:spAutoFit/>
          </a:bodyPr>
          <a:lstStyle/>
          <a:p>
            <a:r>
              <a:rPr lang="en-US" dirty="0">
                <a:solidFill>
                  <a:srgbClr val="313131"/>
                </a:solidFill>
                <a:latin typeface="&amp;quot"/>
              </a:rPr>
              <a:t>Microsoft: DEVOPS200.9x </a:t>
            </a:r>
            <a:r>
              <a:rPr lang="en-US" b="1" dirty="0">
                <a:solidFill>
                  <a:srgbClr val="313131"/>
                </a:solidFill>
                <a:latin typeface="&amp;quot"/>
              </a:rPr>
              <a:t>Architecting Distributed Cloud Applications</a:t>
            </a:r>
            <a:r>
              <a:rPr lang="en-US" dirty="0">
                <a:solidFill>
                  <a:srgbClr val="313131"/>
                </a:solidFill>
                <a:latin typeface="&amp;quot"/>
              </a:rPr>
              <a:t> </a:t>
            </a:r>
            <a:endParaRPr lang="en-US" b="0" i="0" u="none" strike="noStrike" dirty="0">
              <a:solidFill>
                <a:srgbClr val="313131"/>
              </a:solidFill>
              <a:effectLst/>
              <a:latin typeface="&amp;quot"/>
            </a:endParaRPr>
          </a:p>
        </p:txBody>
      </p:sp>
    </p:spTree>
    <p:extLst>
      <p:ext uri="{BB962C8B-B14F-4D97-AF65-F5344CB8AC3E}">
        <p14:creationId xmlns:p14="http://schemas.microsoft.com/office/powerpoint/2010/main" val="177582563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Content Placeholder 2"/>
          <p:cNvSpPr txBox="1">
            <a:spLocks/>
          </p:cNvSpPr>
          <p:nvPr/>
        </p:nvSpPr>
        <p:spPr>
          <a:xfrm>
            <a:off x="334454" y="1800992"/>
            <a:ext cx="7401157" cy="2290193"/>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1800">
                <a:solidFill>
                  <a:srgbClr val="353535"/>
                </a:solidFill>
                <a:latin typeface="Segoe UI Semibold" panose="020B0702040204020203" pitchFamily="34" charset="0"/>
                <a:cs typeface="Segoe UI Semibold" panose="020B0702040204020203" pitchFamily="34" charset="0"/>
              </a:rPr>
              <a:t>Simplest </a:t>
            </a:r>
            <a:r>
              <a:rPr lang="en-US" sz="1800" dirty="0">
                <a:solidFill>
                  <a:srgbClr val="353535"/>
                </a:solidFill>
                <a:latin typeface="Segoe UI Semibold" panose="020B0702040204020203" pitchFamily="34" charset="0"/>
                <a:cs typeface="Segoe UI Semibold" panose="020B0702040204020203" pitchFamily="34" charset="0"/>
              </a:rPr>
              <a:t>and easiest way to run individual containers in the cloud </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No VM management</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Per-second billing with customized resource requests</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Linux and Windows Server containers</a:t>
            </a:r>
          </a:p>
          <a:p>
            <a:pPr marL="0" indent="0" defTabSz="913961">
              <a:lnSpc>
                <a:spcPct val="100000"/>
              </a:lnSpc>
              <a:spcBef>
                <a:spcPts val="0"/>
              </a:spcBef>
              <a:spcAft>
                <a:spcPts val="1176"/>
              </a:spcAft>
              <a:buClr>
                <a:srgbClr val="FFFFFF"/>
              </a:buClr>
              <a:buNone/>
              <a:defRPr/>
            </a:pPr>
            <a:endParaRPr lang="en-US" sz="1800" dirty="0">
              <a:solidFill>
                <a:srgbClr val="353535"/>
              </a:soli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165182" y="-353726"/>
            <a:ext cx="9367115"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Instances (Preview)</a:t>
            </a:r>
            <a:endParaRPr sz="5300">
              <a:solidFill>
                <a:srgbClr val="353535"/>
              </a:solidFill>
            </a:endParaRPr>
          </a:p>
        </p:txBody>
      </p:sp>
      <p:pic>
        <p:nvPicPr>
          <p:cNvPr id="1026" name="Picture 2" descr="https://azure.microsoft.com/svghandler/container-instances/?width=600&amp;height=315">
            <a:extLst>
              <a:ext uri="{FF2B5EF4-FFF2-40B4-BE49-F238E27FC236}">
                <a16:creationId xmlns:a16="http://schemas.microsoft.com/office/drawing/2014/main" id="{15260989-AA26-4EAB-8AC9-423A887626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7126" y="1800992"/>
            <a:ext cx="5602655" cy="29418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6018908"/>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7.85293E-7 L -0.05284 -7.85293E-7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grpSp>
        <p:nvGrpSpPr>
          <p:cNvPr id="24" name="Group 23"/>
          <p:cNvGrpSpPr/>
          <p:nvPr/>
        </p:nvGrpSpPr>
        <p:grpSpPr>
          <a:xfrm>
            <a:off x="4827632" y="2271682"/>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5151215"/>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mIaa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783300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Image result for fire put out with water bucket">
            <a:extLst>
              <a:ext uri="{FF2B5EF4-FFF2-40B4-BE49-F238E27FC236}">
                <a16:creationId xmlns:a16="http://schemas.microsoft.com/office/drawing/2014/main" id="{2B3CBB39-78C5-4E31-A162-18E8423ABC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3877" y="1187160"/>
            <a:ext cx="8964248" cy="4482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865198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6" name="Straight Connector 375"/>
          <p:cNvCxnSpPr/>
          <p:nvPr/>
        </p:nvCxnSpPr>
        <p:spPr>
          <a:xfrm>
            <a:off x="1039783" y="1810247"/>
            <a:ext cx="226365" cy="132952"/>
          </a:xfrm>
          <a:prstGeom prst="line">
            <a:avLst/>
          </a:prstGeom>
          <a:noFill/>
          <a:ln w="6350" cap="flat" cmpd="sng" algn="ctr">
            <a:solidFill>
              <a:srgbClr val="5B9BD5"/>
            </a:solidFill>
            <a:prstDash val="solid"/>
            <a:miter lim="800000"/>
          </a:ln>
          <a:effectLst/>
        </p:spPr>
      </p:cxnSp>
      <p:cxnSp>
        <p:nvCxnSpPr>
          <p:cNvPr id="379" name="Straight Connector 378"/>
          <p:cNvCxnSpPr/>
          <p:nvPr/>
        </p:nvCxnSpPr>
        <p:spPr>
          <a:xfrm flipV="1">
            <a:off x="813450" y="1815953"/>
            <a:ext cx="226332" cy="127247"/>
          </a:xfrm>
          <a:prstGeom prst="line">
            <a:avLst/>
          </a:prstGeom>
          <a:noFill/>
          <a:ln w="6350" cap="flat" cmpd="sng" algn="ctr">
            <a:solidFill>
              <a:srgbClr val="5B9BD5"/>
            </a:solidFill>
            <a:prstDash val="solid"/>
            <a:miter lim="800000"/>
          </a:ln>
          <a:effectLst/>
        </p:spPr>
      </p:cxnSp>
      <p:cxnSp>
        <p:nvCxnSpPr>
          <p:cNvPr id="388" name="Straight Connector 387"/>
          <p:cNvCxnSpPr/>
          <p:nvPr/>
        </p:nvCxnSpPr>
        <p:spPr>
          <a:xfrm>
            <a:off x="1489715" y="1810247"/>
            <a:ext cx="226365" cy="132952"/>
          </a:xfrm>
          <a:prstGeom prst="line">
            <a:avLst/>
          </a:prstGeom>
          <a:noFill/>
          <a:ln w="6350" cap="flat" cmpd="sng" algn="ctr">
            <a:solidFill>
              <a:srgbClr val="5B9BD5"/>
            </a:solidFill>
            <a:prstDash val="solid"/>
            <a:miter lim="800000"/>
          </a:ln>
          <a:effectLst/>
        </p:spPr>
      </p:cxnSp>
      <p:cxnSp>
        <p:nvCxnSpPr>
          <p:cNvPr id="391" name="Straight Connector 390"/>
          <p:cNvCxnSpPr/>
          <p:nvPr/>
        </p:nvCxnSpPr>
        <p:spPr>
          <a:xfrm flipV="1">
            <a:off x="1263383" y="1815953"/>
            <a:ext cx="226332" cy="127247"/>
          </a:xfrm>
          <a:prstGeom prst="line">
            <a:avLst/>
          </a:prstGeom>
          <a:noFill/>
          <a:ln w="6350" cap="flat" cmpd="sng" algn="ctr">
            <a:solidFill>
              <a:srgbClr val="5B9BD5"/>
            </a:solidFill>
            <a:prstDash val="solid"/>
            <a:miter lim="800000"/>
          </a:ln>
          <a:effectLst/>
        </p:spPr>
      </p:cxnSp>
      <p:cxnSp>
        <p:nvCxnSpPr>
          <p:cNvPr id="400" name="Straight Connector 399"/>
          <p:cNvCxnSpPr/>
          <p:nvPr/>
        </p:nvCxnSpPr>
        <p:spPr>
          <a:xfrm>
            <a:off x="1942085" y="1810247"/>
            <a:ext cx="226365" cy="132952"/>
          </a:xfrm>
          <a:prstGeom prst="line">
            <a:avLst/>
          </a:prstGeom>
          <a:noFill/>
          <a:ln w="6350" cap="flat" cmpd="sng" algn="ctr">
            <a:solidFill>
              <a:srgbClr val="5B9BD5"/>
            </a:solidFill>
            <a:prstDash val="solid"/>
            <a:miter lim="800000"/>
          </a:ln>
          <a:effectLst/>
        </p:spPr>
      </p:cxnSp>
      <p:cxnSp>
        <p:nvCxnSpPr>
          <p:cNvPr id="403" name="Straight Connector 402"/>
          <p:cNvCxnSpPr/>
          <p:nvPr/>
        </p:nvCxnSpPr>
        <p:spPr>
          <a:xfrm flipV="1">
            <a:off x="1715752" y="1815953"/>
            <a:ext cx="226332" cy="127247"/>
          </a:xfrm>
          <a:prstGeom prst="line">
            <a:avLst/>
          </a:prstGeom>
          <a:noFill/>
          <a:ln w="6350" cap="flat" cmpd="sng" algn="ctr">
            <a:solidFill>
              <a:srgbClr val="5B9BD5"/>
            </a:solidFill>
            <a:prstDash val="solid"/>
            <a:miter lim="800000"/>
          </a:ln>
          <a:effectLst/>
        </p:spPr>
      </p:cxnSp>
      <p:cxnSp>
        <p:nvCxnSpPr>
          <p:cNvPr id="412" name="Straight Connector 411"/>
          <p:cNvCxnSpPr/>
          <p:nvPr/>
        </p:nvCxnSpPr>
        <p:spPr>
          <a:xfrm>
            <a:off x="2392018" y="1810247"/>
            <a:ext cx="226365" cy="132952"/>
          </a:xfrm>
          <a:prstGeom prst="line">
            <a:avLst/>
          </a:prstGeom>
          <a:noFill/>
          <a:ln w="6350" cap="flat" cmpd="sng" algn="ctr">
            <a:solidFill>
              <a:srgbClr val="5B9BD5"/>
            </a:solidFill>
            <a:prstDash val="solid"/>
            <a:miter lim="800000"/>
          </a:ln>
          <a:effectLst/>
        </p:spPr>
      </p:cxnSp>
      <p:cxnSp>
        <p:nvCxnSpPr>
          <p:cNvPr id="415" name="Straight Connector 414"/>
          <p:cNvCxnSpPr/>
          <p:nvPr/>
        </p:nvCxnSpPr>
        <p:spPr>
          <a:xfrm flipV="1">
            <a:off x="2165686" y="1815953"/>
            <a:ext cx="226332" cy="127247"/>
          </a:xfrm>
          <a:prstGeom prst="line">
            <a:avLst/>
          </a:prstGeom>
          <a:noFill/>
          <a:ln w="6350" cap="flat" cmpd="sng" algn="ctr">
            <a:solidFill>
              <a:srgbClr val="5B9BD5"/>
            </a:solidFill>
            <a:prstDash val="solid"/>
            <a:miter lim="800000"/>
          </a:ln>
          <a:effectLst/>
        </p:spPr>
      </p:cxnSp>
      <p:cxnSp>
        <p:nvCxnSpPr>
          <p:cNvPr id="424" name="Straight Connector 423"/>
          <p:cNvCxnSpPr/>
          <p:nvPr/>
        </p:nvCxnSpPr>
        <p:spPr>
          <a:xfrm>
            <a:off x="2838352" y="1810247"/>
            <a:ext cx="226365" cy="132952"/>
          </a:xfrm>
          <a:prstGeom prst="line">
            <a:avLst/>
          </a:prstGeom>
          <a:noFill/>
          <a:ln w="6350" cap="flat" cmpd="sng" algn="ctr">
            <a:solidFill>
              <a:srgbClr val="5B9BD5"/>
            </a:solidFill>
            <a:prstDash val="solid"/>
            <a:miter lim="800000"/>
          </a:ln>
          <a:effectLst/>
        </p:spPr>
      </p:cxnSp>
      <p:cxnSp>
        <p:nvCxnSpPr>
          <p:cNvPr id="427" name="Straight Connector 426"/>
          <p:cNvCxnSpPr/>
          <p:nvPr/>
        </p:nvCxnSpPr>
        <p:spPr>
          <a:xfrm flipV="1">
            <a:off x="2612018" y="1815953"/>
            <a:ext cx="226332" cy="127247"/>
          </a:xfrm>
          <a:prstGeom prst="line">
            <a:avLst/>
          </a:prstGeom>
          <a:noFill/>
          <a:ln w="6350" cap="flat" cmpd="sng" algn="ctr">
            <a:solidFill>
              <a:srgbClr val="5B9BD5"/>
            </a:solidFill>
            <a:prstDash val="solid"/>
            <a:miter lim="800000"/>
          </a:ln>
          <a:effectLst/>
        </p:spPr>
      </p:cxnSp>
      <p:cxnSp>
        <p:nvCxnSpPr>
          <p:cNvPr id="436" name="Straight Connector 435"/>
          <p:cNvCxnSpPr/>
          <p:nvPr/>
        </p:nvCxnSpPr>
        <p:spPr>
          <a:xfrm>
            <a:off x="3288284" y="1810247"/>
            <a:ext cx="226365" cy="132952"/>
          </a:xfrm>
          <a:prstGeom prst="line">
            <a:avLst/>
          </a:prstGeom>
          <a:noFill/>
          <a:ln w="6350" cap="flat" cmpd="sng" algn="ctr">
            <a:solidFill>
              <a:srgbClr val="5B9BD5"/>
            </a:solidFill>
            <a:prstDash val="solid"/>
            <a:miter lim="800000"/>
          </a:ln>
          <a:effectLst/>
        </p:spPr>
      </p:cxnSp>
      <p:cxnSp>
        <p:nvCxnSpPr>
          <p:cNvPr id="439" name="Straight Connector 438"/>
          <p:cNvCxnSpPr/>
          <p:nvPr/>
        </p:nvCxnSpPr>
        <p:spPr>
          <a:xfrm flipV="1">
            <a:off x="3061952" y="1815953"/>
            <a:ext cx="226332" cy="127247"/>
          </a:xfrm>
          <a:prstGeom prst="line">
            <a:avLst/>
          </a:prstGeom>
          <a:noFill/>
          <a:ln w="6350" cap="flat" cmpd="sng" algn="ctr">
            <a:solidFill>
              <a:srgbClr val="5B9BD5"/>
            </a:solidFill>
            <a:prstDash val="solid"/>
            <a:miter lim="800000"/>
          </a:ln>
          <a:effectLst/>
        </p:spPr>
      </p:cxnSp>
      <p:cxnSp>
        <p:nvCxnSpPr>
          <p:cNvPr id="448" name="Straight Connector 447"/>
          <p:cNvCxnSpPr/>
          <p:nvPr/>
        </p:nvCxnSpPr>
        <p:spPr>
          <a:xfrm>
            <a:off x="3740654" y="1810247"/>
            <a:ext cx="226365" cy="132952"/>
          </a:xfrm>
          <a:prstGeom prst="line">
            <a:avLst/>
          </a:prstGeom>
          <a:noFill/>
          <a:ln w="6350" cap="flat" cmpd="sng" algn="ctr">
            <a:solidFill>
              <a:srgbClr val="5B9BD5"/>
            </a:solidFill>
            <a:prstDash val="solid"/>
            <a:miter lim="800000"/>
          </a:ln>
          <a:effectLst/>
        </p:spPr>
      </p:cxnSp>
      <p:cxnSp>
        <p:nvCxnSpPr>
          <p:cNvPr id="451" name="Straight Connector 450"/>
          <p:cNvCxnSpPr/>
          <p:nvPr/>
        </p:nvCxnSpPr>
        <p:spPr>
          <a:xfrm flipV="1">
            <a:off x="3514321" y="1815953"/>
            <a:ext cx="226332" cy="127247"/>
          </a:xfrm>
          <a:prstGeom prst="line">
            <a:avLst/>
          </a:prstGeom>
          <a:noFill/>
          <a:ln w="6350" cap="flat" cmpd="sng" algn="ctr">
            <a:solidFill>
              <a:srgbClr val="5B9BD5"/>
            </a:solidFill>
            <a:prstDash val="solid"/>
            <a:miter lim="800000"/>
          </a:ln>
          <a:effectLst/>
        </p:spPr>
      </p:cxnSp>
      <p:cxnSp>
        <p:nvCxnSpPr>
          <p:cNvPr id="460" name="Straight Connector 459"/>
          <p:cNvCxnSpPr/>
          <p:nvPr/>
        </p:nvCxnSpPr>
        <p:spPr>
          <a:xfrm>
            <a:off x="4185138" y="1815474"/>
            <a:ext cx="226365" cy="132952"/>
          </a:xfrm>
          <a:prstGeom prst="line">
            <a:avLst/>
          </a:prstGeom>
          <a:noFill/>
          <a:ln w="6350" cap="flat" cmpd="sng" algn="ctr">
            <a:solidFill>
              <a:srgbClr val="5B9BD5"/>
            </a:solidFill>
            <a:prstDash val="solid"/>
            <a:miter lim="800000"/>
          </a:ln>
          <a:effectLst/>
        </p:spPr>
      </p:cxnSp>
      <p:cxnSp>
        <p:nvCxnSpPr>
          <p:cNvPr id="463" name="Straight Connector 462"/>
          <p:cNvCxnSpPr/>
          <p:nvPr/>
        </p:nvCxnSpPr>
        <p:spPr>
          <a:xfrm flipV="1">
            <a:off x="3968328" y="1815953"/>
            <a:ext cx="226332" cy="127247"/>
          </a:xfrm>
          <a:prstGeom prst="line">
            <a:avLst/>
          </a:prstGeom>
          <a:noFill/>
          <a:ln w="6350" cap="flat" cmpd="sng" algn="ctr">
            <a:solidFill>
              <a:srgbClr val="5B9BD5"/>
            </a:solidFill>
            <a:prstDash val="solid"/>
            <a:miter lim="800000"/>
          </a:ln>
          <a:effectLst/>
        </p:spPr>
      </p:cxnSp>
      <p:cxnSp>
        <p:nvCxnSpPr>
          <p:cNvPr id="472" name="Straight Connector 471"/>
          <p:cNvCxnSpPr/>
          <p:nvPr/>
        </p:nvCxnSpPr>
        <p:spPr>
          <a:xfrm>
            <a:off x="4647375" y="1811542"/>
            <a:ext cx="226365" cy="132952"/>
          </a:xfrm>
          <a:prstGeom prst="line">
            <a:avLst/>
          </a:prstGeom>
          <a:noFill/>
          <a:ln w="6350" cap="flat" cmpd="sng" algn="ctr">
            <a:solidFill>
              <a:srgbClr val="5B9BD5"/>
            </a:solidFill>
            <a:prstDash val="solid"/>
            <a:miter lim="800000"/>
          </a:ln>
          <a:effectLst/>
        </p:spPr>
      </p:cxnSp>
      <p:cxnSp>
        <p:nvCxnSpPr>
          <p:cNvPr id="475" name="Straight Connector 474"/>
          <p:cNvCxnSpPr/>
          <p:nvPr/>
        </p:nvCxnSpPr>
        <p:spPr>
          <a:xfrm flipV="1">
            <a:off x="4421042" y="1817248"/>
            <a:ext cx="226332" cy="127247"/>
          </a:xfrm>
          <a:prstGeom prst="line">
            <a:avLst/>
          </a:prstGeom>
          <a:noFill/>
          <a:ln w="6350" cap="flat" cmpd="sng" algn="ctr">
            <a:solidFill>
              <a:srgbClr val="5B9BD5"/>
            </a:solidFill>
            <a:prstDash val="solid"/>
            <a:miter lim="800000"/>
          </a:ln>
          <a:effectLst/>
        </p:spPr>
      </p:cxnSp>
      <p:cxnSp>
        <p:nvCxnSpPr>
          <p:cNvPr id="484" name="Straight Connector 483"/>
          <p:cNvCxnSpPr/>
          <p:nvPr/>
        </p:nvCxnSpPr>
        <p:spPr>
          <a:xfrm>
            <a:off x="5097307" y="1811542"/>
            <a:ext cx="226365" cy="132952"/>
          </a:xfrm>
          <a:prstGeom prst="line">
            <a:avLst/>
          </a:prstGeom>
          <a:noFill/>
          <a:ln w="6350" cap="flat" cmpd="sng" algn="ctr">
            <a:solidFill>
              <a:srgbClr val="5B9BD5"/>
            </a:solidFill>
            <a:prstDash val="solid"/>
            <a:miter lim="800000"/>
          </a:ln>
          <a:effectLst/>
        </p:spPr>
      </p:cxnSp>
      <p:cxnSp>
        <p:nvCxnSpPr>
          <p:cNvPr id="487" name="Straight Connector 486"/>
          <p:cNvCxnSpPr/>
          <p:nvPr/>
        </p:nvCxnSpPr>
        <p:spPr>
          <a:xfrm flipV="1">
            <a:off x="4870975" y="1817248"/>
            <a:ext cx="226332" cy="127247"/>
          </a:xfrm>
          <a:prstGeom prst="line">
            <a:avLst/>
          </a:prstGeom>
          <a:noFill/>
          <a:ln w="6350" cap="flat" cmpd="sng" algn="ctr">
            <a:solidFill>
              <a:srgbClr val="5B9BD5"/>
            </a:solidFill>
            <a:prstDash val="solid"/>
            <a:miter lim="800000"/>
          </a:ln>
          <a:effectLst/>
        </p:spPr>
      </p:cxnSp>
      <p:cxnSp>
        <p:nvCxnSpPr>
          <p:cNvPr id="496" name="Straight Connector 495"/>
          <p:cNvCxnSpPr/>
          <p:nvPr/>
        </p:nvCxnSpPr>
        <p:spPr>
          <a:xfrm>
            <a:off x="5545604" y="1811542"/>
            <a:ext cx="226365" cy="132952"/>
          </a:xfrm>
          <a:prstGeom prst="line">
            <a:avLst/>
          </a:prstGeom>
          <a:noFill/>
          <a:ln w="6350" cap="flat" cmpd="sng" algn="ctr">
            <a:solidFill>
              <a:srgbClr val="5B9BD5"/>
            </a:solidFill>
            <a:prstDash val="solid"/>
            <a:miter lim="800000"/>
          </a:ln>
          <a:effectLst/>
        </p:spPr>
      </p:cxnSp>
      <p:cxnSp>
        <p:nvCxnSpPr>
          <p:cNvPr id="499" name="Straight Connector 498"/>
          <p:cNvCxnSpPr/>
          <p:nvPr/>
        </p:nvCxnSpPr>
        <p:spPr>
          <a:xfrm flipV="1">
            <a:off x="5323344" y="1817248"/>
            <a:ext cx="226332" cy="127247"/>
          </a:xfrm>
          <a:prstGeom prst="line">
            <a:avLst/>
          </a:prstGeom>
          <a:noFill/>
          <a:ln w="6350" cap="flat" cmpd="sng" algn="ctr">
            <a:solidFill>
              <a:srgbClr val="5B9BD5"/>
            </a:solidFill>
            <a:prstDash val="solid"/>
            <a:miter lim="800000"/>
          </a:ln>
          <a:effectLst/>
        </p:spPr>
      </p:cxnSp>
      <p:cxnSp>
        <p:nvCxnSpPr>
          <p:cNvPr id="508" name="Straight Connector 507"/>
          <p:cNvCxnSpPr/>
          <p:nvPr/>
        </p:nvCxnSpPr>
        <p:spPr>
          <a:xfrm>
            <a:off x="6000084" y="1811542"/>
            <a:ext cx="226365" cy="132952"/>
          </a:xfrm>
          <a:prstGeom prst="line">
            <a:avLst/>
          </a:prstGeom>
          <a:noFill/>
          <a:ln w="6350" cap="flat" cmpd="sng" algn="ctr">
            <a:solidFill>
              <a:srgbClr val="5B9BD5"/>
            </a:solidFill>
            <a:prstDash val="solid"/>
            <a:miter lim="800000"/>
          </a:ln>
          <a:effectLst/>
        </p:spPr>
      </p:cxnSp>
      <p:cxnSp>
        <p:nvCxnSpPr>
          <p:cNvPr id="511" name="Straight Connector 510"/>
          <p:cNvCxnSpPr/>
          <p:nvPr/>
        </p:nvCxnSpPr>
        <p:spPr>
          <a:xfrm flipV="1">
            <a:off x="5773752" y="1817248"/>
            <a:ext cx="226332" cy="127247"/>
          </a:xfrm>
          <a:prstGeom prst="line">
            <a:avLst/>
          </a:prstGeom>
          <a:noFill/>
          <a:ln w="6350" cap="flat" cmpd="sng" algn="ctr">
            <a:solidFill>
              <a:srgbClr val="5B9BD5"/>
            </a:solidFill>
            <a:prstDash val="solid"/>
            <a:miter lim="800000"/>
          </a:ln>
          <a:effectLst/>
        </p:spPr>
      </p:cxnSp>
      <p:cxnSp>
        <p:nvCxnSpPr>
          <p:cNvPr id="520" name="Straight Connector 519"/>
          <p:cNvCxnSpPr/>
          <p:nvPr/>
        </p:nvCxnSpPr>
        <p:spPr>
          <a:xfrm>
            <a:off x="6450017" y="1811542"/>
            <a:ext cx="226365" cy="132952"/>
          </a:xfrm>
          <a:prstGeom prst="line">
            <a:avLst/>
          </a:prstGeom>
          <a:noFill/>
          <a:ln w="6350" cap="flat" cmpd="sng" algn="ctr">
            <a:solidFill>
              <a:srgbClr val="5B9BD5"/>
            </a:solidFill>
            <a:prstDash val="solid"/>
            <a:miter lim="800000"/>
          </a:ln>
          <a:effectLst/>
        </p:spPr>
      </p:cxnSp>
      <p:cxnSp>
        <p:nvCxnSpPr>
          <p:cNvPr id="523" name="Straight Connector 522"/>
          <p:cNvCxnSpPr/>
          <p:nvPr/>
        </p:nvCxnSpPr>
        <p:spPr>
          <a:xfrm flipV="1">
            <a:off x="6223684" y="1817248"/>
            <a:ext cx="226332" cy="127247"/>
          </a:xfrm>
          <a:prstGeom prst="line">
            <a:avLst/>
          </a:prstGeom>
          <a:noFill/>
          <a:ln w="6350" cap="flat" cmpd="sng" algn="ctr">
            <a:solidFill>
              <a:srgbClr val="5B9BD5"/>
            </a:solidFill>
            <a:prstDash val="solid"/>
            <a:miter lim="800000"/>
          </a:ln>
          <a:effectLst/>
        </p:spPr>
      </p:cxnSp>
      <p:cxnSp>
        <p:nvCxnSpPr>
          <p:cNvPr id="532" name="Straight Connector 531"/>
          <p:cNvCxnSpPr/>
          <p:nvPr/>
        </p:nvCxnSpPr>
        <p:spPr>
          <a:xfrm>
            <a:off x="6904023" y="1811542"/>
            <a:ext cx="226365" cy="132952"/>
          </a:xfrm>
          <a:prstGeom prst="line">
            <a:avLst/>
          </a:prstGeom>
          <a:noFill/>
          <a:ln w="6350" cap="flat" cmpd="sng" algn="ctr">
            <a:solidFill>
              <a:srgbClr val="5B9BD5"/>
            </a:solidFill>
            <a:prstDash val="solid"/>
            <a:miter lim="800000"/>
          </a:ln>
          <a:effectLst/>
        </p:spPr>
      </p:cxnSp>
      <p:cxnSp>
        <p:nvCxnSpPr>
          <p:cNvPr id="535" name="Straight Connector 534"/>
          <p:cNvCxnSpPr/>
          <p:nvPr/>
        </p:nvCxnSpPr>
        <p:spPr>
          <a:xfrm flipV="1">
            <a:off x="6677692" y="1817248"/>
            <a:ext cx="226332" cy="127247"/>
          </a:xfrm>
          <a:prstGeom prst="line">
            <a:avLst/>
          </a:prstGeom>
          <a:noFill/>
          <a:ln w="6350" cap="flat" cmpd="sng" algn="ctr">
            <a:solidFill>
              <a:srgbClr val="5B9BD5"/>
            </a:solidFill>
            <a:prstDash val="solid"/>
            <a:miter lim="800000"/>
          </a:ln>
          <a:effectLst/>
        </p:spPr>
      </p:cxnSp>
      <p:cxnSp>
        <p:nvCxnSpPr>
          <p:cNvPr id="544" name="Straight Connector 543"/>
          <p:cNvCxnSpPr/>
          <p:nvPr/>
        </p:nvCxnSpPr>
        <p:spPr>
          <a:xfrm>
            <a:off x="7359992" y="1811542"/>
            <a:ext cx="226365" cy="132952"/>
          </a:xfrm>
          <a:prstGeom prst="line">
            <a:avLst/>
          </a:prstGeom>
          <a:noFill/>
          <a:ln w="6350" cap="flat" cmpd="sng" algn="ctr">
            <a:solidFill>
              <a:srgbClr val="5B9BD5"/>
            </a:solidFill>
            <a:prstDash val="solid"/>
            <a:miter lim="800000"/>
          </a:ln>
          <a:effectLst/>
        </p:spPr>
      </p:cxnSp>
      <p:cxnSp>
        <p:nvCxnSpPr>
          <p:cNvPr id="547" name="Straight Connector 546"/>
          <p:cNvCxnSpPr/>
          <p:nvPr/>
        </p:nvCxnSpPr>
        <p:spPr>
          <a:xfrm flipV="1">
            <a:off x="7130061" y="1817248"/>
            <a:ext cx="226332" cy="127247"/>
          </a:xfrm>
          <a:prstGeom prst="line">
            <a:avLst/>
          </a:prstGeom>
          <a:noFill/>
          <a:ln w="6350" cap="flat" cmpd="sng" algn="ctr">
            <a:solidFill>
              <a:srgbClr val="5B9BD5"/>
            </a:solidFill>
            <a:prstDash val="solid"/>
            <a:miter lim="800000"/>
          </a:ln>
          <a:effectLst/>
        </p:spPr>
      </p:cxnSp>
      <p:cxnSp>
        <p:nvCxnSpPr>
          <p:cNvPr id="556" name="Straight Connector 555"/>
          <p:cNvCxnSpPr/>
          <p:nvPr/>
        </p:nvCxnSpPr>
        <p:spPr>
          <a:xfrm>
            <a:off x="7806325" y="1811542"/>
            <a:ext cx="226365" cy="132952"/>
          </a:xfrm>
          <a:prstGeom prst="line">
            <a:avLst/>
          </a:prstGeom>
          <a:noFill/>
          <a:ln w="6350" cap="flat" cmpd="sng" algn="ctr">
            <a:solidFill>
              <a:srgbClr val="5B9BD5"/>
            </a:solidFill>
            <a:prstDash val="solid"/>
            <a:miter lim="800000"/>
          </a:ln>
          <a:effectLst/>
        </p:spPr>
      </p:cxnSp>
      <p:cxnSp>
        <p:nvCxnSpPr>
          <p:cNvPr id="559" name="Straight Connector 558"/>
          <p:cNvCxnSpPr/>
          <p:nvPr/>
        </p:nvCxnSpPr>
        <p:spPr>
          <a:xfrm flipV="1">
            <a:off x="7583592" y="1817248"/>
            <a:ext cx="226332" cy="127247"/>
          </a:xfrm>
          <a:prstGeom prst="line">
            <a:avLst/>
          </a:prstGeom>
          <a:noFill/>
          <a:ln w="6350" cap="flat" cmpd="sng" algn="ctr">
            <a:solidFill>
              <a:srgbClr val="5B9BD5"/>
            </a:solidFill>
            <a:prstDash val="solid"/>
            <a:miter lim="800000"/>
          </a:ln>
          <a:effectLst/>
        </p:spPr>
      </p:cxnSp>
      <p:cxnSp>
        <p:nvCxnSpPr>
          <p:cNvPr id="568" name="Straight Connector 567"/>
          <p:cNvCxnSpPr/>
          <p:nvPr/>
        </p:nvCxnSpPr>
        <p:spPr>
          <a:xfrm>
            <a:off x="8261433" y="1815017"/>
            <a:ext cx="226365" cy="132952"/>
          </a:xfrm>
          <a:prstGeom prst="line">
            <a:avLst/>
          </a:prstGeom>
          <a:noFill/>
          <a:ln w="6350" cap="flat" cmpd="sng" algn="ctr">
            <a:solidFill>
              <a:srgbClr val="5B9BD5"/>
            </a:solidFill>
            <a:prstDash val="solid"/>
            <a:miter lim="800000"/>
          </a:ln>
          <a:effectLst/>
        </p:spPr>
      </p:cxnSp>
      <p:cxnSp>
        <p:nvCxnSpPr>
          <p:cNvPr id="571" name="Straight Connector 570"/>
          <p:cNvCxnSpPr/>
          <p:nvPr/>
        </p:nvCxnSpPr>
        <p:spPr>
          <a:xfrm flipV="1">
            <a:off x="8035100" y="1820721"/>
            <a:ext cx="226332" cy="127247"/>
          </a:xfrm>
          <a:prstGeom prst="line">
            <a:avLst/>
          </a:prstGeom>
          <a:noFill/>
          <a:ln w="6350" cap="flat" cmpd="sng" algn="ctr">
            <a:solidFill>
              <a:srgbClr val="5B9BD5"/>
            </a:solidFill>
            <a:prstDash val="solid"/>
            <a:miter lim="800000"/>
          </a:ln>
          <a:effectLst/>
        </p:spPr>
      </p:cxnSp>
      <p:cxnSp>
        <p:nvCxnSpPr>
          <p:cNvPr id="580" name="Straight Connector 579"/>
          <p:cNvCxnSpPr/>
          <p:nvPr/>
        </p:nvCxnSpPr>
        <p:spPr>
          <a:xfrm>
            <a:off x="8707766" y="1815017"/>
            <a:ext cx="226365" cy="132952"/>
          </a:xfrm>
          <a:prstGeom prst="line">
            <a:avLst/>
          </a:prstGeom>
          <a:noFill/>
          <a:ln w="6350" cap="flat" cmpd="sng" algn="ctr">
            <a:solidFill>
              <a:srgbClr val="5B9BD5"/>
            </a:solidFill>
            <a:prstDash val="solid"/>
            <a:miter lim="800000"/>
          </a:ln>
          <a:effectLst/>
        </p:spPr>
      </p:cxnSp>
      <p:cxnSp>
        <p:nvCxnSpPr>
          <p:cNvPr id="583" name="Straight Connector 582"/>
          <p:cNvCxnSpPr/>
          <p:nvPr/>
        </p:nvCxnSpPr>
        <p:spPr>
          <a:xfrm flipV="1">
            <a:off x="8485033" y="1820721"/>
            <a:ext cx="226332" cy="127247"/>
          </a:xfrm>
          <a:prstGeom prst="line">
            <a:avLst/>
          </a:prstGeom>
          <a:noFill/>
          <a:ln w="6350" cap="flat" cmpd="sng" algn="ctr">
            <a:solidFill>
              <a:srgbClr val="5B9BD5"/>
            </a:solidFill>
            <a:prstDash val="solid"/>
            <a:miter lim="800000"/>
          </a:ln>
          <a:effectLst/>
        </p:spPr>
      </p:cxnSp>
      <p:cxnSp>
        <p:nvCxnSpPr>
          <p:cNvPr id="592" name="Straight Connector 591"/>
          <p:cNvCxnSpPr/>
          <p:nvPr/>
        </p:nvCxnSpPr>
        <p:spPr>
          <a:xfrm>
            <a:off x="9144315" y="1815017"/>
            <a:ext cx="226365" cy="132952"/>
          </a:xfrm>
          <a:prstGeom prst="line">
            <a:avLst/>
          </a:prstGeom>
          <a:noFill/>
          <a:ln w="6350" cap="flat" cmpd="sng" algn="ctr">
            <a:solidFill>
              <a:srgbClr val="5B9BD5"/>
            </a:solidFill>
            <a:prstDash val="solid"/>
            <a:miter lim="800000"/>
          </a:ln>
          <a:effectLst/>
        </p:spPr>
      </p:cxnSp>
      <p:cxnSp>
        <p:nvCxnSpPr>
          <p:cNvPr id="595" name="Straight Connector 594"/>
          <p:cNvCxnSpPr/>
          <p:nvPr/>
        </p:nvCxnSpPr>
        <p:spPr>
          <a:xfrm flipV="1">
            <a:off x="8933803" y="1820721"/>
            <a:ext cx="226332" cy="127247"/>
          </a:xfrm>
          <a:prstGeom prst="line">
            <a:avLst/>
          </a:prstGeom>
          <a:noFill/>
          <a:ln w="6350" cap="flat" cmpd="sng" algn="ctr">
            <a:solidFill>
              <a:srgbClr val="5B9BD5"/>
            </a:solidFill>
            <a:prstDash val="solid"/>
            <a:miter lim="800000"/>
          </a:ln>
          <a:effectLst/>
        </p:spPr>
      </p:cxnSp>
      <p:cxnSp>
        <p:nvCxnSpPr>
          <p:cNvPr id="604" name="Straight Connector 603"/>
          <p:cNvCxnSpPr/>
          <p:nvPr/>
        </p:nvCxnSpPr>
        <p:spPr>
          <a:xfrm>
            <a:off x="9603819" y="1815017"/>
            <a:ext cx="226365" cy="132952"/>
          </a:xfrm>
          <a:prstGeom prst="line">
            <a:avLst/>
          </a:prstGeom>
          <a:noFill/>
          <a:ln w="6350" cap="flat" cmpd="sng" algn="ctr">
            <a:solidFill>
              <a:srgbClr val="5B9BD5"/>
            </a:solidFill>
            <a:prstDash val="solid"/>
            <a:miter lim="800000"/>
          </a:ln>
          <a:effectLst/>
        </p:spPr>
      </p:cxnSp>
      <p:cxnSp>
        <p:nvCxnSpPr>
          <p:cNvPr id="607" name="Straight Connector 606"/>
          <p:cNvCxnSpPr/>
          <p:nvPr/>
        </p:nvCxnSpPr>
        <p:spPr>
          <a:xfrm flipV="1">
            <a:off x="9377486" y="1820721"/>
            <a:ext cx="226332" cy="127247"/>
          </a:xfrm>
          <a:prstGeom prst="line">
            <a:avLst/>
          </a:prstGeom>
          <a:noFill/>
          <a:ln w="6350" cap="flat" cmpd="sng" algn="ctr">
            <a:solidFill>
              <a:srgbClr val="5B9BD5"/>
            </a:solidFill>
            <a:prstDash val="solid"/>
            <a:miter lim="800000"/>
          </a:ln>
          <a:effectLst/>
        </p:spPr>
      </p:cxnSp>
      <p:cxnSp>
        <p:nvCxnSpPr>
          <p:cNvPr id="616" name="Straight Connector 615"/>
          <p:cNvCxnSpPr/>
          <p:nvPr/>
        </p:nvCxnSpPr>
        <p:spPr>
          <a:xfrm>
            <a:off x="10053751" y="1815017"/>
            <a:ext cx="226365" cy="132952"/>
          </a:xfrm>
          <a:prstGeom prst="line">
            <a:avLst/>
          </a:prstGeom>
          <a:noFill/>
          <a:ln w="6350" cap="flat" cmpd="sng" algn="ctr">
            <a:solidFill>
              <a:srgbClr val="5B9BD5"/>
            </a:solidFill>
            <a:prstDash val="solid"/>
            <a:miter lim="800000"/>
          </a:ln>
          <a:effectLst/>
        </p:spPr>
      </p:cxnSp>
      <p:cxnSp>
        <p:nvCxnSpPr>
          <p:cNvPr id="619" name="Straight Connector 618"/>
          <p:cNvCxnSpPr/>
          <p:nvPr/>
        </p:nvCxnSpPr>
        <p:spPr>
          <a:xfrm flipV="1">
            <a:off x="9827419" y="1820721"/>
            <a:ext cx="226332" cy="127247"/>
          </a:xfrm>
          <a:prstGeom prst="line">
            <a:avLst/>
          </a:prstGeom>
          <a:noFill/>
          <a:ln w="6350" cap="flat" cmpd="sng" algn="ctr">
            <a:solidFill>
              <a:srgbClr val="5B9BD5"/>
            </a:solidFill>
            <a:prstDash val="solid"/>
            <a:miter lim="800000"/>
          </a:ln>
          <a:effectLst/>
        </p:spPr>
      </p:cxnSp>
      <p:cxnSp>
        <p:nvCxnSpPr>
          <p:cNvPr id="628" name="Straight Connector 627"/>
          <p:cNvCxnSpPr/>
          <p:nvPr/>
        </p:nvCxnSpPr>
        <p:spPr>
          <a:xfrm>
            <a:off x="10507758" y="1815017"/>
            <a:ext cx="226365" cy="132952"/>
          </a:xfrm>
          <a:prstGeom prst="line">
            <a:avLst/>
          </a:prstGeom>
          <a:noFill/>
          <a:ln w="6350" cap="flat" cmpd="sng" algn="ctr">
            <a:solidFill>
              <a:srgbClr val="5B9BD5"/>
            </a:solidFill>
            <a:prstDash val="solid"/>
            <a:miter lim="800000"/>
          </a:ln>
          <a:effectLst/>
        </p:spPr>
      </p:cxnSp>
      <p:cxnSp>
        <p:nvCxnSpPr>
          <p:cNvPr id="631" name="Straight Connector 630"/>
          <p:cNvCxnSpPr/>
          <p:nvPr/>
        </p:nvCxnSpPr>
        <p:spPr>
          <a:xfrm flipV="1">
            <a:off x="10281425" y="1820721"/>
            <a:ext cx="226332" cy="127247"/>
          </a:xfrm>
          <a:prstGeom prst="line">
            <a:avLst/>
          </a:prstGeom>
          <a:noFill/>
          <a:ln w="6350" cap="flat" cmpd="sng" algn="ctr">
            <a:solidFill>
              <a:srgbClr val="5B9BD5"/>
            </a:solidFill>
            <a:prstDash val="solid"/>
            <a:miter lim="800000"/>
          </a:ln>
          <a:effectLst/>
        </p:spPr>
      </p:cxnSp>
      <p:cxnSp>
        <p:nvCxnSpPr>
          <p:cNvPr id="640" name="Straight Connector 639"/>
          <p:cNvCxnSpPr/>
          <p:nvPr/>
        </p:nvCxnSpPr>
        <p:spPr>
          <a:xfrm>
            <a:off x="10960127" y="1815017"/>
            <a:ext cx="226365" cy="132952"/>
          </a:xfrm>
          <a:prstGeom prst="line">
            <a:avLst/>
          </a:prstGeom>
          <a:noFill/>
          <a:ln w="6350" cap="flat" cmpd="sng" algn="ctr">
            <a:solidFill>
              <a:srgbClr val="5B9BD5"/>
            </a:solidFill>
            <a:prstDash val="solid"/>
            <a:miter lim="800000"/>
          </a:ln>
          <a:effectLst/>
        </p:spPr>
      </p:cxnSp>
      <p:cxnSp>
        <p:nvCxnSpPr>
          <p:cNvPr id="643" name="Straight Connector 642"/>
          <p:cNvCxnSpPr/>
          <p:nvPr/>
        </p:nvCxnSpPr>
        <p:spPr>
          <a:xfrm flipV="1">
            <a:off x="10733795" y="1820721"/>
            <a:ext cx="226332" cy="127247"/>
          </a:xfrm>
          <a:prstGeom prst="line">
            <a:avLst/>
          </a:prstGeom>
          <a:noFill/>
          <a:ln w="6350" cap="flat" cmpd="sng" algn="ctr">
            <a:solidFill>
              <a:srgbClr val="5B9BD5"/>
            </a:solidFill>
            <a:prstDash val="solid"/>
            <a:miter lim="800000"/>
          </a:ln>
          <a:effectLst/>
        </p:spPr>
      </p:cxnSp>
      <p:cxnSp>
        <p:nvCxnSpPr>
          <p:cNvPr id="653" name="Straight Connector 652"/>
          <p:cNvCxnSpPr/>
          <p:nvPr/>
        </p:nvCxnSpPr>
        <p:spPr>
          <a:xfrm flipV="1">
            <a:off x="11183727" y="1820721"/>
            <a:ext cx="226332" cy="127247"/>
          </a:xfrm>
          <a:prstGeom prst="line">
            <a:avLst/>
          </a:prstGeom>
          <a:noFill/>
          <a:ln w="6350" cap="flat" cmpd="sng" algn="ctr">
            <a:solidFill>
              <a:srgbClr val="5B9BD5"/>
            </a:solidFill>
            <a:prstDash val="solid"/>
            <a:miter lim="800000"/>
          </a:ln>
          <a:effectLst/>
        </p:spPr>
      </p:cxnSp>
      <p:cxnSp>
        <p:nvCxnSpPr>
          <p:cNvPr id="573" name="Straight Connector 572"/>
          <p:cNvCxnSpPr/>
          <p:nvPr/>
        </p:nvCxnSpPr>
        <p:spPr>
          <a:xfrm>
            <a:off x="8038733" y="1716360"/>
            <a:ext cx="32" cy="263282"/>
          </a:xfrm>
          <a:prstGeom prst="line">
            <a:avLst/>
          </a:prstGeom>
          <a:noFill/>
          <a:ln w="6350" cap="flat" cmpd="sng" algn="ctr">
            <a:solidFill>
              <a:srgbClr val="5B9BD5"/>
            </a:solidFill>
            <a:prstDash val="solid"/>
            <a:miter lim="800000"/>
          </a:ln>
          <a:effectLst/>
        </p:spPr>
      </p:cxnSp>
      <p:cxnSp>
        <p:nvCxnSpPr>
          <p:cNvPr id="621" name="Straight Connector 620"/>
          <p:cNvCxnSpPr/>
          <p:nvPr/>
        </p:nvCxnSpPr>
        <p:spPr>
          <a:xfrm>
            <a:off x="9831052" y="1716360"/>
            <a:ext cx="32" cy="263282"/>
          </a:xfrm>
          <a:prstGeom prst="line">
            <a:avLst/>
          </a:prstGeom>
          <a:noFill/>
          <a:ln w="6350" cap="flat" cmpd="sng" algn="ctr">
            <a:solidFill>
              <a:srgbClr val="5B9BD5"/>
            </a:solidFill>
            <a:prstDash val="solid"/>
            <a:miter lim="800000"/>
          </a:ln>
          <a:effectLst/>
        </p:spPr>
      </p:cxnSp>
      <p:cxnSp>
        <p:nvCxnSpPr>
          <p:cNvPr id="633" name="Straight Connector 632"/>
          <p:cNvCxnSpPr/>
          <p:nvPr/>
        </p:nvCxnSpPr>
        <p:spPr>
          <a:xfrm>
            <a:off x="10285058" y="1716360"/>
            <a:ext cx="32" cy="263282"/>
          </a:xfrm>
          <a:prstGeom prst="line">
            <a:avLst/>
          </a:prstGeom>
          <a:noFill/>
          <a:ln w="6350" cap="flat" cmpd="sng" algn="ctr">
            <a:solidFill>
              <a:srgbClr val="5B9BD5"/>
            </a:solidFill>
            <a:prstDash val="solid"/>
            <a:miter lim="800000"/>
          </a:ln>
          <a:effectLst/>
        </p:spPr>
      </p:cxnSp>
      <p:cxnSp>
        <p:nvCxnSpPr>
          <p:cNvPr id="381" name="Straight Connector 380"/>
          <p:cNvCxnSpPr/>
          <p:nvPr/>
        </p:nvCxnSpPr>
        <p:spPr>
          <a:xfrm>
            <a:off x="817083" y="1707133"/>
            <a:ext cx="32" cy="263282"/>
          </a:xfrm>
          <a:prstGeom prst="line">
            <a:avLst/>
          </a:prstGeom>
          <a:noFill/>
          <a:ln w="6350" cap="flat" cmpd="sng" algn="ctr">
            <a:solidFill>
              <a:srgbClr val="5B9BD5"/>
            </a:solidFill>
            <a:prstDash val="solid"/>
            <a:miter lim="800000"/>
          </a:ln>
          <a:effectLst/>
        </p:spPr>
      </p:cxnSp>
      <p:cxnSp>
        <p:nvCxnSpPr>
          <p:cNvPr id="393" name="Straight Connector 392"/>
          <p:cNvCxnSpPr/>
          <p:nvPr/>
        </p:nvCxnSpPr>
        <p:spPr>
          <a:xfrm>
            <a:off x="1267017" y="1707133"/>
            <a:ext cx="32" cy="263282"/>
          </a:xfrm>
          <a:prstGeom prst="line">
            <a:avLst/>
          </a:prstGeom>
          <a:noFill/>
          <a:ln w="6350" cap="flat" cmpd="sng" algn="ctr">
            <a:solidFill>
              <a:srgbClr val="5B9BD5"/>
            </a:solidFill>
            <a:prstDash val="solid"/>
            <a:miter lim="800000"/>
          </a:ln>
          <a:effectLst/>
        </p:spPr>
      </p:cxnSp>
      <p:cxnSp>
        <p:nvCxnSpPr>
          <p:cNvPr id="405" name="Straight Connector 404"/>
          <p:cNvCxnSpPr/>
          <p:nvPr/>
        </p:nvCxnSpPr>
        <p:spPr>
          <a:xfrm>
            <a:off x="1719385" y="1711593"/>
            <a:ext cx="32" cy="263282"/>
          </a:xfrm>
          <a:prstGeom prst="line">
            <a:avLst/>
          </a:prstGeom>
          <a:noFill/>
          <a:ln w="6350" cap="flat" cmpd="sng" algn="ctr">
            <a:solidFill>
              <a:srgbClr val="5B9BD5"/>
            </a:solidFill>
            <a:prstDash val="solid"/>
            <a:miter lim="800000"/>
          </a:ln>
          <a:effectLst/>
        </p:spPr>
      </p:cxnSp>
      <p:cxnSp>
        <p:nvCxnSpPr>
          <p:cNvPr id="417" name="Straight Connector 416"/>
          <p:cNvCxnSpPr/>
          <p:nvPr/>
        </p:nvCxnSpPr>
        <p:spPr>
          <a:xfrm>
            <a:off x="2169319" y="1711593"/>
            <a:ext cx="32" cy="263282"/>
          </a:xfrm>
          <a:prstGeom prst="line">
            <a:avLst/>
          </a:prstGeom>
          <a:noFill/>
          <a:ln w="6350" cap="flat" cmpd="sng" algn="ctr">
            <a:solidFill>
              <a:srgbClr val="5B9BD5"/>
            </a:solidFill>
            <a:prstDash val="solid"/>
            <a:miter lim="800000"/>
          </a:ln>
          <a:effectLst/>
        </p:spPr>
      </p:cxnSp>
      <p:cxnSp>
        <p:nvCxnSpPr>
          <p:cNvPr id="429" name="Straight Connector 428"/>
          <p:cNvCxnSpPr/>
          <p:nvPr/>
        </p:nvCxnSpPr>
        <p:spPr>
          <a:xfrm>
            <a:off x="2619252" y="1707133"/>
            <a:ext cx="32" cy="263282"/>
          </a:xfrm>
          <a:prstGeom prst="line">
            <a:avLst/>
          </a:prstGeom>
          <a:noFill/>
          <a:ln w="6350" cap="flat" cmpd="sng" algn="ctr">
            <a:solidFill>
              <a:srgbClr val="5B9BD5"/>
            </a:solidFill>
            <a:prstDash val="solid"/>
            <a:miter lim="800000"/>
          </a:ln>
          <a:effectLst/>
        </p:spPr>
      </p:cxnSp>
      <p:cxnSp>
        <p:nvCxnSpPr>
          <p:cNvPr id="441" name="Straight Connector 440"/>
          <p:cNvCxnSpPr/>
          <p:nvPr/>
        </p:nvCxnSpPr>
        <p:spPr>
          <a:xfrm>
            <a:off x="3065585" y="1707133"/>
            <a:ext cx="32" cy="263282"/>
          </a:xfrm>
          <a:prstGeom prst="line">
            <a:avLst/>
          </a:prstGeom>
          <a:noFill/>
          <a:ln w="6350" cap="flat" cmpd="sng" algn="ctr">
            <a:solidFill>
              <a:srgbClr val="5B9BD5"/>
            </a:solidFill>
            <a:prstDash val="solid"/>
            <a:miter lim="800000"/>
          </a:ln>
          <a:effectLst/>
        </p:spPr>
      </p:cxnSp>
      <p:cxnSp>
        <p:nvCxnSpPr>
          <p:cNvPr id="453" name="Straight Connector 452"/>
          <p:cNvCxnSpPr/>
          <p:nvPr/>
        </p:nvCxnSpPr>
        <p:spPr>
          <a:xfrm>
            <a:off x="3517954" y="1707133"/>
            <a:ext cx="32" cy="263282"/>
          </a:xfrm>
          <a:prstGeom prst="line">
            <a:avLst/>
          </a:prstGeom>
          <a:noFill/>
          <a:ln w="6350" cap="flat" cmpd="sng" algn="ctr">
            <a:solidFill>
              <a:srgbClr val="5B9BD5"/>
            </a:solidFill>
            <a:prstDash val="solid"/>
            <a:miter lim="800000"/>
          </a:ln>
          <a:effectLst/>
        </p:spPr>
      </p:cxnSp>
      <p:cxnSp>
        <p:nvCxnSpPr>
          <p:cNvPr id="465" name="Straight Connector 464"/>
          <p:cNvCxnSpPr/>
          <p:nvPr/>
        </p:nvCxnSpPr>
        <p:spPr>
          <a:xfrm>
            <a:off x="3971961" y="1707133"/>
            <a:ext cx="32" cy="263282"/>
          </a:xfrm>
          <a:prstGeom prst="line">
            <a:avLst/>
          </a:prstGeom>
          <a:noFill/>
          <a:ln w="6350" cap="flat" cmpd="sng" algn="ctr">
            <a:solidFill>
              <a:srgbClr val="5B9BD5"/>
            </a:solidFill>
            <a:prstDash val="solid"/>
            <a:miter lim="800000"/>
          </a:ln>
          <a:effectLst/>
        </p:spPr>
      </p:cxnSp>
      <p:cxnSp>
        <p:nvCxnSpPr>
          <p:cNvPr id="477" name="Straight Connector 476"/>
          <p:cNvCxnSpPr/>
          <p:nvPr/>
        </p:nvCxnSpPr>
        <p:spPr>
          <a:xfrm>
            <a:off x="4424675" y="1708428"/>
            <a:ext cx="32" cy="263282"/>
          </a:xfrm>
          <a:prstGeom prst="line">
            <a:avLst/>
          </a:prstGeom>
          <a:noFill/>
          <a:ln w="6350" cap="flat" cmpd="sng" algn="ctr">
            <a:solidFill>
              <a:srgbClr val="5B9BD5"/>
            </a:solidFill>
            <a:prstDash val="solid"/>
            <a:miter lim="800000"/>
          </a:ln>
          <a:effectLst/>
        </p:spPr>
      </p:cxnSp>
      <p:cxnSp>
        <p:nvCxnSpPr>
          <p:cNvPr id="489" name="Straight Connector 488"/>
          <p:cNvCxnSpPr/>
          <p:nvPr/>
        </p:nvCxnSpPr>
        <p:spPr>
          <a:xfrm>
            <a:off x="4874609" y="1708428"/>
            <a:ext cx="32" cy="263282"/>
          </a:xfrm>
          <a:prstGeom prst="line">
            <a:avLst/>
          </a:prstGeom>
          <a:noFill/>
          <a:ln w="6350" cap="flat" cmpd="sng" algn="ctr">
            <a:solidFill>
              <a:srgbClr val="5B9BD5"/>
            </a:solidFill>
            <a:prstDash val="solid"/>
            <a:miter lim="800000"/>
          </a:ln>
          <a:effectLst/>
        </p:spPr>
      </p:cxnSp>
      <p:cxnSp>
        <p:nvCxnSpPr>
          <p:cNvPr id="501" name="Straight Connector 500"/>
          <p:cNvCxnSpPr/>
          <p:nvPr/>
        </p:nvCxnSpPr>
        <p:spPr>
          <a:xfrm>
            <a:off x="5326977" y="1708428"/>
            <a:ext cx="32" cy="263282"/>
          </a:xfrm>
          <a:prstGeom prst="line">
            <a:avLst/>
          </a:prstGeom>
          <a:noFill/>
          <a:ln w="6350" cap="flat" cmpd="sng" algn="ctr">
            <a:solidFill>
              <a:srgbClr val="5B9BD5"/>
            </a:solidFill>
            <a:prstDash val="solid"/>
            <a:miter lim="800000"/>
          </a:ln>
          <a:effectLst/>
        </p:spPr>
      </p:cxnSp>
      <p:cxnSp>
        <p:nvCxnSpPr>
          <p:cNvPr id="513" name="Straight Connector 512"/>
          <p:cNvCxnSpPr/>
          <p:nvPr/>
        </p:nvCxnSpPr>
        <p:spPr>
          <a:xfrm>
            <a:off x="5777385" y="1708428"/>
            <a:ext cx="32" cy="263282"/>
          </a:xfrm>
          <a:prstGeom prst="line">
            <a:avLst/>
          </a:prstGeom>
          <a:noFill/>
          <a:ln w="6350" cap="flat" cmpd="sng" algn="ctr">
            <a:solidFill>
              <a:srgbClr val="5B9BD5"/>
            </a:solidFill>
            <a:prstDash val="solid"/>
            <a:miter lim="800000"/>
          </a:ln>
          <a:effectLst/>
        </p:spPr>
      </p:cxnSp>
      <p:cxnSp>
        <p:nvCxnSpPr>
          <p:cNvPr id="525" name="Straight Connector 524"/>
          <p:cNvCxnSpPr/>
          <p:nvPr/>
        </p:nvCxnSpPr>
        <p:spPr>
          <a:xfrm>
            <a:off x="6227317" y="1708428"/>
            <a:ext cx="32" cy="263282"/>
          </a:xfrm>
          <a:prstGeom prst="line">
            <a:avLst/>
          </a:prstGeom>
          <a:noFill/>
          <a:ln w="6350" cap="flat" cmpd="sng" algn="ctr">
            <a:solidFill>
              <a:srgbClr val="5B9BD5"/>
            </a:solidFill>
            <a:prstDash val="solid"/>
            <a:miter lim="800000"/>
          </a:ln>
          <a:effectLst/>
        </p:spPr>
      </p:cxnSp>
      <p:cxnSp>
        <p:nvCxnSpPr>
          <p:cNvPr id="537" name="Straight Connector 536"/>
          <p:cNvCxnSpPr/>
          <p:nvPr/>
        </p:nvCxnSpPr>
        <p:spPr>
          <a:xfrm>
            <a:off x="6689472" y="1708428"/>
            <a:ext cx="32" cy="263282"/>
          </a:xfrm>
          <a:prstGeom prst="line">
            <a:avLst/>
          </a:prstGeom>
          <a:noFill/>
          <a:ln w="6350" cap="flat" cmpd="sng" algn="ctr">
            <a:solidFill>
              <a:srgbClr val="5B9BD5"/>
            </a:solidFill>
            <a:prstDash val="solid"/>
            <a:miter lim="800000"/>
          </a:ln>
          <a:effectLst/>
        </p:spPr>
      </p:cxnSp>
      <p:cxnSp>
        <p:nvCxnSpPr>
          <p:cNvPr id="549" name="Straight Connector 548"/>
          <p:cNvCxnSpPr/>
          <p:nvPr/>
        </p:nvCxnSpPr>
        <p:spPr>
          <a:xfrm>
            <a:off x="7133695" y="1708428"/>
            <a:ext cx="32" cy="263282"/>
          </a:xfrm>
          <a:prstGeom prst="line">
            <a:avLst/>
          </a:prstGeom>
          <a:noFill/>
          <a:ln w="6350" cap="flat" cmpd="sng" algn="ctr">
            <a:solidFill>
              <a:srgbClr val="5B9BD5"/>
            </a:solidFill>
            <a:prstDash val="solid"/>
            <a:miter lim="800000"/>
          </a:ln>
          <a:effectLst/>
        </p:spPr>
      </p:cxnSp>
      <p:cxnSp>
        <p:nvCxnSpPr>
          <p:cNvPr id="561" name="Straight Connector 560"/>
          <p:cNvCxnSpPr/>
          <p:nvPr/>
        </p:nvCxnSpPr>
        <p:spPr>
          <a:xfrm>
            <a:off x="7587226" y="1708428"/>
            <a:ext cx="32" cy="263282"/>
          </a:xfrm>
          <a:prstGeom prst="line">
            <a:avLst/>
          </a:prstGeom>
          <a:noFill/>
          <a:ln w="6350" cap="flat" cmpd="sng" algn="ctr">
            <a:solidFill>
              <a:srgbClr val="5B9BD5"/>
            </a:solidFill>
            <a:prstDash val="solid"/>
            <a:miter lim="800000"/>
          </a:ln>
          <a:effectLst/>
        </p:spPr>
      </p:cxnSp>
      <p:cxnSp>
        <p:nvCxnSpPr>
          <p:cNvPr id="585" name="Straight Connector 584"/>
          <p:cNvCxnSpPr/>
          <p:nvPr/>
        </p:nvCxnSpPr>
        <p:spPr>
          <a:xfrm>
            <a:off x="8488666" y="1711903"/>
            <a:ext cx="32" cy="263282"/>
          </a:xfrm>
          <a:prstGeom prst="line">
            <a:avLst/>
          </a:prstGeom>
          <a:noFill/>
          <a:ln w="6350" cap="flat" cmpd="sng" algn="ctr">
            <a:solidFill>
              <a:srgbClr val="5B9BD5"/>
            </a:solidFill>
            <a:prstDash val="solid"/>
            <a:miter lim="800000"/>
          </a:ln>
          <a:effectLst/>
        </p:spPr>
      </p:cxnSp>
      <p:cxnSp>
        <p:nvCxnSpPr>
          <p:cNvPr id="597" name="Straight Connector 596"/>
          <p:cNvCxnSpPr/>
          <p:nvPr/>
        </p:nvCxnSpPr>
        <p:spPr>
          <a:xfrm>
            <a:off x="8937436" y="1711903"/>
            <a:ext cx="32" cy="263282"/>
          </a:xfrm>
          <a:prstGeom prst="line">
            <a:avLst/>
          </a:prstGeom>
          <a:noFill/>
          <a:ln w="6350" cap="flat" cmpd="sng" algn="ctr">
            <a:solidFill>
              <a:srgbClr val="5B9BD5"/>
            </a:solidFill>
            <a:prstDash val="solid"/>
            <a:miter lim="800000"/>
          </a:ln>
          <a:effectLst/>
        </p:spPr>
      </p:cxnSp>
      <p:cxnSp>
        <p:nvCxnSpPr>
          <p:cNvPr id="609" name="Straight Connector 608"/>
          <p:cNvCxnSpPr/>
          <p:nvPr/>
        </p:nvCxnSpPr>
        <p:spPr>
          <a:xfrm>
            <a:off x="9381119" y="1711903"/>
            <a:ext cx="32" cy="263282"/>
          </a:xfrm>
          <a:prstGeom prst="line">
            <a:avLst/>
          </a:prstGeom>
          <a:noFill/>
          <a:ln w="6350" cap="flat" cmpd="sng" algn="ctr">
            <a:solidFill>
              <a:srgbClr val="5B9BD5"/>
            </a:solidFill>
            <a:prstDash val="solid"/>
            <a:miter lim="800000"/>
          </a:ln>
          <a:effectLst/>
        </p:spPr>
      </p:cxnSp>
      <p:cxnSp>
        <p:nvCxnSpPr>
          <p:cNvPr id="645" name="Straight Connector 644"/>
          <p:cNvCxnSpPr/>
          <p:nvPr/>
        </p:nvCxnSpPr>
        <p:spPr>
          <a:xfrm>
            <a:off x="10737428" y="1711903"/>
            <a:ext cx="32" cy="263282"/>
          </a:xfrm>
          <a:prstGeom prst="line">
            <a:avLst/>
          </a:prstGeom>
          <a:noFill/>
          <a:ln w="6350" cap="flat" cmpd="sng" algn="ctr">
            <a:solidFill>
              <a:srgbClr val="5B9BD5"/>
            </a:solidFill>
            <a:prstDash val="solid"/>
            <a:miter lim="800000"/>
          </a:ln>
          <a:effectLst/>
        </p:spPr>
      </p:cxnSp>
      <p:cxnSp>
        <p:nvCxnSpPr>
          <p:cNvPr id="654" name="Straight Connector 653"/>
          <p:cNvCxnSpPr/>
          <p:nvPr/>
        </p:nvCxnSpPr>
        <p:spPr>
          <a:xfrm>
            <a:off x="11187361" y="1711903"/>
            <a:ext cx="32" cy="263282"/>
          </a:xfrm>
          <a:prstGeom prst="line">
            <a:avLst/>
          </a:prstGeom>
          <a:noFill/>
          <a:ln w="6350" cap="flat" cmpd="sng" algn="ctr">
            <a:solidFill>
              <a:srgbClr val="5B9BD5"/>
            </a:solidFill>
            <a:prstDash val="solid"/>
            <a:miter lim="800000"/>
          </a:ln>
          <a:effectLst/>
        </p:spPr>
      </p:cxnSp>
      <p:cxnSp>
        <p:nvCxnSpPr>
          <p:cNvPr id="554" name="Straight Connector 553"/>
          <p:cNvCxnSpPr/>
          <p:nvPr/>
        </p:nvCxnSpPr>
        <p:spPr>
          <a:xfrm>
            <a:off x="7587242" y="1950200"/>
            <a:ext cx="226365" cy="132952"/>
          </a:xfrm>
          <a:prstGeom prst="line">
            <a:avLst/>
          </a:prstGeom>
          <a:noFill/>
          <a:ln w="6350" cap="flat" cmpd="sng" algn="ctr">
            <a:solidFill>
              <a:srgbClr val="5B9BD5"/>
            </a:solidFill>
            <a:prstDash val="solid"/>
            <a:miter lim="800000"/>
          </a:ln>
          <a:effectLst/>
        </p:spPr>
      </p:cxnSp>
      <p:cxnSp>
        <p:nvCxnSpPr>
          <p:cNvPr id="557" name="Straight Connector 556"/>
          <p:cNvCxnSpPr/>
          <p:nvPr/>
        </p:nvCxnSpPr>
        <p:spPr>
          <a:xfrm flipH="1">
            <a:off x="7806325" y="1950200"/>
            <a:ext cx="226365" cy="132952"/>
          </a:xfrm>
          <a:prstGeom prst="line">
            <a:avLst/>
          </a:prstGeom>
          <a:noFill/>
          <a:ln w="6350" cap="flat" cmpd="sng" algn="ctr">
            <a:solidFill>
              <a:srgbClr val="5B9BD5"/>
            </a:solidFill>
            <a:prstDash val="solid"/>
            <a:miter lim="800000"/>
          </a:ln>
          <a:effectLst/>
        </p:spPr>
      </p:cxnSp>
      <p:cxnSp>
        <p:nvCxnSpPr>
          <p:cNvPr id="566" name="Straight Connector 565"/>
          <p:cNvCxnSpPr/>
          <p:nvPr/>
        </p:nvCxnSpPr>
        <p:spPr>
          <a:xfrm>
            <a:off x="8038750" y="1953673"/>
            <a:ext cx="226365" cy="132952"/>
          </a:xfrm>
          <a:prstGeom prst="line">
            <a:avLst/>
          </a:prstGeom>
          <a:noFill/>
          <a:ln w="6350" cap="flat" cmpd="sng" algn="ctr">
            <a:solidFill>
              <a:srgbClr val="5B9BD5"/>
            </a:solidFill>
            <a:prstDash val="solid"/>
            <a:miter lim="800000"/>
          </a:ln>
          <a:effectLst/>
        </p:spPr>
      </p:cxnSp>
      <p:cxnSp>
        <p:nvCxnSpPr>
          <p:cNvPr id="569" name="Straight Connector 568"/>
          <p:cNvCxnSpPr/>
          <p:nvPr/>
        </p:nvCxnSpPr>
        <p:spPr>
          <a:xfrm flipH="1">
            <a:off x="8261433" y="1953673"/>
            <a:ext cx="226365" cy="132952"/>
          </a:xfrm>
          <a:prstGeom prst="line">
            <a:avLst/>
          </a:prstGeom>
          <a:noFill/>
          <a:ln w="6350" cap="flat" cmpd="sng" algn="ctr">
            <a:solidFill>
              <a:srgbClr val="5B9BD5"/>
            </a:solidFill>
            <a:prstDash val="solid"/>
            <a:miter lim="800000"/>
          </a:ln>
          <a:effectLst/>
        </p:spPr>
      </p:cxnSp>
      <p:cxnSp>
        <p:nvCxnSpPr>
          <p:cNvPr id="578" name="Straight Connector 577"/>
          <p:cNvCxnSpPr/>
          <p:nvPr/>
        </p:nvCxnSpPr>
        <p:spPr>
          <a:xfrm>
            <a:off x="8488683" y="1953673"/>
            <a:ext cx="226365" cy="132952"/>
          </a:xfrm>
          <a:prstGeom prst="line">
            <a:avLst/>
          </a:prstGeom>
          <a:noFill/>
          <a:ln w="6350" cap="flat" cmpd="sng" algn="ctr">
            <a:solidFill>
              <a:srgbClr val="5B9BD5"/>
            </a:solidFill>
            <a:prstDash val="solid"/>
            <a:miter lim="800000"/>
          </a:ln>
          <a:effectLst/>
        </p:spPr>
      </p:cxnSp>
      <p:cxnSp>
        <p:nvCxnSpPr>
          <p:cNvPr id="581" name="Straight Connector 580"/>
          <p:cNvCxnSpPr/>
          <p:nvPr/>
        </p:nvCxnSpPr>
        <p:spPr>
          <a:xfrm flipH="1">
            <a:off x="8707766" y="1953673"/>
            <a:ext cx="226365" cy="132952"/>
          </a:xfrm>
          <a:prstGeom prst="line">
            <a:avLst/>
          </a:prstGeom>
          <a:noFill/>
          <a:ln w="6350" cap="flat" cmpd="sng" algn="ctr">
            <a:solidFill>
              <a:srgbClr val="5B9BD5"/>
            </a:solidFill>
            <a:prstDash val="solid"/>
            <a:miter lim="800000"/>
          </a:ln>
          <a:effectLst/>
        </p:spPr>
      </p:cxnSp>
      <p:cxnSp>
        <p:nvCxnSpPr>
          <p:cNvPr id="590" name="Straight Connector 589"/>
          <p:cNvCxnSpPr/>
          <p:nvPr/>
        </p:nvCxnSpPr>
        <p:spPr>
          <a:xfrm>
            <a:off x="8937453" y="1953673"/>
            <a:ext cx="226365" cy="132952"/>
          </a:xfrm>
          <a:prstGeom prst="line">
            <a:avLst/>
          </a:prstGeom>
          <a:noFill/>
          <a:ln w="6350" cap="flat" cmpd="sng" algn="ctr">
            <a:solidFill>
              <a:srgbClr val="5B9BD5"/>
            </a:solidFill>
            <a:prstDash val="solid"/>
            <a:miter lim="800000"/>
          </a:ln>
          <a:effectLst/>
        </p:spPr>
      </p:cxnSp>
      <p:cxnSp>
        <p:nvCxnSpPr>
          <p:cNvPr id="593" name="Straight Connector 592"/>
          <p:cNvCxnSpPr/>
          <p:nvPr/>
        </p:nvCxnSpPr>
        <p:spPr>
          <a:xfrm flipH="1">
            <a:off x="9144315" y="1953673"/>
            <a:ext cx="226365" cy="132952"/>
          </a:xfrm>
          <a:prstGeom prst="line">
            <a:avLst/>
          </a:prstGeom>
          <a:noFill/>
          <a:ln w="6350" cap="flat" cmpd="sng" algn="ctr">
            <a:solidFill>
              <a:srgbClr val="5B9BD5"/>
            </a:solidFill>
            <a:prstDash val="solid"/>
            <a:miter lim="800000"/>
          </a:ln>
          <a:effectLst/>
        </p:spPr>
      </p:cxnSp>
      <p:cxnSp>
        <p:nvCxnSpPr>
          <p:cNvPr id="602" name="Straight Connector 601"/>
          <p:cNvCxnSpPr/>
          <p:nvPr/>
        </p:nvCxnSpPr>
        <p:spPr>
          <a:xfrm>
            <a:off x="9381135" y="1953673"/>
            <a:ext cx="226365" cy="132952"/>
          </a:xfrm>
          <a:prstGeom prst="line">
            <a:avLst/>
          </a:prstGeom>
          <a:noFill/>
          <a:ln w="6350" cap="flat" cmpd="sng" algn="ctr">
            <a:solidFill>
              <a:srgbClr val="5B9BD5"/>
            </a:solidFill>
            <a:prstDash val="solid"/>
            <a:miter lim="800000"/>
          </a:ln>
          <a:effectLst/>
        </p:spPr>
      </p:cxnSp>
      <p:cxnSp>
        <p:nvCxnSpPr>
          <p:cNvPr id="605" name="Straight Connector 604"/>
          <p:cNvCxnSpPr/>
          <p:nvPr/>
        </p:nvCxnSpPr>
        <p:spPr>
          <a:xfrm flipH="1">
            <a:off x="9603819" y="1953673"/>
            <a:ext cx="226365" cy="132952"/>
          </a:xfrm>
          <a:prstGeom prst="line">
            <a:avLst/>
          </a:prstGeom>
          <a:noFill/>
          <a:ln w="6350" cap="flat" cmpd="sng" algn="ctr">
            <a:solidFill>
              <a:srgbClr val="5B9BD5"/>
            </a:solidFill>
            <a:prstDash val="solid"/>
            <a:miter lim="800000"/>
          </a:ln>
          <a:effectLst/>
        </p:spPr>
      </p:cxnSp>
      <p:cxnSp>
        <p:nvCxnSpPr>
          <p:cNvPr id="614" name="Straight Connector 613"/>
          <p:cNvCxnSpPr/>
          <p:nvPr/>
        </p:nvCxnSpPr>
        <p:spPr>
          <a:xfrm>
            <a:off x="9831069" y="1953673"/>
            <a:ext cx="226365" cy="132952"/>
          </a:xfrm>
          <a:prstGeom prst="line">
            <a:avLst/>
          </a:prstGeom>
          <a:noFill/>
          <a:ln w="6350" cap="flat" cmpd="sng" algn="ctr">
            <a:solidFill>
              <a:srgbClr val="5B9BD5"/>
            </a:solidFill>
            <a:prstDash val="solid"/>
            <a:miter lim="800000"/>
          </a:ln>
          <a:effectLst/>
        </p:spPr>
      </p:cxnSp>
      <p:cxnSp>
        <p:nvCxnSpPr>
          <p:cNvPr id="617" name="Straight Connector 616"/>
          <p:cNvCxnSpPr/>
          <p:nvPr/>
        </p:nvCxnSpPr>
        <p:spPr>
          <a:xfrm flipH="1">
            <a:off x="10053751" y="1953673"/>
            <a:ext cx="226365" cy="132952"/>
          </a:xfrm>
          <a:prstGeom prst="line">
            <a:avLst/>
          </a:prstGeom>
          <a:noFill/>
          <a:ln w="6350" cap="flat" cmpd="sng" algn="ctr">
            <a:solidFill>
              <a:srgbClr val="5B9BD5"/>
            </a:solidFill>
            <a:prstDash val="solid"/>
            <a:miter lim="800000"/>
          </a:ln>
          <a:effectLst/>
        </p:spPr>
      </p:cxnSp>
      <p:cxnSp>
        <p:nvCxnSpPr>
          <p:cNvPr id="626" name="Straight Connector 625"/>
          <p:cNvCxnSpPr/>
          <p:nvPr/>
        </p:nvCxnSpPr>
        <p:spPr>
          <a:xfrm>
            <a:off x="10285075" y="1953673"/>
            <a:ext cx="226365" cy="132952"/>
          </a:xfrm>
          <a:prstGeom prst="line">
            <a:avLst/>
          </a:prstGeom>
          <a:noFill/>
          <a:ln w="6350" cap="flat" cmpd="sng" algn="ctr">
            <a:solidFill>
              <a:srgbClr val="5B9BD5"/>
            </a:solidFill>
            <a:prstDash val="solid"/>
            <a:miter lim="800000"/>
          </a:ln>
          <a:effectLst/>
        </p:spPr>
      </p:cxnSp>
      <p:cxnSp>
        <p:nvCxnSpPr>
          <p:cNvPr id="629" name="Straight Connector 628"/>
          <p:cNvCxnSpPr/>
          <p:nvPr/>
        </p:nvCxnSpPr>
        <p:spPr>
          <a:xfrm flipH="1">
            <a:off x="10507758" y="1953673"/>
            <a:ext cx="226365" cy="132952"/>
          </a:xfrm>
          <a:prstGeom prst="line">
            <a:avLst/>
          </a:prstGeom>
          <a:noFill/>
          <a:ln w="6350" cap="flat" cmpd="sng" algn="ctr">
            <a:solidFill>
              <a:srgbClr val="5B9BD5"/>
            </a:solidFill>
            <a:prstDash val="solid"/>
            <a:miter lim="800000"/>
          </a:ln>
          <a:effectLst/>
        </p:spPr>
      </p:cxnSp>
      <p:cxnSp>
        <p:nvCxnSpPr>
          <p:cNvPr id="638" name="Straight Connector 637"/>
          <p:cNvCxnSpPr/>
          <p:nvPr/>
        </p:nvCxnSpPr>
        <p:spPr>
          <a:xfrm>
            <a:off x="10737445" y="1953673"/>
            <a:ext cx="226365" cy="132952"/>
          </a:xfrm>
          <a:prstGeom prst="line">
            <a:avLst/>
          </a:prstGeom>
          <a:noFill/>
          <a:ln w="6350" cap="flat" cmpd="sng" algn="ctr">
            <a:solidFill>
              <a:srgbClr val="5B9BD5"/>
            </a:solidFill>
            <a:prstDash val="solid"/>
            <a:miter lim="800000"/>
          </a:ln>
          <a:effectLst/>
        </p:spPr>
      </p:cxnSp>
      <p:cxnSp>
        <p:nvCxnSpPr>
          <p:cNvPr id="641" name="Straight Connector 640"/>
          <p:cNvCxnSpPr/>
          <p:nvPr/>
        </p:nvCxnSpPr>
        <p:spPr>
          <a:xfrm flipH="1">
            <a:off x="10960127" y="1953673"/>
            <a:ext cx="226365" cy="132952"/>
          </a:xfrm>
          <a:prstGeom prst="line">
            <a:avLst/>
          </a:prstGeom>
          <a:noFill/>
          <a:ln w="6350" cap="flat" cmpd="sng" algn="ctr">
            <a:solidFill>
              <a:srgbClr val="5B9BD5"/>
            </a:solidFill>
            <a:prstDash val="solid"/>
            <a:miter lim="800000"/>
          </a:ln>
          <a:effectLst/>
        </p:spPr>
      </p:cxnSp>
      <p:cxnSp>
        <p:nvCxnSpPr>
          <p:cNvPr id="650" name="Straight Connector 649"/>
          <p:cNvCxnSpPr/>
          <p:nvPr/>
        </p:nvCxnSpPr>
        <p:spPr>
          <a:xfrm>
            <a:off x="11187377" y="1953673"/>
            <a:ext cx="226365" cy="132952"/>
          </a:xfrm>
          <a:prstGeom prst="line">
            <a:avLst/>
          </a:prstGeom>
          <a:noFill/>
          <a:ln w="6350" cap="flat" cmpd="sng" algn="ctr">
            <a:solidFill>
              <a:srgbClr val="5B9BD5"/>
            </a:solidFill>
            <a:prstDash val="solid"/>
            <a:miter lim="800000"/>
          </a:ln>
          <a:effectLst/>
        </p:spPr>
      </p:cxnSp>
      <p:cxnSp>
        <p:nvCxnSpPr>
          <p:cNvPr id="375" name="Straight Connector 374"/>
          <p:cNvCxnSpPr/>
          <p:nvPr/>
        </p:nvCxnSpPr>
        <p:spPr>
          <a:xfrm>
            <a:off x="817100" y="1683000"/>
            <a:ext cx="226365" cy="132952"/>
          </a:xfrm>
          <a:prstGeom prst="line">
            <a:avLst/>
          </a:prstGeom>
          <a:noFill/>
          <a:ln w="6350" cap="flat" cmpd="sng" algn="ctr">
            <a:solidFill>
              <a:srgbClr val="5B9BD5"/>
            </a:solidFill>
            <a:prstDash val="solid"/>
            <a:miter lim="800000"/>
          </a:ln>
          <a:effectLst/>
        </p:spPr>
      </p:cxnSp>
      <p:cxnSp>
        <p:nvCxnSpPr>
          <p:cNvPr id="380" name="Straight Connector 379"/>
          <p:cNvCxnSpPr/>
          <p:nvPr/>
        </p:nvCxnSpPr>
        <p:spPr>
          <a:xfrm flipV="1">
            <a:off x="1039783" y="1677295"/>
            <a:ext cx="226365" cy="144362"/>
          </a:xfrm>
          <a:prstGeom prst="line">
            <a:avLst/>
          </a:prstGeom>
          <a:noFill/>
          <a:ln w="6350" cap="flat" cmpd="sng" algn="ctr">
            <a:solidFill>
              <a:srgbClr val="5B9BD5"/>
            </a:solidFill>
            <a:prstDash val="solid"/>
            <a:miter lim="800000"/>
          </a:ln>
          <a:effectLst/>
        </p:spPr>
      </p:cxnSp>
      <p:cxnSp>
        <p:nvCxnSpPr>
          <p:cNvPr id="387" name="Straight Connector 386"/>
          <p:cNvCxnSpPr/>
          <p:nvPr/>
        </p:nvCxnSpPr>
        <p:spPr>
          <a:xfrm>
            <a:off x="1267033" y="1687460"/>
            <a:ext cx="226365" cy="132952"/>
          </a:xfrm>
          <a:prstGeom prst="line">
            <a:avLst/>
          </a:prstGeom>
          <a:noFill/>
          <a:ln w="6350" cap="flat" cmpd="sng" algn="ctr">
            <a:solidFill>
              <a:srgbClr val="5B9BD5"/>
            </a:solidFill>
            <a:prstDash val="solid"/>
            <a:miter lim="800000"/>
          </a:ln>
          <a:effectLst/>
        </p:spPr>
      </p:cxnSp>
      <p:cxnSp>
        <p:nvCxnSpPr>
          <p:cNvPr id="392" name="Straight Connector 391"/>
          <p:cNvCxnSpPr/>
          <p:nvPr/>
        </p:nvCxnSpPr>
        <p:spPr>
          <a:xfrm flipV="1">
            <a:off x="1489715" y="1677295"/>
            <a:ext cx="226365" cy="144362"/>
          </a:xfrm>
          <a:prstGeom prst="line">
            <a:avLst/>
          </a:prstGeom>
          <a:noFill/>
          <a:ln w="6350" cap="flat" cmpd="sng" algn="ctr">
            <a:solidFill>
              <a:srgbClr val="5B9BD5"/>
            </a:solidFill>
            <a:prstDash val="solid"/>
            <a:miter lim="800000"/>
          </a:ln>
          <a:effectLst/>
        </p:spPr>
      </p:cxnSp>
      <p:cxnSp>
        <p:nvCxnSpPr>
          <p:cNvPr id="399" name="Straight Connector 398"/>
          <p:cNvCxnSpPr/>
          <p:nvPr/>
        </p:nvCxnSpPr>
        <p:spPr>
          <a:xfrm>
            <a:off x="1719402" y="1683000"/>
            <a:ext cx="226365" cy="132952"/>
          </a:xfrm>
          <a:prstGeom prst="line">
            <a:avLst/>
          </a:prstGeom>
          <a:noFill/>
          <a:ln w="6350" cap="flat" cmpd="sng" algn="ctr">
            <a:solidFill>
              <a:srgbClr val="5B9BD5"/>
            </a:solidFill>
            <a:prstDash val="solid"/>
            <a:miter lim="800000"/>
          </a:ln>
          <a:effectLst/>
        </p:spPr>
      </p:cxnSp>
      <p:cxnSp>
        <p:nvCxnSpPr>
          <p:cNvPr id="404" name="Straight Connector 403"/>
          <p:cNvCxnSpPr/>
          <p:nvPr/>
        </p:nvCxnSpPr>
        <p:spPr>
          <a:xfrm flipV="1">
            <a:off x="1942085" y="1677295"/>
            <a:ext cx="226365" cy="144362"/>
          </a:xfrm>
          <a:prstGeom prst="line">
            <a:avLst/>
          </a:prstGeom>
          <a:noFill/>
          <a:ln w="6350" cap="flat" cmpd="sng" algn="ctr">
            <a:solidFill>
              <a:srgbClr val="5B9BD5"/>
            </a:solidFill>
            <a:prstDash val="solid"/>
            <a:miter lim="800000"/>
          </a:ln>
          <a:effectLst/>
        </p:spPr>
      </p:cxnSp>
      <p:cxnSp>
        <p:nvCxnSpPr>
          <p:cNvPr id="411" name="Straight Connector 410"/>
          <p:cNvCxnSpPr/>
          <p:nvPr/>
        </p:nvCxnSpPr>
        <p:spPr>
          <a:xfrm>
            <a:off x="2169336" y="1683000"/>
            <a:ext cx="226365" cy="132952"/>
          </a:xfrm>
          <a:prstGeom prst="line">
            <a:avLst/>
          </a:prstGeom>
          <a:noFill/>
          <a:ln w="6350" cap="flat" cmpd="sng" algn="ctr">
            <a:solidFill>
              <a:srgbClr val="5B9BD5"/>
            </a:solidFill>
            <a:prstDash val="solid"/>
            <a:miter lim="800000"/>
          </a:ln>
          <a:effectLst/>
        </p:spPr>
      </p:cxnSp>
      <p:cxnSp>
        <p:nvCxnSpPr>
          <p:cNvPr id="416" name="Straight Connector 415"/>
          <p:cNvCxnSpPr/>
          <p:nvPr/>
        </p:nvCxnSpPr>
        <p:spPr>
          <a:xfrm flipV="1">
            <a:off x="2392018" y="1677295"/>
            <a:ext cx="226365" cy="144362"/>
          </a:xfrm>
          <a:prstGeom prst="line">
            <a:avLst/>
          </a:prstGeom>
          <a:noFill/>
          <a:ln w="6350" cap="flat" cmpd="sng" algn="ctr">
            <a:solidFill>
              <a:srgbClr val="5B9BD5"/>
            </a:solidFill>
            <a:prstDash val="solid"/>
            <a:miter lim="800000"/>
          </a:ln>
          <a:effectLst/>
        </p:spPr>
      </p:cxnSp>
      <p:cxnSp>
        <p:nvCxnSpPr>
          <p:cNvPr id="423" name="Straight Connector 422"/>
          <p:cNvCxnSpPr/>
          <p:nvPr/>
        </p:nvCxnSpPr>
        <p:spPr>
          <a:xfrm>
            <a:off x="2615668" y="1683000"/>
            <a:ext cx="226365" cy="132952"/>
          </a:xfrm>
          <a:prstGeom prst="line">
            <a:avLst/>
          </a:prstGeom>
          <a:noFill/>
          <a:ln w="6350" cap="flat" cmpd="sng" algn="ctr">
            <a:solidFill>
              <a:srgbClr val="5B9BD5"/>
            </a:solidFill>
            <a:prstDash val="solid"/>
            <a:miter lim="800000"/>
          </a:ln>
          <a:effectLst/>
        </p:spPr>
      </p:cxnSp>
      <p:cxnSp>
        <p:nvCxnSpPr>
          <p:cNvPr id="428" name="Straight Connector 427"/>
          <p:cNvCxnSpPr/>
          <p:nvPr/>
        </p:nvCxnSpPr>
        <p:spPr>
          <a:xfrm flipV="1">
            <a:off x="2838352" y="1677295"/>
            <a:ext cx="226365" cy="144362"/>
          </a:xfrm>
          <a:prstGeom prst="line">
            <a:avLst/>
          </a:prstGeom>
          <a:noFill/>
          <a:ln w="6350" cap="flat" cmpd="sng" algn="ctr">
            <a:solidFill>
              <a:srgbClr val="5B9BD5"/>
            </a:solidFill>
            <a:prstDash val="solid"/>
            <a:miter lim="800000"/>
          </a:ln>
          <a:effectLst/>
        </p:spPr>
      </p:cxnSp>
      <p:cxnSp>
        <p:nvCxnSpPr>
          <p:cNvPr id="435" name="Straight Connector 434"/>
          <p:cNvCxnSpPr/>
          <p:nvPr/>
        </p:nvCxnSpPr>
        <p:spPr>
          <a:xfrm>
            <a:off x="3065602" y="1683000"/>
            <a:ext cx="226365" cy="132952"/>
          </a:xfrm>
          <a:prstGeom prst="line">
            <a:avLst/>
          </a:prstGeom>
          <a:noFill/>
          <a:ln w="6350" cap="flat" cmpd="sng" algn="ctr">
            <a:solidFill>
              <a:srgbClr val="5B9BD5"/>
            </a:solidFill>
            <a:prstDash val="solid"/>
            <a:miter lim="800000"/>
          </a:ln>
          <a:effectLst/>
        </p:spPr>
      </p:cxnSp>
      <p:cxnSp>
        <p:nvCxnSpPr>
          <p:cNvPr id="440" name="Straight Connector 439"/>
          <p:cNvCxnSpPr/>
          <p:nvPr/>
        </p:nvCxnSpPr>
        <p:spPr>
          <a:xfrm flipV="1">
            <a:off x="3288284" y="1677295"/>
            <a:ext cx="226365" cy="144362"/>
          </a:xfrm>
          <a:prstGeom prst="line">
            <a:avLst/>
          </a:prstGeom>
          <a:noFill/>
          <a:ln w="6350" cap="flat" cmpd="sng" algn="ctr">
            <a:solidFill>
              <a:srgbClr val="5B9BD5"/>
            </a:solidFill>
            <a:prstDash val="solid"/>
            <a:miter lim="800000"/>
          </a:ln>
          <a:effectLst/>
        </p:spPr>
      </p:cxnSp>
      <p:cxnSp>
        <p:nvCxnSpPr>
          <p:cNvPr id="447" name="Straight Connector 446"/>
          <p:cNvCxnSpPr/>
          <p:nvPr/>
        </p:nvCxnSpPr>
        <p:spPr>
          <a:xfrm>
            <a:off x="3517971" y="1683000"/>
            <a:ext cx="226365" cy="132952"/>
          </a:xfrm>
          <a:prstGeom prst="line">
            <a:avLst/>
          </a:prstGeom>
          <a:noFill/>
          <a:ln w="6350" cap="flat" cmpd="sng" algn="ctr">
            <a:solidFill>
              <a:srgbClr val="5B9BD5"/>
            </a:solidFill>
            <a:prstDash val="solid"/>
            <a:miter lim="800000"/>
          </a:ln>
          <a:effectLst/>
        </p:spPr>
      </p:cxnSp>
      <p:cxnSp>
        <p:nvCxnSpPr>
          <p:cNvPr id="452" name="Straight Connector 451"/>
          <p:cNvCxnSpPr/>
          <p:nvPr/>
        </p:nvCxnSpPr>
        <p:spPr>
          <a:xfrm flipV="1">
            <a:off x="3740654" y="1677295"/>
            <a:ext cx="226365" cy="144362"/>
          </a:xfrm>
          <a:prstGeom prst="line">
            <a:avLst/>
          </a:prstGeom>
          <a:noFill/>
          <a:ln w="6350" cap="flat" cmpd="sng" algn="ctr">
            <a:solidFill>
              <a:srgbClr val="5B9BD5"/>
            </a:solidFill>
            <a:prstDash val="solid"/>
            <a:miter lim="800000"/>
          </a:ln>
          <a:effectLst/>
        </p:spPr>
      </p:cxnSp>
      <p:cxnSp>
        <p:nvCxnSpPr>
          <p:cNvPr id="459" name="Straight Connector 458"/>
          <p:cNvCxnSpPr/>
          <p:nvPr/>
        </p:nvCxnSpPr>
        <p:spPr>
          <a:xfrm>
            <a:off x="3971978" y="1683000"/>
            <a:ext cx="226365" cy="132952"/>
          </a:xfrm>
          <a:prstGeom prst="line">
            <a:avLst/>
          </a:prstGeom>
          <a:noFill/>
          <a:ln w="6350" cap="flat" cmpd="sng" algn="ctr">
            <a:solidFill>
              <a:srgbClr val="5B9BD5"/>
            </a:solidFill>
            <a:prstDash val="solid"/>
            <a:miter lim="800000"/>
          </a:ln>
          <a:effectLst/>
        </p:spPr>
      </p:cxnSp>
      <p:cxnSp>
        <p:nvCxnSpPr>
          <p:cNvPr id="464" name="Straight Connector 463"/>
          <p:cNvCxnSpPr/>
          <p:nvPr/>
        </p:nvCxnSpPr>
        <p:spPr>
          <a:xfrm flipV="1">
            <a:off x="4185138" y="1682520"/>
            <a:ext cx="226365" cy="144362"/>
          </a:xfrm>
          <a:prstGeom prst="line">
            <a:avLst/>
          </a:prstGeom>
          <a:noFill/>
          <a:ln w="6350" cap="flat" cmpd="sng" algn="ctr">
            <a:solidFill>
              <a:srgbClr val="5B9BD5"/>
            </a:solidFill>
            <a:prstDash val="solid"/>
            <a:miter lim="800000"/>
          </a:ln>
          <a:effectLst/>
        </p:spPr>
      </p:cxnSp>
      <p:cxnSp>
        <p:nvCxnSpPr>
          <p:cNvPr id="471" name="Straight Connector 470"/>
          <p:cNvCxnSpPr/>
          <p:nvPr/>
        </p:nvCxnSpPr>
        <p:spPr>
          <a:xfrm>
            <a:off x="4424692" y="1684295"/>
            <a:ext cx="226365" cy="132952"/>
          </a:xfrm>
          <a:prstGeom prst="line">
            <a:avLst/>
          </a:prstGeom>
          <a:noFill/>
          <a:ln w="6350" cap="flat" cmpd="sng" algn="ctr">
            <a:solidFill>
              <a:srgbClr val="5B9BD5"/>
            </a:solidFill>
            <a:prstDash val="solid"/>
            <a:miter lim="800000"/>
          </a:ln>
          <a:effectLst/>
        </p:spPr>
      </p:cxnSp>
      <p:cxnSp>
        <p:nvCxnSpPr>
          <p:cNvPr id="476" name="Straight Connector 475"/>
          <p:cNvCxnSpPr/>
          <p:nvPr/>
        </p:nvCxnSpPr>
        <p:spPr>
          <a:xfrm flipV="1">
            <a:off x="4647375" y="1678590"/>
            <a:ext cx="226365" cy="144362"/>
          </a:xfrm>
          <a:prstGeom prst="line">
            <a:avLst/>
          </a:prstGeom>
          <a:noFill/>
          <a:ln w="6350" cap="flat" cmpd="sng" algn="ctr">
            <a:solidFill>
              <a:srgbClr val="5B9BD5"/>
            </a:solidFill>
            <a:prstDash val="solid"/>
            <a:miter lim="800000"/>
          </a:ln>
          <a:effectLst/>
        </p:spPr>
      </p:cxnSp>
      <p:cxnSp>
        <p:nvCxnSpPr>
          <p:cNvPr id="483" name="Straight Connector 482"/>
          <p:cNvCxnSpPr/>
          <p:nvPr/>
        </p:nvCxnSpPr>
        <p:spPr>
          <a:xfrm>
            <a:off x="4874625" y="1684295"/>
            <a:ext cx="226365" cy="132952"/>
          </a:xfrm>
          <a:prstGeom prst="line">
            <a:avLst/>
          </a:prstGeom>
          <a:noFill/>
          <a:ln w="6350" cap="flat" cmpd="sng" algn="ctr">
            <a:solidFill>
              <a:srgbClr val="5B9BD5"/>
            </a:solidFill>
            <a:prstDash val="solid"/>
            <a:miter lim="800000"/>
          </a:ln>
          <a:effectLst/>
        </p:spPr>
      </p:cxnSp>
      <p:cxnSp>
        <p:nvCxnSpPr>
          <p:cNvPr id="488" name="Straight Connector 487"/>
          <p:cNvCxnSpPr/>
          <p:nvPr/>
        </p:nvCxnSpPr>
        <p:spPr>
          <a:xfrm flipV="1">
            <a:off x="5097307" y="1678590"/>
            <a:ext cx="226365" cy="144362"/>
          </a:xfrm>
          <a:prstGeom prst="line">
            <a:avLst/>
          </a:prstGeom>
          <a:noFill/>
          <a:ln w="6350" cap="flat" cmpd="sng" algn="ctr">
            <a:solidFill>
              <a:srgbClr val="5B9BD5"/>
            </a:solidFill>
            <a:prstDash val="solid"/>
            <a:miter lim="800000"/>
          </a:ln>
          <a:effectLst/>
        </p:spPr>
      </p:cxnSp>
      <p:cxnSp>
        <p:nvCxnSpPr>
          <p:cNvPr id="495" name="Straight Connector 494"/>
          <p:cNvCxnSpPr/>
          <p:nvPr/>
        </p:nvCxnSpPr>
        <p:spPr>
          <a:xfrm>
            <a:off x="5326994" y="1684295"/>
            <a:ext cx="226365" cy="132952"/>
          </a:xfrm>
          <a:prstGeom prst="line">
            <a:avLst/>
          </a:prstGeom>
          <a:noFill/>
          <a:ln w="6350" cap="flat" cmpd="sng" algn="ctr">
            <a:solidFill>
              <a:srgbClr val="5B9BD5"/>
            </a:solidFill>
            <a:prstDash val="solid"/>
            <a:miter lim="800000"/>
          </a:ln>
          <a:effectLst/>
        </p:spPr>
      </p:cxnSp>
      <p:cxnSp>
        <p:nvCxnSpPr>
          <p:cNvPr id="500" name="Straight Connector 499"/>
          <p:cNvCxnSpPr/>
          <p:nvPr/>
        </p:nvCxnSpPr>
        <p:spPr>
          <a:xfrm flipV="1">
            <a:off x="5545604" y="1678590"/>
            <a:ext cx="226365" cy="144362"/>
          </a:xfrm>
          <a:prstGeom prst="line">
            <a:avLst/>
          </a:prstGeom>
          <a:noFill/>
          <a:ln w="6350" cap="flat" cmpd="sng" algn="ctr">
            <a:solidFill>
              <a:srgbClr val="5B9BD5"/>
            </a:solidFill>
            <a:prstDash val="solid"/>
            <a:miter lim="800000"/>
          </a:ln>
          <a:effectLst/>
        </p:spPr>
      </p:cxnSp>
      <p:cxnSp>
        <p:nvCxnSpPr>
          <p:cNvPr id="507" name="Straight Connector 506"/>
          <p:cNvCxnSpPr/>
          <p:nvPr/>
        </p:nvCxnSpPr>
        <p:spPr>
          <a:xfrm>
            <a:off x="5777402" y="1684295"/>
            <a:ext cx="226365" cy="132952"/>
          </a:xfrm>
          <a:prstGeom prst="line">
            <a:avLst/>
          </a:prstGeom>
          <a:noFill/>
          <a:ln w="6350" cap="flat" cmpd="sng" algn="ctr">
            <a:solidFill>
              <a:srgbClr val="5B9BD5"/>
            </a:solidFill>
            <a:prstDash val="solid"/>
            <a:miter lim="800000"/>
          </a:ln>
          <a:effectLst/>
        </p:spPr>
      </p:cxnSp>
      <p:cxnSp>
        <p:nvCxnSpPr>
          <p:cNvPr id="512" name="Straight Connector 511"/>
          <p:cNvCxnSpPr/>
          <p:nvPr/>
        </p:nvCxnSpPr>
        <p:spPr>
          <a:xfrm flipV="1">
            <a:off x="6000084" y="1678590"/>
            <a:ext cx="226365" cy="144362"/>
          </a:xfrm>
          <a:prstGeom prst="line">
            <a:avLst/>
          </a:prstGeom>
          <a:noFill/>
          <a:ln w="6350" cap="flat" cmpd="sng" algn="ctr">
            <a:solidFill>
              <a:srgbClr val="5B9BD5"/>
            </a:solidFill>
            <a:prstDash val="solid"/>
            <a:miter lim="800000"/>
          </a:ln>
          <a:effectLst/>
        </p:spPr>
      </p:cxnSp>
      <p:cxnSp>
        <p:nvCxnSpPr>
          <p:cNvPr id="519" name="Straight Connector 518"/>
          <p:cNvCxnSpPr/>
          <p:nvPr/>
        </p:nvCxnSpPr>
        <p:spPr>
          <a:xfrm>
            <a:off x="6227334" y="1688755"/>
            <a:ext cx="226365" cy="132952"/>
          </a:xfrm>
          <a:prstGeom prst="line">
            <a:avLst/>
          </a:prstGeom>
          <a:noFill/>
          <a:ln w="6350" cap="flat" cmpd="sng" algn="ctr">
            <a:solidFill>
              <a:srgbClr val="5B9BD5"/>
            </a:solidFill>
            <a:prstDash val="solid"/>
            <a:miter lim="800000"/>
          </a:ln>
          <a:effectLst/>
        </p:spPr>
      </p:cxnSp>
      <p:cxnSp>
        <p:nvCxnSpPr>
          <p:cNvPr id="524" name="Straight Connector 523"/>
          <p:cNvCxnSpPr/>
          <p:nvPr/>
        </p:nvCxnSpPr>
        <p:spPr>
          <a:xfrm flipV="1">
            <a:off x="6450017" y="1678590"/>
            <a:ext cx="226365" cy="144362"/>
          </a:xfrm>
          <a:prstGeom prst="line">
            <a:avLst/>
          </a:prstGeom>
          <a:noFill/>
          <a:ln w="6350" cap="flat" cmpd="sng" algn="ctr">
            <a:solidFill>
              <a:srgbClr val="5B9BD5"/>
            </a:solidFill>
            <a:prstDash val="solid"/>
            <a:miter lim="800000"/>
          </a:ln>
          <a:effectLst/>
        </p:spPr>
      </p:cxnSp>
      <p:cxnSp>
        <p:nvCxnSpPr>
          <p:cNvPr id="531" name="Straight Connector 530"/>
          <p:cNvCxnSpPr/>
          <p:nvPr/>
        </p:nvCxnSpPr>
        <p:spPr>
          <a:xfrm>
            <a:off x="6681342" y="1684295"/>
            <a:ext cx="226365" cy="132952"/>
          </a:xfrm>
          <a:prstGeom prst="line">
            <a:avLst/>
          </a:prstGeom>
          <a:noFill/>
          <a:ln w="6350" cap="flat" cmpd="sng" algn="ctr">
            <a:solidFill>
              <a:srgbClr val="5B9BD5"/>
            </a:solidFill>
            <a:prstDash val="solid"/>
            <a:miter lim="800000"/>
          </a:ln>
          <a:effectLst/>
        </p:spPr>
      </p:cxnSp>
      <p:cxnSp>
        <p:nvCxnSpPr>
          <p:cNvPr id="536" name="Straight Connector 535"/>
          <p:cNvCxnSpPr/>
          <p:nvPr/>
        </p:nvCxnSpPr>
        <p:spPr>
          <a:xfrm flipV="1">
            <a:off x="6904023" y="1678590"/>
            <a:ext cx="226365" cy="144362"/>
          </a:xfrm>
          <a:prstGeom prst="line">
            <a:avLst/>
          </a:prstGeom>
          <a:noFill/>
          <a:ln w="6350" cap="flat" cmpd="sng" algn="ctr">
            <a:solidFill>
              <a:srgbClr val="5B9BD5"/>
            </a:solidFill>
            <a:prstDash val="solid"/>
            <a:miter lim="800000"/>
          </a:ln>
          <a:effectLst/>
        </p:spPr>
      </p:cxnSp>
      <p:cxnSp>
        <p:nvCxnSpPr>
          <p:cNvPr id="543" name="Straight Connector 542"/>
          <p:cNvCxnSpPr/>
          <p:nvPr/>
        </p:nvCxnSpPr>
        <p:spPr>
          <a:xfrm>
            <a:off x="7133711" y="1684295"/>
            <a:ext cx="226365" cy="132952"/>
          </a:xfrm>
          <a:prstGeom prst="line">
            <a:avLst/>
          </a:prstGeom>
          <a:noFill/>
          <a:ln w="6350" cap="flat" cmpd="sng" algn="ctr">
            <a:solidFill>
              <a:srgbClr val="5B9BD5"/>
            </a:solidFill>
            <a:prstDash val="solid"/>
            <a:miter lim="800000"/>
          </a:ln>
          <a:effectLst/>
        </p:spPr>
      </p:cxnSp>
      <p:cxnSp>
        <p:nvCxnSpPr>
          <p:cNvPr id="548" name="Straight Connector 547"/>
          <p:cNvCxnSpPr/>
          <p:nvPr/>
        </p:nvCxnSpPr>
        <p:spPr>
          <a:xfrm flipV="1">
            <a:off x="7359992" y="1678590"/>
            <a:ext cx="226365" cy="144362"/>
          </a:xfrm>
          <a:prstGeom prst="line">
            <a:avLst/>
          </a:prstGeom>
          <a:noFill/>
          <a:ln w="6350" cap="flat" cmpd="sng" algn="ctr">
            <a:solidFill>
              <a:srgbClr val="5B9BD5"/>
            </a:solidFill>
            <a:prstDash val="solid"/>
            <a:miter lim="800000"/>
          </a:ln>
          <a:effectLst/>
        </p:spPr>
      </p:cxnSp>
      <p:cxnSp>
        <p:nvCxnSpPr>
          <p:cNvPr id="555" name="Straight Connector 554"/>
          <p:cNvCxnSpPr/>
          <p:nvPr/>
        </p:nvCxnSpPr>
        <p:spPr>
          <a:xfrm>
            <a:off x="7587242" y="1684295"/>
            <a:ext cx="226365" cy="132952"/>
          </a:xfrm>
          <a:prstGeom prst="line">
            <a:avLst/>
          </a:prstGeom>
          <a:noFill/>
          <a:ln w="6350" cap="flat" cmpd="sng" algn="ctr">
            <a:solidFill>
              <a:srgbClr val="5B9BD5"/>
            </a:solidFill>
            <a:prstDash val="solid"/>
            <a:miter lim="800000"/>
          </a:ln>
          <a:effectLst/>
        </p:spPr>
      </p:cxnSp>
      <p:cxnSp>
        <p:nvCxnSpPr>
          <p:cNvPr id="560" name="Straight Connector 559"/>
          <p:cNvCxnSpPr/>
          <p:nvPr/>
        </p:nvCxnSpPr>
        <p:spPr>
          <a:xfrm flipV="1">
            <a:off x="7806325" y="1678590"/>
            <a:ext cx="226365" cy="144362"/>
          </a:xfrm>
          <a:prstGeom prst="line">
            <a:avLst/>
          </a:prstGeom>
          <a:noFill/>
          <a:ln w="6350" cap="flat" cmpd="sng" algn="ctr">
            <a:solidFill>
              <a:srgbClr val="5B9BD5"/>
            </a:solidFill>
            <a:prstDash val="solid"/>
            <a:miter lim="800000"/>
          </a:ln>
          <a:effectLst/>
        </p:spPr>
      </p:cxnSp>
      <p:cxnSp>
        <p:nvCxnSpPr>
          <p:cNvPr id="567" name="Straight Connector 566"/>
          <p:cNvCxnSpPr/>
          <p:nvPr/>
        </p:nvCxnSpPr>
        <p:spPr>
          <a:xfrm>
            <a:off x="8038750" y="1687769"/>
            <a:ext cx="226365" cy="132952"/>
          </a:xfrm>
          <a:prstGeom prst="line">
            <a:avLst/>
          </a:prstGeom>
          <a:noFill/>
          <a:ln w="6350" cap="flat" cmpd="sng" algn="ctr">
            <a:solidFill>
              <a:srgbClr val="5B9BD5"/>
            </a:solidFill>
            <a:prstDash val="solid"/>
            <a:miter lim="800000"/>
          </a:ln>
          <a:effectLst/>
        </p:spPr>
      </p:cxnSp>
      <p:cxnSp>
        <p:nvCxnSpPr>
          <p:cNvPr id="572" name="Straight Connector 571"/>
          <p:cNvCxnSpPr/>
          <p:nvPr/>
        </p:nvCxnSpPr>
        <p:spPr>
          <a:xfrm flipV="1">
            <a:off x="8261433" y="1682064"/>
            <a:ext cx="226365" cy="144362"/>
          </a:xfrm>
          <a:prstGeom prst="line">
            <a:avLst/>
          </a:prstGeom>
          <a:noFill/>
          <a:ln w="6350" cap="flat" cmpd="sng" algn="ctr">
            <a:solidFill>
              <a:srgbClr val="5B9BD5"/>
            </a:solidFill>
            <a:prstDash val="solid"/>
            <a:miter lim="800000"/>
          </a:ln>
          <a:effectLst/>
        </p:spPr>
      </p:cxnSp>
      <p:cxnSp>
        <p:nvCxnSpPr>
          <p:cNvPr id="579" name="Straight Connector 578"/>
          <p:cNvCxnSpPr/>
          <p:nvPr/>
        </p:nvCxnSpPr>
        <p:spPr>
          <a:xfrm>
            <a:off x="8488683" y="1687769"/>
            <a:ext cx="226365" cy="132952"/>
          </a:xfrm>
          <a:prstGeom prst="line">
            <a:avLst/>
          </a:prstGeom>
          <a:noFill/>
          <a:ln w="6350" cap="flat" cmpd="sng" algn="ctr">
            <a:solidFill>
              <a:srgbClr val="5B9BD5"/>
            </a:solidFill>
            <a:prstDash val="solid"/>
            <a:miter lim="800000"/>
          </a:ln>
          <a:effectLst/>
        </p:spPr>
      </p:cxnSp>
      <p:cxnSp>
        <p:nvCxnSpPr>
          <p:cNvPr id="584" name="Straight Connector 583"/>
          <p:cNvCxnSpPr/>
          <p:nvPr/>
        </p:nvCxnSpPr>
        <p:spPr>
          <a:xfrm flipV="1">
            <a:off x="8707766" y="1682064"/>
            <a:ext cx="226365" cy="144362"/>
          </a:xfrm>
          <a:prstGeom prst="line">
            <a:avLst/>
          </a:prstGeom>
          <a:noFill/>
          <a:ln w="6350" cap="flat" cmpd="sng" algn="ctr">
            <a:solidFill>
              <a:srgbClr val="5B9BD5"/>
            </a:solidFill>
            <a:prstDash val="solid"/>
            <a:miter lim="800000"/>
          </a:ln>
          <a:effectLst/>
        </p:spPr>
      </p:cxnSp>
      <p:cxnSp>
        <p:nvCxnSpPr>
          <p:cNvPr id="591" name="Straight Connector 590"/>
          <p:cNvCxnSpPr/>
          <p:nvPr/>
        </p:nvCxnSpPr>
        <p:spPr>
          <a:xfrm>
            <a:off x="8937453" y="1687769"/>
            <a:ext cx="226365" cy="132952"/>
          </a:xfrm>
          <a:prstGeom prst="line">
            <a:avLst/>
          </a:prstGeom>
          <a:noFill/>
          <a:ln w="6350" cap="flat" cmpd="sng" algn="ctr">
            <a:solidFill>
              <a:srgbClr val="5B9BD5"/>
            </a:solidFill>
            <a:prstDash val="solid"/>
            <a:miter lim="800000"/>
          </a:ln>
          <a:effectLst/>
        </p:spPr>
      </p:cxnSp>
      <p:cxnSp>
        <p:nvCxnSpPr>
          <p:cNvPr id="596" name="Straight Connector 595"/>
          <p:cNvCxnSpPr/>
          <p:nvPr/>
        </p:nvCxnSpPr>
        <p:spPr>
          <a:xfrm flipV="1">
            <a:off x="9144315" y="1682064"/>
            <a:ext cx="226365" cy="144362"/>
          </a:xfrm>
          <a:prstGeom prst="line">
            <a:avLst/>
          </a:prstGeom>
          <a:noFill/>
          <a:ln w="6350" cap="flat" cmpd="sng" algn="ctr">
            <a:solidFill>
              <a:srgbClr val="5B9BD5"/>
            </a:solidFill>
            <a:prstDash val="solid"/>
            <a:miter lim="800000"/>
          </a:ln>
          <a:effectLst/>
        </p:spPr>
      </p:cxnSp>
      <p:cxnSp>
        <p:nvCxnSpPr>
          <p:cNvPr id="603" name="Straight Connector 602"/>
          <p:cNvCxnSpPr/>
          <p:nvPr/>
        </p:nvCxnSpPr>
        <p:spPr>
          <a:xfrm>
            <a:off x="9381135" y="1687769"/>
            <a:ext cx="226365" cy="132952"/>
          </a:xfrm>
          <a:prstGeom prst="line">
            <a:avLst/>
          </a:prstGeom>
          <a:noFill/>
          <a:ln w="6350" cap="flat" cmpd="sng" algn="ctr">
            <a:solidFill>
              <a:srgbClr val="5B9BD5"/>
            </a:solidFill>
            <a:prstDash val="solid"/>
            <a:miter lim="800000"/>
          </a:ln>
          <a:effectLst/>
        </p:spPr>
      </p:cxnSp>
      <p:cxnSp>
        <p:nvCxnSpPr>
          <p:cNvPr id="608" name="Straight Connector 607"/>
          <p:cNvCxnSpPr/>
          <p:nvPr/>
        </p:nvCxnSpPr>
        <p:spPr>
          <a:xfrm flipV="1">
            <a:off x="9603819" y="1682064"/>
            <a:ext cx="226365" cy="144362"/>
          </a:xfrm>
          <a:prstGeom prst="line">
            <a:avLst/>
          </a:prstGeom>
          <a:noFill/>
          <a:ln w="6350" cap="flat" cmpd="sng" algn="ctr">
            <a:solidFill>
              <a:srgbClr val="5B9BD5"/>
            </a:solidFill>
            <a:prstDash val="solid"/>
            <a:miter lim="800000"/>
          </a:ln>
          <a:effectLst/>
        </p:spPr>
      </p:cxnSp>
      <p:cxnSp>
        <p:nvCxnSpPr>
          <p:cNvPr id="615" name="Straight Connector 614"/>
          <p:cNvCxnSpPr/>
          <p:nvPr/>
        </p:nvCxnSpPr>
        <p:spPr>
          <a:xfrm>
            <a:off x="9831069" y="1687769"/>
            <a:ext cx="226365" cy="132952"/>
          </a:xfrm>
          <a:prstGeom prst="line">
            <a:avLst/>
          </a:prstGeom>
          <a:noFill/>
          <a:ln w="6350" cap="flat" cmpd="sng" algn="ctr">
            <a:solidFill>
              <a:srgbClr val="5B9BD5"/>
            </a:solidFill>
            <a:prstDash val="solid"/>
            <a:miter lim="800000"/>
          </a:ln>
          <a:effectLst/>
        </p:spPr>
      </p:cxnSp>
      <p:cxnSp>
        <p:nvCxnSpPr>
          <p:cNvPr id="620" name="Straight Connector 619"/>
          <p:cNvCxnSpPr/>
          <p:nvPr/>
        </p:nvCxnSpPr>
        <p:spPr>
          <a:xfrm flipV="1">
            <a:off x="10053751" y="1682064"/>
            <a:ext cx="226365" cy="144362"/>
          </a:xfrm>
          <a:prstGeom prst="line">
            <a:avLst/>
          </a:prstGeom>
          <a:noFill/>
          <a:ln w="6350" cap="flat" cmpd="sng" algn="ctr">
            <a:solidFill>
              <a:srgbClr val="5B9BD5"/>
            </a:solidFill>
            <a:prstDash val="solid"/>
            <a:miter lim="800000"/>
          </a:ln>
          <a:effectLst/>
        </p:spPr>
      </p:cxnSp>
      <p:cxnSp>
        <p:nvCxnSpPr>
          <p:cNvPr id="627" name="Straight Connector 626"/>
          <p:cNvCxnSpPr/>
          <p:nvPr/>
        </p:nvCxnSpPr>
        <p:spPr>
          <a:xfrm>
            <a:off x="10285075" y="1687769"/>
            <a:ext cx="226365" cy="132952"/>
          </a:xfrm>
          <a:prstGeom prst="line">
            <a:avLst/>
          </a:prstGeom>
          <a:noFill/>
          <a:ln w="6350" cap="flat" cmpd="sng" algn="ctr">
            <a:solidFill>
              <a:srgbClr val="5B9BD5"/>
            </a:solidFill>
            <a:prstDash val="solid"/>
            <a:miter lim="800000"/>
          </a:ln>
          <a:effectLst/>
        </p:spPr>
      </p:cxnSp>
      <p:cxnSp>
        <p:nvCxnSpPr>
          <p:cNvPr id="632" name="Straight Connector 631"/>
          <p:cNvCxnSpPr/>
          <p:nvPr/>
        </p:nvCxnSpPr>
        <p:spPr>
          <a:xfrm flipV="1">
            <a:off x="10507758" y="1682064"/>
            <a:ext cx="226365" cy="144362"/>
          </a:xfrm>
          <a:prstGeom prst="line">
            <a:avLst/>
          </a:prstGeom>
          <a:noFill/>
          <a:ln w="6350" cap="flat" cmpd="sng" algn="ctr">
            <a:solidFill>
              <a:srgbClr val="5B9BD5"/>
            </a:solidFill>
            <a:prstDash val="solid"/>
            <a:miter lim="800000"/>
          </a:ln>
          <a:effectLst/>
        </p:spPr>
      </p:cxnSp>
      <p:cxnSp>
        <p:nvCxnSpPr>
          <p:cNvPr id="639" name="Straight Connector 638"/>
          <p:cNvCxnSpPr/>
          <p:nvPr/>
        </p:nvCxnSpPr>
        <p:spPr>
          <a:xfrm>
            <a:off x="10737445" y="1687769"/>
            <a:ext cx="226365" cy="132952"/>
          </a:xfrm>
          <a:prstGeom prst="line">
            <a:avLst/>
          </a:prstGeom>
          <a:noFill/>
          <a:ln w="6350" cap="flat" cmpd="sng" algn="ctr">
            <a:solidFill>
              <a:srgbClr val="5B9BD5"/>
            </a:solidFill>
            <a:prstDash val="solid"/>
            <a:miter lim="800000"/>
          </a:ln>
          <a:effectLst/>
        </p:spPr>
      </p:cxnSp>
      <p:cxnSp>
        <p:nvCxnSpPr>
          <p:cNvPr id="644" name="Straight Connector 643"/>
          <p:cNvCxnSpPr/>
          <p:nvPr/>
        </p:nvCxnSpPr>
        <p:spPr>
          <a:xfrm flipV="1">
            <a:off x="10960127" y="1682064"/>
            <a:ext cx="226365" cy="144362"/>
          </a:xfrm>
          <a:prstGeom prst="line">
            <a:avLst/>
          </a:prstGeom>
          <a:noFill/>
          <a:ln w="6350" cap="flat" cmpd="sng" algn="ctr">
            <a:solidFill>
              <a:srgbClr val="5B9BD5"/>
            </a:solidFill>
            <a:prstDash val="solid"/>
            <a:miter lim="800000"/>
          </a:ln>
          <a:effectLst/>
        </p:spPr>
      </p:cxnSp>
      <p:cxnSp>
        <p:nvCxnSpPr>
          <p:cNvPr id="651" name="Straight Connector 650"/>
          <p:cNvCxnSpPr/>
          <p:nvPr/>
        </p:nvCxnSpPr>
        <p:spPr>
          <a:xfrm>
            <a:off x="11187377" y="1687769"/>
            <a:ext cx="226365" cy="132952"/>
          </a:xfrm>
          <a:prstGeom prst="line">
            <a:avLst/>
          </a:prstGeom>
          <a:noFill/>
          <a:ln w="6350" cap="flat" cmpd="sng" algn="ctr">
            <a:solidFill>
              <a:srgbClr val="5B9BD5"/>
            </a:solidFill>
            <a:prstDash val="solid"/>
            <a:miter lim="800000"/>
          </a:ln>
          <a:effectLst/>
        </p:spPr>
      </p:cxnSp>
      <p:cxnSp>
        <p:nvCxnSpPr>
          <p:cNvPr id="374" name="Straight Connector 373"/>
          <p:cNvCxnSpPr/>
          <p:nvPr/>
        </p:nvCxnSpPr>
        <p:spPr>
          <a:xfrm>
            <a:off x="817100" y="1948906"/>
            <a:ext cx="226365" cy="132952"/>
          </a:xfrm>
          <a:prstGeom prst="line">
            <a:avLst/>
          </a:prstGeom>
          <a:noFill/>
          <a:ln w="6350" cap="flat" cmpd="sng" algn="ctr">
            <a:solidFill>
              <a:srgbClr val="5B9BD5"/>
            </a:solidFill>
            <a:prstDash val="solid"/>
            <a:miter lim="800000"/>
          </a:ln>
          <a:effectLst/>
        </p:spPr>
      </p:cxnSp>
      <p:cxnSp>
        <p:nvCxnSpPr>
          <p:cNvPr id="377" name="Straight Connector 376"/>
          <p:cNvCxnSpPr/>
          <p:nvPr/>
        </p:nvCxnSpPr>
        <p:spPr>
          <a:xfrm flipH="1">
            <a:off x="1039783" y="1948906"/>
            <a:ext cx="226365" cy="132952"/>
          </a:xfrm>
          <a:prstGeom prst="line">
            <a:avLst/>
          </a:prstGeom>
          <a:noFill/>
          <a:ln w="6350" cap="flat" cmpd="sng" algn="ctr">
            <a:solidFill>
              <a:srgbClr val="5B9BD5"/>
            </a:solidFill>
            <a:prstDash val="solid"/>
            <a:miter lim="800000"/>
          </a:ln>
          <a:effectLst/>
        </p:spPr>
      </p:cxnSp>
      <p:cxnSp>
        <p:nvCxnSpPr>
          <p:cNvPr id="386" name="Straight Connector 385"/>
          <p:cNvCxnSpPr/>
          <p:nvPr/>
        </p:nvCxnSpPr>
        <p:spPr>
          <a:xfrm>
            <a:off x="1267033" y="1948906"/>
            <a:ext cx="226365" cy="132952"/>
          </a:xfrm>
          <a:prstGeom prst="line">
            <a:avLst/>
          </a:prstGeom>
          <a:noFill/>
          <a:ln w="6350" cap="flat" cmpd="sng" algn="ctr">
            <a:solidFill>
              <a:srgbClr val="5B9BD5"/>
            </a:solidFill>
            <a:prstDash val="solid"/>
            <a:miter lim="800000"/>
          </a:ln>
          <a:effectLst/>
        </p:spPr>
      </p:cxnSp>
      <p:cxnSp>
        <p:nvCxnSpPr>
          <p:cNvPr id="389" name="Straight Connector 388"/>
          <p:cNvCxnSpPr/>
          <p:nvPr/>
        </p:nvCxnSpPr>
        <p:spPr>
          <a:xfrm flipH="1">
            <a:off x="1489715" y="1948906"/>
            <a:ext cx="226365" cy="132952"/>
          </a:xfrm>
          <a:prstGeom prst="line">
            <a:avLst/>
          </a:prstGeom>
          <a:noFill/>
          <a:ln w="6350" cap="flat" cmpd="sng" algn="ctr">
            <a:solidFill>
              <a:srgbClr val="5B9BD5"/>
            </a:solidFill>
            <a:prstDash val="solid"/>
            <a:miter lim="800000"/>
          </a:ln>
          <a:effectLst/>
        </p:spPr>
      </p:cxnSp>
      <p:cxnSp>
        <p:nvCxnSpPr>
          <p:cNvPr id="398" name="Straight Connector 397"/>
          <p:cNvCxnSpPr/>
          <p:nvPr/>
        </p:nvCxnSpPr>
        <p:spPr>
          <a:xfrm>
            <a:off x="1719402" y="1948906"/>
            <a:ext cx="226365" cy="132952"/>
          </a:xfrm>
          <a:prstGeom prst="line">
            <a:avLst/>
          </a:prstGeom>
          <a:noFill/>
          <a:ln w="6350" cap="flat" cmpd="sng" algn="ctr">
            <a:solidFill>
              <a:srgbClr val="5B9BD5"/>
            </a:solidFill>
            <a:prstDash val="solid"/>
            <a:miter lim="800000"/>
          </a:ln>
          <a:effectLst/>
        </p:spPr>
      </p:cxnSp>
      <p:cxnSp>
        <p:nvCxnSpPr>
          <p:cNvPr id="401" name="Straight Connector 400"/>
          <p:cNvCxnSpPr/>
          <p:nvPr/>
        </p:nvCxnSpPr>
        <p:spPr>
          <a:xfrm flipH="1">
            <a:off x="1942085" y="1948906"/>
            <a:ext cx="226365" cy="132952"/>
          </a:xfrm>
          <a:prstGeom prst="line">
            <a:avLst/>
          </a:prstGeom>
          <a:noFill/>
          <a:ln w="6350" cap="flat" cmpd="sng" algn="ctr">
            <a:solidFill>
              <a:srgbClr val="5B9BD5"/>
            </a:solidFill>
            <a:prstDash val="solid"/>
            <a:miter lim="800000"/>
          </a:ln>
          <a:effectLst/>
        </p:spPr>
      </p:cxnSp>
      <p:cxnSp>
        <p:nvCxnSpPr>
          <p:cNvPr id="410" name="Straight Connector 409"/>
          <p:cNvCxnSpPr/>
          <p:nvPr/>
        </p:nvCxnSpPr>
        <p:spPr>
          <a:xfrm>
            <a:off x="2169336" y="1948906"/>
            <a:ext cx="226365" cy="132952"/>
          </a:xfrm>
          <a:prstGeom prst="line">
            <a:avLst/>
          </a:prstGeom>
          <a:noFill/>
          <a:ln w="6350" cap="flat" cmpd="sng" algn="ctr">
            <a:solidFill>
              <a:srgbClr val="5B9BD5"/>
            </a:solidFill>
            <a:prstDash val="solid"/>
            <a:miter lim="800000"/>
          </a:ln>
          <a:effectLst/>
        </p:spPr>
      </p:cxnSp>
      <p:cxnSp>
        <p:nvCxnSpPr>
          <p:cNvPr id="413" name="Straight Connector 412"/>
          <p:cNvCxnSpPr/>
          <p:nvPr/>
        </p:nvCxnSpPr>
        <p:spPr>
          <a:xfrm flipH="1">
            <a:off x="2392018" y="1948906"/>
            <a:ext cx="226365" cy="132952"/>
          </a:xfrm>
          <a:prstGeom prst="line">
            <a:avLst/>
          </a:prstGeom>
          <a:noFill/>
          <a:ln w="6350" cap="flat" cmpd="sng" algn="ctr">
            <a:solidFill>
              <a:srgbClr val="5B9BD5"/>
            </a:solidFill>
            <a:prstDash val="solid"/>
            <a:miter lim="800000"/>
          </a:ln>
          <a:effectLst/>
        </p:spPr>
      </p:cxnSp>
      <p:cxnSp>
        <p:nvCxnSpPr>
          <p:cNvPr id="422" name="Straight Connector 421"/>
          <p:cNvCxnSpPr/>
          <p:nvPr/>
        </p:nvCxnSpPr>
        <p:spPr>
          <a:xfrm>
            <a:off x="2615668" y="1948906"/>
            <a:ext cx="226365" cy="132952"/>
          </a:xfrm>
          <a:prstGeom prst="line">
            <a:avLst/>
          </a:prstGeom>
          <a:noFill/>
          <a:ln w="6350" cap="flat" cmpd="sng" algn="ctr">
            <a:solidFill>
              <a:srgbClr val="5B9BD5"/>
            </a:solidFill>
            <a:prstDash val="solid"/>
            <a:miter lim="800000"/>
          </a:ln>
          <a:effectLst/>
        </p:spPr>
      </p:cxnSp>
      <p:cxnSp>
        <p:nvCxnSpPr>
          <p:cNvPr id="425" name="Straight Connector 424"/>
          <p:cNvCxnSpPr/>
          <p:nvPr/>
        </p:nvCxnSpPr>
        <p:spPr>
          <a:xfrm flipH="1">
            <a:off x="2838352" y="1948906"/>
            <a:ext cx="226365" cy="132952"/>
          </a:xfrm>
          <a:prstGeom prst="line">
            <a:avLst/>
          </a:prstGeom>
          <a:noFill/>
          <a:ln w="6350" cap="flat" cmpd="sng" algn="ctr">
            <a:solidFill>
              <a:srgbClr val="5B9BD5"/>
            </a:solidFill>
            <a:prstDash val="solid"/>
            <a:miter lim="800000"/>
          </a:ln>
          <a:effectLst/>
        </p:spPr>
      </p:cxnSp>
      <p:cxnSp>
        <p:nvCxnSpPr>
          <p:cNvPr id="434" name="Straight Connector 433"/>
          <p:cNvCxnSpPr/>
          <p:nvPr/>
        </p:nvCxnSpPr>
        <p:spPr>
          <a:xfrm>
            <a:off x="3065602" y="1948906"/>
            <a:ext cx="226365" cy="132952"/>
          </a:xfrm>
          <a:prstGeom prst="line">
            <a:avLst/>
          </a:prstGeom>
          <a:noFill/>
          <a:ln w="6350" cap="flat" cmpd="sng" algn="ctr">
            <a:solidFill>
              <a:srgbClr val="5B9BD5"/>
            </a:solidFill>
            <a:prstDash val="solid"/>
            <a:miter lim="800000"/>
          </a:ln>
          <a:effectLst/>
        </p:spPr>
      </p:cxnSp>
      <p:cxnSp>
        <p:nvCxnSpPr>
          <p:cNvPr id="437" name="Straight Connector 436"/>
          <p:cNvCxnSpPr/>
          <p:nvPr/>
        </p:nvCxnSpPr>
        <p:spPr>
          <a:xfrm flipH="1">
            <a:off x="3288284" y="1948906"/>
            <a:ext cx="226365" cy="132952"/>
          </a:xfrm>
          <a:prstGeom prst="line">
            <a:avLst/>
          </a:prstGeom>
          <a:noFill/>
          <a:ln w="6350" cap="flat" cmpd="sng" algn="ctr">
            <a:solidFill>
              <a:srgbClr val="5B9BD5"/>
            </a:solidFill>
            <a:prstDash val="solid"/>
            <a:miter lim="800000"/>
          </a:ln>
          <a:effectLst/>
        </p:spPr>
      </p:cxnSp>
      <p:cxnSp>
        <p:nvCxnSpPr>
          <p:cNvPr id="446" name="Straight Connector 445"/>
          <p:cNvCxnSpPr/>
          <p:nvPr/>
        </p:nvCxnSpPr>
        <p:spPr>
          <a:xfrm>
            <a:off x="3517971" y="1948906"/>
            <a:ext cx="226365" cy="132952"/>
          </a:xfrm>
          <a:prstGeom prst="line">
            <a:avLst/>
          </a:prstGeom>
          <a:noFill/>
          <a:ln w="6350" cap="flat" cmpd="sng" algn="ctr">
            <a:solidFill>
              <a:srgbClr val="5B9BD5"/>
            </a:solidFill>
            <a:prstDash val="solid"/>
            <a:miter lim="800000"/>
          </a:ln>
          <a:effectLst/>
        </p:spPr>
      </p:cxnSp>
      <p:cxnSp>
        <p:nvCxnSpPr>
          <p:cNvPr id="449" name="Straight Connector 448"/>
          <p:cNvCxnSpPr/>
          <p:nvPr/>
        </p:nvCxnSpPr>
        <p:spPr>
          <a:xfrm flipH="1">
            <a:off x="3740654" y="1948906"/>
            <a:ext cx="226365" cy="132952"/>
          </a:xfrm>
          <a:prstGeom prst="line">
            <a:avLst/>
          </a:prstGeom>
          <a:noFill/>
          <a:ln w="6350" cap="flat" cmpd="sng" algn="ctr">
            <a:solidFill>
              <a:srgbClr val="5B9BD5"/>
            </a:solidFill>
            <a:prstDash val="solid"/>
            <a:miter lim="800000"/>
          </a:ln>
          <a:effectLst/>
        </p:spPr>
      </p:cxnSp>
      <p:cxnSp>
        <p:nvCxnSpPr>
          <p:cNvPr id="458" name="Straight Connector 457"/>
          <p:cNvCxnSpPr/>
          <p:nvPr/>
        </p:nvCxnSpPr>
        <p:spPr>
          <a:xfrm>
            <a:off x="3971978" y="1948906"/>
            <a:ext cx="226365" cy="132952"/>
          </a:xfrm>
          <a:prstGeom prst="line">
            <a:avLst/>
          </a:prstGeom>
          <a:noFill/>
          <a:ln w="6350" cap="flat" cmpd="sng" algn="ctr">
            <a:solidFill>
              <a:srgbClr val="5B9BD5"/>
            </a:solidFill>
            <a:prstDash val="solid"/>
            <a:miter lim="800000"/>
          </a:ln>
          <a:effectLst/>
        </p:spPr>
      </p:cxnSp>
      <p:cxnSp>
        <p:nvCxnSpPr>
          <p:cNvPr id="470" name="Straight Connector 469"/>
          <p:cNvCxnSpPr/>
          <p:nvPr/>
        </p:nvCxnSpPr>
        <p:spPr>
          <a:xfrm>
            <a:off x="4424692" y="1950200"/>
            <a:ext cx="226365" cy="132952"/>
          </a:xfrm>
          <a:prstGeom prst="line">
            <a:avLst/>
          </a:prstGeom>
          <a:noFill/>
          <a:ln w="6350" cap="flat" cmpd="sng" algn="ctr">
            <a:solidFill>
              <a:srgbClr val="5B9BD5"/>
            </a:solidFill>
            <a:prstDash val="solid"/>
            <a:miter lim="800000"/>
          </a:ln>
          <a:effectLst/>
        </p:spPr>
      </p:cxnSp>
      <p:cxnSp>
        <p:nvCxnSpPr>
          <p:cNvPr id="473" name="Straight Connector 472"/>
          <p:cNvCxnSpPr/>
          <p:nvPr/>
        </p:nvCxnSpPr>
        <p:spPr>
          <a:xfrm flipH="1">
            <a:off x="4647375" y="1950200"/>
            <a:ext cx="226365" cy="132952"/>
          </a:xfrm>
          <a:prstGeom prst="line">
            <a:avLst/>
          </a:prstGeom>
          <a:noFill/>
          <a:ln w="6350" cap="flat" cmpd="sng" algn="ctr">
            <a:solidFill>
              <a:srgbClr val="5B9BD5"/>
            </a:solidFill>
            <a:prstDash val="solid"/>
            <a:miter lim="800000"/>
          </a:ln>
          <a:effectLst/>
        </p:spPr>
      </p:cxnSp>
      <p:cxnSp>
        <p:nvCxnSpPr>
          <p:cNvPr id="482" name="Straight Connector 481"/>
          <p:cNvCxnSpPr/>
          <p:nvPr/>
        </p:nvCxnSpPr>
        <p:spPr>
          <a:xfrm>
            <a:off x="4874625" y="1950200"/>
            <a:ext cx="226365" cy="132952"/>
          </a:xfrm>
          <a:prstGeom prst="line">
            <a:avLst/>
          </a:prstGeom>
          <a:noFill/>
          <a:ln w="6350" cap="flat" cmpd="sng" algn="ctr">
            <a:solidFill>
              <a:srgbClr val="5B9BD5"/>
            </a:solidFill>
            <a:prstDash val="solid"/>
            <a:miter lim="800000"/>
          </a:ln>
          <a:effectLst/>
        </p:spPr>
      </p:cxnSp>
      <p:cxnSp>
        <p:nvCxnSpPr>
          <p:cNvPr id="485" name="Straight Connector 484"/>
          <p:cNvCxnSpPr/>
          <p:nvPr/>
        </p:nvCxnSpPr>
        <p:spPr>
          <a:xfrm flipH="1">
            <a:off x="5097307" y="1950200"/>
            <a:ext cx="226365" cy="132952"/>
          </a:xfrm>
          <a:prstGeom prst="line">
            <a:avLst/>
          </a:prstGeom>
          <a:noFill/>
          <a:ln w="6350" cap="flat" cmpd="sng" algn="ctr">
            <a:solidFill>
              <a:srgbClr val="5B9BD5"/>
            </a:solidFill>
            <a:prstDash val="solid"/>
            <a:miter lim="800000"/>
          </a:ln>
          <a:effectLst/>
        </p:spPr>
      </p:cxnSp>
      <p:cxnSp>
        <p:nvCxnSpPr>
          <p:cNvPr id="494" name="Straight Connector 493"/>
          <p:cNvCxnSpPr/>
          <p:nvPr/>
        </p:nvCxnSpPr>
        <p:spPr>
          <a:xfrm>
            <a:off x="5326994" y="1950200"/>
            <a:ext cx="226365" cy="132952"/>
          </a:xfrm>
          <a:prstGeom prst="line">
            <a:avLst/>
          </a:prstGeom>
          <a:noFill/>
          <a:ln w="6350" cap="flat" cmpd="sng" algn="ctr">
            <a:solidFill>
              <a:srgbClr val="5B9BD5"/>
            </a:solidFill>
            <a:prstDash val="solid"/>
            <a:miter lim="800000"/>
          </a:ln>
          <a:effectLst/>
        </p:spPr>
      </p:cxnSp>
      <p:cxnSp>
        <p:nvCxnSpPr>
          <p:cNvPr id="497" name="Straight Connector 496"/>
          <p:cNvCxnSpPr/>
          <p:nvPr/>
        </p:nvCxnSpPr>
        <p:spPr>
          <a:xfrm flipH="1">
            <a:off x="5545604" y="1950200"/>
            <a:ext cx="226365" cy="132952"/>
          </a:xfrm>
          <a:prstGeom prst="line">
            <a:avLst/>
          </a:prstGeom>
          <a:noFill/>
          <a:ln w="6350" cap="flat" cmpd="sng" algn="ctr">
            <a:solidFill>
              <a:srgbClr val="5B9BD5"/>
            </a:solidFill>
            <a:prstDash val="solid"/>
            <a:miter lim="800000"/>
          </a:ln>
          <a:effectLst/>
        </p:spPr>
      </p:cxnSp>
      <p:cxnSp>
        <p:nvCxnSpPr>
          <p:cNvPr id="506" name="Straight Connector 505"/>
          <p:cNvCxnSpPr/>
          <p:nvPr/>
        </p:nvCxnSpPr>
        <p:spPr>
          <a:xfrm>
            <a:off x="5777402" y="1950200"/>
            <a:ext cx="226365" cy="132952"/>
          </a:xfrm>
          <a:prstGeom prst="line">
            <a:avLst/>
          </a:prstGeom>
          <a:noFill/>
          <a:ln w="6350" cap="flat" cmpd="sng" algn="ctr">
            <a:solidFill>
              <a:srgbClr val="5B9BD5"/>
            </a:solidFill>
            <a:prstDash val="solid"/>
            <a:miter lim="800000"/>
          </a:ln>
          <a:effectLst/>
        </p:spPr>
      </p:cxnSp>
      <p:cxnSp>
        <p:nvCxnSpPr>
          <p:cNvPr id="509" name="Straight Connector 508"/>
          <p:cNvCxnSpPr/>
          <p:nvPr/>
        </p:nvCxnSpPr>
        <p:spPr>
          <a:xfrm flipH="1">
            <a:off x="6000084" y="1950200"/>
            <a:ext cx="226365" cy="132952"/>
          </a:xfrm>
          <a:prstGeom prst="line">
            <a:avLst/>
          </a:prstGeom>
          <a:noFill/>
          <a:ln w="6350" cap="flat" cmpd="sng" algn="ctr">
            <a:solidFill>
              <a:srgbClr val="5B9BD5"/>
            </a:solidFill>
            <a:prstDash val="solid"/>
            <a:miter lim="800000"/>
          </a:ln>
          <a:effectLst/>
        </p:spPr>
      </p:cxnSp>
      <p:cxnSp>
        <p:nvCxnSpPr>
          <p:cNvPr id="518" name="Straight Connector 517"/>
          <p:cNvCxnSpPr/>
          <p:nvPr/>
        </p:nvCxnSpPr>
        <p:spPr>
          <a:xfrm>
            <a:off x="6227334" y="1950200"/>
            <a:ext cx="226365" cy="132952"/>
          </a:xfrm>
          <a:prstGeom prst="line">
            <a:avLst/>
          </a:prstGeom>
          <a:noFill/>
          <a:ln w="6350" cap="flat" cmpd="sng" algn="ctr">
            <a:solidFill>
              <a:srgbClr val="5B9BD5"/>
            </a:solidFill>
            <a:prstDash val="solid"/>
            <a:miter lim="800000"/>
          </a:ln>
          <a:effectLst/>
        </p:spPr>
      </p:cxnSp>
      <p:cxnSp>
        <p:nvCxnSpPr>
          <p:cNvPr id="521" name="Straight Connector 520"/>
          <p:cNvCxnSpPr/>
          <p:nvPr/>
        </p:nvCxnSpPr>
        <p:spPr>
          <a:xfrm flipH="1">
            <a:off x="6450017" y="1950200"/>
            <a:ext cx="226365" cy="132952"/>
          </a:xfrm>
          <a:prstGeom prst="line">
            <a:avLst/>
          </a:prstGeom>
          <a:noFill/>
          <a:ln w="6350" cap="flat" cmpd="sng" algn="ctr">
            <a:solidFill>
              <a:srgbClr val="5B9BD5"/>
            </a:solidFill>
            <a:prstDash val="solid"/>
            <a:miter lim="800000"/>
          </a:ln>
          <a:effectLst/>
        </p:spPr>
      </p:cxnSp>
      <p:cxnSp>
        <p:nvCxnSpPr>
          <p:cNvPr id="530" name="Straight Connector 529"/>
          <p:cNvCxnSpPr/>
          <p:nvPr/>
        </p:nvCxnSpPr>
        <p:spPr>
          <a:xfrm>
            <a:off x="6681342" y="1950200"/>
            <a:ext cx="226365" cy="132952"/>
          </a:xfrm>
          <a:prstGeom prst="line">
            <a:avLst/>
          </a:prstGeom>
          <a:noFill/>
          <a:ln w="6350" cap="flat" cmpd="sng" algn="ctr">
            <a:solidFill>
              <a:srgbClr val="5B9BD5"/>
            </a:solidFill>
            <a:prstDash val="solid"/>
            <a:miter lim="800000"/>
          </a:ln>
          <a:effectLst/>
        </p:spPr>
      </p:cxnSp>
      <p:cxnSp>
        <p:nvCxnSpPr>
          <p:cNvPr id="533" name="Straight Connector 532"/>
          <p:cNvCxnSpPr/>
          <p:nvPr/>
        </p:nvCxnSpPr>
        <p:spPr>
          <a:xfrm flipH="1">
            <a:off x="6904023" y="1950200"/>
            <a:ext cx="226365" cy="132952"/>
          </a:xfrm>
          <a:prstGeom prst="line">
            <a:avLst/>
          </a:prstGeom>
          <a:noFill/>
          <a:ln w="6350" cap="flat" cmpd="sng" algn="ctr">
            <a:solidFill>
              <a:srgbClr val="5B9BD5"/>
            </a:solidFill>
            <a:prstDash val="solid"/>
            <a:miter lim="800000"/>
          </a:ln>
          <a:effectLst/>
        </p:spPr>
      </p:cxnSp>
      <p:cxnSp>
        <p:nvCxnSpPr>
          <p:cNvPr id="542" name="Straight Connector 541"/>
          <p:cNvCxnSpPr/>
          <p:nvPr/>
        </p:nvCxnSpPr>
        <p:spPr>
          <a:xfrm>
            <a:off x="7133711" y="1950200"/>
            <a:ext cx="226365" cy="132952"/>
          </a:xfrm>
          <a:prstGeom prst="line">
            <a:avLst/>
          </a:prstGeom>
          <a:noFill/>
          <a:ln w="6350" cap="flat" cmpd="sng" algn="ctr">
            <a:solidFill>
              <a:srgbClr val="5B9BD5"/>
            </a:solidFill>
            <a:prstDash val="solid"/>
            <a:miter lim="800000"/>
          </a:ln>
          <a:effectLst/>
        </p:spPr>
      </p:cxnSp>
      <p:cxnSp>
        <p:nvCxnSpPr>
          <p:cNvPr id="545" name="Straight Connector 544"/>
          <p:cNvCxnSpPr/>
          <p:nvPr/>
        </p:nvCxnSpPr>
        <p:spPr>
          <a:xfrm flipH="1">
            <a:off x="7359992" y="1950200"/>
            <a:ext cx="226365" cy="132952"/>
          </a:xfrm>
          <a:prstGeom prst="line">
            <a:avLst/>
          </a:prstGeom>
          <a:noFill/>
          <a:ln w="6350" cap="flat" cmpd="sng" algn="ctr">
            <a:solidFill>
              <a:srgbClr val="5B9BD5"/>
            </a:solidFill>
            <a:prstDash val="solid"/>
            <a:miter lim="800000"/>
          </a:ln>
          <a:effectLst/>
        </p:spPr>
      </p:cxnSp>
      <p:sp>
        <p:nvSpPr>
          <p:cNvPr id="372" name="Hexagon 371"/>
          <p:cNvSpPr/>
          <p:nvPr/>
        </p:nvSpPr>
        <p:spPr>
          <a:xfrm>
            <a:off x="682363"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78" name="Straight Connector 377"/>
          <p:cNvCxnSpPr/>
          <p:nvPr/>
        </p:nvCxnSpPr>
        <p:spPr>
          <a:xfrm>
            <a:off x="1039783" y="1821659"/>
            <a:ext cx="32" cy="263282"/>
          </a:xfrm>
          <a:prstGeom prst="line">
            <a:avLst/>
          </a:prstGeom>
          <a:noFill/>
          <a:ln w="6350" cap="flat" cmpd="sng" algn="ctr">
            <a:solidFill>
              <a:srgbClr val="5B9BD5"/>
            </a:solidFill>
            <a:prstDash val="solid"/>
            <a:miter lim="800000"/>
          </a:ln>
          <a:effectLst/>
        </p:spPr>
      </p:cxnSp>
      <p:sp>
        <p:nvSpPr>
          <p:cNvPr id="384" name="Hexagon 383"/>
          <p:cNvSpPr/>
          <p:nvPr/>
        </p:nvSpPr>
        <p:spPr>
          <a:xfrm>
            <a:off x="1132297"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90" name="Straight Connector 389"/>
          <p:cNvCxnSpPr/>
          <p:nvPr/>
        </p:nvCxnSpPr>
        <p:spPr>
          <a:xfrm>
            <a:off x="1489716" y="1821659"/>
            <a:ext cx="32" cy="263282"/>
          </a:xfrm>
          <a:prstGeom prst="line">
            <a:avLst/>
          </a:prstGeom>
          <a:noFill/>
          <a:ln w="6350" cap="flat" cmpd="sng" algn="ctr">
            <a:solidFill>
              <a:srgbClr val="5B9BD5"/>
            </a:solidFill>
            <a:prstDash val="solid"/>
            <a:miter lim="800000"/>
          </a:ln>
          <a:effectLst/>
        </p:spPr>
      </p:cxnSp>
      <p:sp>
        <p:nvSpPr>
          <p:cNvPr id="396" name="Hexagon 395"/>
          <p:cNvSpPr/>
          <p:nvPr/>
        </p:nvSpPr>
        <p:spPr>
          <a:xfrm>
            <a:off x="15846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02" name="Straight Connector 401"/>
          <p:cNvCxnSpPr/>
          <p:nvPr/>
        </p:nvCxnSpPr>
        <p:spPr>
          <a:xfrm>
            <a:off x="1942085" y="1821659"/>
            <a:ext cx="32" cy="263282"/>
          </a:xfrm>
          <a:prstGeom prst="line">
            <a:avLst/>
          </a:prstGeom>
          <a:noFill/>
          <a:ln w="6350" cap="flat" cmpd="sng" algn="ctr">
            <a:solidFill>
              <a:srgbClr val="5B9BD5"/>
            </a:solidFill>
            <a:prstDash val="solid"/>
            <a:miter lim="800000"/>
          </a:ln>
          <a:effectLst/>
        </p:spPr>
      </p:cxnSp>
      <p:sp>
        <p:nvSpPr>
          <p:cNvPr id="408" name="Hexagon 407"/>
          <p:cNvSpPr/>
          <p:nvPr/>
        </p:nvSpPr>
        <p:spPr>
          <a:xfrm>
            <a:off x="2034599"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14" name="Straight Connector 413"/>
          <p:cNvCxnSpPr/>
          <p:nvPr/>
        </p:nvCxnSpPr>
        <p:spPr>
          <a:xfrm>
            <a:off x="2392019" y="1817199"/>
            <a:ext cx="32" cy="263282"/>
          </a:xfrm>
          <a:prstGeom prst="line">
            <a:avLst/>
          </a:prstGeom>
          <a:noFill/>
          <a:ln w="6350" cap="flat" cmpd="sng" algn="ctr">
            <a:solidFill>
              <a:srgbClr val="5B9BD5"/>
            </a:solidFill>
            <a:prstDash val="solid"/>
            <a:miter lim="800000"/>
          </a:ln>
          <a:effectLst/>
        </p:spPr>
      </p:cxnSp>
      <p:sp>
        <p:nvSpPr>
          <p:cNvPr id="420" name="Hexagon 419"/>
          <p:cNvSpPr/>
          <p:nvPr/>
        </p:nvSpPr>
        <p:spPr>
          <a:xfrm>
            <a:off x="2484532"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26" name="Straight Connector 425"/>
          <p:cNvCxnSpPr/>
          <p:nvPr/>
        </p:nvCxnSpPr>
        <p:spPr>
          <a:xfrm>
            <a:off x="2838352" y="1821659"/>
            <a:ext cx="32" cy="263282"/>
          </a:xfrm>
          <a:prstGeom prst="line">
            <a:avLst/>
          </a:prstGeom>
          <a:noFill/>
          <a:ln w="6350" cap="flat" cmpd="sng" algn="ctr">
            <a:solidFill>
              <a:srgbClr val="5B9BD5"/>
            </a:solidFill>
            <a:prstDash val="solid"/>
            <a:miter lim="800000"/>
          </a:ln>
          <a:effectLst/>
        </p:spPr>
      </p:cxnSp>
      <p:sp>
        <p:nvSpPr>
          <p:cNvPr id="432" name="Hexagon 431"/>
          <p:cNvSpPr/>
          <p:nvPr/>
        </p:nvSpPr>
        <p:spPr>
          <a:xfrm>
            <a:off x="29308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38" name="Straight Connector 437"/>
          <p:cNvCxnSpPr/>
          <p:nvPr/>
        </p:nvCxnSpPr>
        <p:spPr>
          <a:xfrm>
            <a:off x="3288285" y="1821659"/>
            <a:ext cx="32" cy="263282"/>
          </a:xfrm>
          <a:prstGeom prst="line">
            <a:avLst/>
          </a:prstGeom>
          <a:noFill/>
          <a:ln w="6350" cap="flat" cmpd="sng" algn="ctr">
            <a:solidFill>
              <a:srgbClr val="5B9BD5"/>
            </a:solidFill>
            <a:prstDash val="solid"/>
            <a:miter lim="800000"/>
          </a:ln>
          <a:effectLst/>
        </p:spPr>
      </p:cxnSp>
      <p:sp>
        <p:nvSpPr>
          <p:cNvPr id="444" name="Hexagon 443"/>
          <p:cNvSpPr/>
          <p:nvPr/>
        </p:nvSpPr>
        <p:spPr>
          <a:xfrm>
            <a:off x="3383234"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50" name="Straight Connector 449"/>
          <p:cNvCxnSpPr/>
          <p:nvPr/>
        </p:nvCxnSpPr>
        <p:spPr>
          <a:xfrm>
            <a:off x="3740654" y="1821659"/>
            <a:ext cx="32" cy="263282"/>
          </a:xfrm>
          <a:prstGeom prst="line">
            <a:avLst/>
          </a:prstGeom>
          <a:noFill/>
          <a:ln w="6350" cap="flat" cmpd="sng" algn="ctr">
            <a:solidFill>
              <a:srgbClr val="5B9BD5"/>
            </a:solidFill>
            <a:prstDash val="solid"/>
            <a:miter lim="800000"/>
          </a:ln>
          <a:effectLst/>
        </p:spPr>
      </p:cxnSp>
      <p:sp>
        <p:nvSpPr>
          <p:cNvPr id="456" name="Hexagon 455"/>
          <p:cNvSpPr/>
          <p:nvPr/>
        </p:nvSpPr>
        <p:spPr>
          <a:xfrm>
            <a:off x="3837241"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61" name="Straight Connector 460"/>
          <p:cNvCxnSpPr/>
          <p:nvPr/>
        </p:nvCxnSpPr>
        <p:spPr>
          <a:xfrm flipH="1">
            <a:off x="4185138" y="1954131"/>
            <a:ext cx="226365" cy="132952"/>
          </a:xfrm>
          <a:prstGeom prst="line">
            <a:avLst/>
          </a:prstGeom>
          <a:noFill/>
          <a:ln w="6350" cap="flat" cmpd="sng" algn="ctr">
            <a:solidFill>
              <a:srgbClr val="5B9BD5"/>
            </a:solidFill>
            <a:prstDash val="solid"/>
            <a:miter lim="800000"/>
          </a:ln>
          <a:effectLst/>
        </p:spPr>
      </p:cxnSp>
      <p:cxnSp>
        <p:nvCxnSpPr>
          <p:cNvPr id="462" name="Straight Connector 461"/>
          <p:cNvCxnSpPr/>
          <p:nvPr/>
        </p:nvCxnSpPr>
        <p:spPr>
          <a:xfrm>
            <a:off x="4196136" y="1826884"/>
            <a:ext cx="32" cy="263282"/>
          </a:xfrm>
          <a:prstGeom prst="line">
            <a:avLst/>
          </a:prstGeom>
          <a:noFill/>
          <a:ln w="6350" cap="flat" cmpd="sng" algn="ctr">
            <a:solidFill>
              <a:srgbClr val="5B9BD5"/>
            </a:solidFill>
            <a:prstDash val="solid"/>
            <a:miter lim="800000"/>
          </a:ln>
          <a:effectLst/>
        </p:spPr>
      </p:cxnSp>
      <p:sp>
        <p:nvSpPr>
          <p:cNvPr id="468" name="Hexagon 467"/>
          <p:cNvSpPr/>
          <p:nvPr/>
        </p:nvSpPr>
        <p:spPr>
          <a:xfrm>
            <a:off x="428995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74" name="Straight Connector 473"/>
          <p:cNvCxnSpPr/>
          <p:nvPr/>
        </p:nvCxnSpPr>
        <p:spPr>
          <a:xfrm>
            <a:off x="4647376" y="1822954"/>
            <a:ext cx="32" cy="263282"/>
          </a:xfrm>
          <a:prstGeom prst="line">
            <a:avLst/>
          </a:prstGeom>
          <a:noFill/>
          <a:ln w="6350" cap="flat" cmpd="sng" algn="ctr">
            <a:solidFill>
              <a:srgbClr val="5B9BD5"/>
            </a:solidFill>
            <a:prstDash val="solid"/>
            <a:miter lim="800000"/>
          </a:ln>
          <a:effectLst/>
        </p:spPr>
      </p:cxnSp>
      <p:sp>
        <p:nvSpPr>
          <p:cNvPr id="480" name="Hexagon 479"/>
          <p:cNvSpPr/>
          <p:nvPr/>
        </p:nvSpPr>
        <p:spPr>
          <a:xfrm>
            <a:off x="4739889"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86" name="Straight Connector 485"/>
          <p:cNvCxnSpPr/>
          <p:nvPr/>
        </p:nvCxnSpPr>
        <p:spPr>
          <a:xfrm>
            <a:off x="5097309" y="1822954"/>
            <a:ext cx="32" cy="263282"/>
          </a:xfrm>
          <a:prstGeom prst="line">
            <a:avLst/>
          </a:prstGeom>
          <a:noFill/>
          <a:ln w="6350" cap="flat" cmpd="sng" algn="ctr">
            <a:solidFill>
              <a:srgbClr val="5B9BD5"/>
            </a:solidFill>
            <a:prstDash val="solid"/>
            <a:miter lim="800000"/>
          </a:ln>
          <a:effectLst/>
        </p:spPr>
      </p:cxnSp>
      <p:sp>
        <p:nvSpPr>
          <p:cNvPr id="492" name="Hexagon 491"/>
          <p:cNvSpPr/>
          <p:nvPr/>
        </p:nvSpPr>
        <p:spPr>
          <a:xfrm>
            <a:off x="519225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98" name="Straight Connector 497"/>
          <p:cNvCxnSpPr/>
          <p:nvPr/>
        </p:nvCxnSpPr>
        <p:spPr>
          <a:xfrm>
            <a:off x="5549678" y="1822954"/>
            <a:ext cx="32" cy="263282"/>
          </a:xfrm>
          <a:prstGeom prst="line">
            <a:avLst/>
          </a:prstGeom>
          <a:noFill/>
          <a:ln w="6350" cap="flat" cmpd="sng" algn="ctr">
            <a:solidFill>
              <a:srgbClr val="5B9BD5"/>
            </a:solidFill>
            <a:prstDash val="solid"/>
            <a:miter lim="800000"/>
          </a:ln>
          <a:effectLst/>
        </p:spPr>
      </p:cxnSp>
      <p:sp>
        <p:nvSpPr>
          <p:cNvPr id="504" name="Hexagon 503"/>
          <p:cNvSpPr/>
          <p:nvPr/>
        </p:nvSpPr>
        <p:spPr>
          <a:xfrm>
            <a:off x="564266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10" name="Straight Connector 509"/>
          <p:cNvCxnSpPr/>
          <p:nvPr/>
        </p:nvCxnSpPr>
        <p:spPr>
          <a:xfrm>
            <a:off x="6000085" y="1822954"/>
            <a:ext cx="32" cy="263282"/>
          </a:xfrm>
          <a:prstGeom prst="line">
            <a:avLst/>
          </a:prstGeom>
          <a:noFill/>
          <a:ln w="6350" cap="flat" cmpd="sng" algn="ctr">
            <a:solidFill>
              <a:srgbClr val="5B9BD5"/>
            </a:solidFill>
            <a:prstDash val="solid"/>
            <a:miter lim="800000"/>
          </a:ln>
          <a:effectLst/>
        </p:spPr>
      </p:cxnSp>
      <p:sp>
        <p:nvSpPr>
          <p:cNvPr id="516" name="Hexagon 515"/>
          <p:cNvSpPr/>
          <p:nvPr/>
        </p:nvSpPr>
        <p:spPr>
          <a:xfrm>
            <a:off x="609259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22" name="Straight Connector 521"/>
          <p:cNvCxnSpPr/>
          <p:nvPr/>
        </p:nvCxnSpPr>
        <p:spPr>
          <a:xfrm>
            <a:off x="6450018" y="1822954"/>
            <a:ext cx="32" cy="263282"/>
          </a:xfrm>
          <a:prstGeom prst="line">
            <a:avLst/>
          </a:prstGeom>
          <a:noFill/>
          <a:ln w="6350" cap="flat" cmpd="sng" algn="ctr">
            <a:solidFill>
              <a:srgbClr val="5B9BD5"/>
            </a:solidFill>
            <a:prstDash val="solid"/>
            <a:miter lim="800000"/>
          </a:ln>
          <a:effectLst/>
        </p:spPr>
      </p:cxnSp>
      <p:sp>
        <p:nvSpPr>
          <p:cNvPr id="528" name="Hexagon 527"/>
          <p:cNvSpPr/>
          <p:nvPr/>
        </p:nvSpPr>
        <p:spPr>
          <a:xfrm>
            <a:off x="654660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34" name="Straight Connector 533"/>
          <p:cNvCxnSpPr/>
          <p:nvPr/>
        </p:nvCxnSpPr>
        <p:spPr>
          <a:xfrm>
            <a:off x="6904025" y="1822954"/>
            <a:ext cx="32" cy="263282"/>
          </a:xfrm>
          <a:prstGeom prst="line">
            <a:avLst/>
          </a:prstGeom>
          <a:noFill/>
          <a:ln w="6350" cap="flat" cmpd="sng" algn="ctr">
            <a:solidFill>
              <a:srgbClr val="5B9BD5"/>
            </a:solidFill>
            <a:prstDash val="solid"/>
            <a:miter lim="800000"/>
          </a:ln>
          <a:effectLst/>
        </p:spPr>
      </p:cxnSp>
      <p:sp>
        <p:nvSpPr>
          <p:cNvPr id="540" name="Hexagon 539"/>
          <p:cNvSpPr/>
          <p:nvPr/>
        </p:nvSpPr>
        <p:spPr>
          <a:xfrm>
            <a:off x="699897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46" name="Straight Connector 545"/>
          <p:cNvCxnSpPr/>
          <p:nvPr/>
        </p:nvCxnSpPr>
        <p:spPr>
          <a:xfrm>
            <a:off x="7356395" y="1822954"/>
            <a:ext cx="32" cy="263282"/>
          </a:xfrm>
          <a:prstGeom prst="line">
            <a:avLst/>
          </a:prstGeom>
          <a:noFill/>
          <a:ln w="6350" cap="flat" cmpd="sng" algn="ctr">
            <a:solidFill>
              <a:srgbClr val="5B9BD5"/>
            </a:solidFill>
            <a:prstDash val="solid"/>
            <a:miter lim="800000"/>
          </a:ln>
          <a:effectLst/>
        </p:spPr>
      </p:cxnSp>
      <p:sp>
        <p:nvSpPr>
          <p:cNvPr id="552" name="Hexagon 551"/>
          <p:cNvSpPr/>
          <p:nvPr/>
        </p:nvSpPr>
        <p:spPr>
          <a:xfrm>
            <a:off x="7452506"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58" name="Straight Connector 557"/>
          <p:cNvCxnSpPr/>
          <p:nvPr/>
        </p:nvCxnSpPr>
        <p:spPr>
          <a:xfrm>
            <a:off x="7806327" y="1822954"/>
            <a:ext cx="32" cy="263282"/>
          </a:xfrm>
          <a:prstGeom prst="line">
            <a:avLst/>
          </a:prstGeom>
          <a:noFill/>
          <a:ln w="6350" cap="flat" cmpd="sng" algn="ctr">
            <a:solidFill>
              <a:srgbClr val="5B9BD5"/>
            </a:solidFill>
            <a:prstDash val="solid"/>
            <a:miter lim="800000"/>
          </a:ln>
          <a:effectLst/>
        </p:spPr>
      </p:cxnSp>
      <p:sp>
        <p:nvSpPr>
          <p:cNvPr id="564" name="Hexagon 563"/>
          <p:cNvSpPr/>
          <p:nvPr/>
        </p:nvSpPr>
        <p:spPr>
          <a:xfrm>
            <a:off x="7904013"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70" name="Straight Connector 569"/>
          <p:cNvCxnSpPr/>
          <p:nvPr/>
        </p:nvCxnSpPr>
        <p:spPr>
          <a:xfrm>
            <a:off x="8261433" y="1826427"/>
            <a:ext cx="32" cy="263282"/>
          </a:xfrm>
          <a:prstGeom prst="line">
            <a:avLst/>
          </a:prstGeom>
          <a:noFill/>
          <a:ln w="6350" cap="flat" cmpd="sng" algn="ctr">
            <a:solidFill>
              <a:srgbClr val="5B9BD5"/>
            </a:solidFill>
            <a:prstDash val="solid"/>
            <a:miter lim="800000"/>
          </a:ln>
          <a:effectLst/>
        </p:spPr>
      </p:cxnSp>
      <p:sp>
        <p:nvSpPr>
          <p:cNvPr id="576" name="Hexagon 575"/>
          <p:cNvSpPr/>
          <p:nvPr/>
        </p:nvSpPr>
        <p:spPr>
          <a:xfrm>
            <a:off x="835394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82" name="Straight Connector 581"/>
          <p:cNvCxnSpPr/>
          <p:nvPr/>
        </p:nvCxnSpPr>
        <p:spPr>
          <a:xfrm>
            <a:off x="8707767" y="1826427"/>
            <a:ext cx="32" cy="263282"/>
          </a:xfrm>
          <a:prstGeom prst="line">
            <a:avLst/>
          </a:prstGeom>
          <a:noFill/>
          <a:ln w="6350" cap="flat" cmpd="sng" algn="ctr">
            <a:solidFill>
              <a:srgbClr val="5B9BD5"/>
            </a:solidFill>
            <a:prstDash val="solid"/>
            <a:miter lim="800000"/>
          </a:ln>
          <a:effectLst/>
        </p:spPr>
      </p:cxnSp>
      <p:sp>
        <p:nvSpPr>
          <p:cNvPr id="588" name="Hexagon 587"/>
          <p:cNvSpPr/>
          <p:nvPr/>
        </p:nvSpPr>
        <p:spPr>
          <a:xfrm>
            <a:off x="880271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94" name="Straight Connector 593"/>
          <p:cNvCxnSpPr/>
          <p:nvPr/>
        </p:nvCxnSpPr>
        <p:spPr>
          <a:xfrm>
            <a:off x="9156538" y="1826427"/>
            <a:ext cx="32" cy="263282"/>
          </a:xfrm>
          <a:prstGeom prst="line">
            <a:avLst/>
          </a:prstGeom>
          <a:noFill/>
          <a:ln w="6350" cap="flat" cmpd="sng" algn="ctr">
            <a:solidFill>
              <a:srgbClr val="5B9BD5"/>
            </a:solidFill>
            <a:prstDash val="solid"/>
            <a:miter lim="800000"/>
          </a:ln>
          <a:effectLst/>
        </p:spPr>
      </p:cxnSp>
      <p:sp>
        <p:nvSpPr>
          <p:cNvPr id="600" name="Hexagon 599"/>
          <p:cNvSpPr/>
          <p:nvPr/>
        </p:nvSpPr>
        <p:spPr>
          <a:xfrm>
            <a:off x="9246399"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06" name="Straight Connector 605"/>
          <p:cNvCxnSpPr/>
          <p:nvPr/>
        </p:nvCxnSpPr>
        <p:spPr>
          <a:xfrm>
            <a:off x="9603820" y="1826427"/>
            <a:ext cx="32" cy="263282"/>
          </a:xfrm>
          <a:prstGeom prst="line">
            <a:avLst/>
          </a:prstGeom>
          <a:noFill/>
          <a:ln w="6350" cap="flat" cmpd="sng" algn="ctr">
            <a:solidFill>
              <a:srgbClr val="5B9BD5"/>
            </a:solidFill>
            <a:prstDash val="solid"/>
            <a:miter lim="800000"/>
          </a:ln>
          <a:effectLst/>
        </p:spPr>
      </p:cxnSp>
      <p:sp>
        <p:nvSpPr>
          <p:cNvPr id="612" name="Hexagon 611"/>
          <p:cNvSpPr/>
          <p:nvPr/>
        </p:nvSpPr>
        <p:spPr>
          <a:xfrm>
            <a:off x="9696332"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18" name="Straight Connector 617"/>
          <p:cNvCxnSpPr/>
          <p:nvPr/>
        </p:nvCxnSpPr>
        <p:spPr>
          <a:xfrm>
            <a:off x="10053752" y="1826427"/>
            <a:ext cx="32" cy="263282"/>
          </a:xfrm>
          <a:prstGeom prst="line">
            <a:avLst/>
          </a:prstGeom>
          <a:noFill/>
          <a:ln w="6350" cap="flat" cmpd="sng" algn="ctr">
            <a:solidFill>
              <a:srgbClr val="5B9BD5"/>
            </a:solidFill>
            <a:prstDash val="solid"/>
            <a:miter lim="800000"/>
          </a:ln>
          <a:effectLst/>
        </p:spPr>
      </p:cxnSp>
      <p:sp>
        <p:nvSpPr>
          <p:cNvPr id="624" name="Hexagon 623"/>
          <p:cNvSpPr/>
          <p:nvPr/>
        </p:nvSpPr>
        <p:spPr>
          <a:xfrm>
            <a:off x="1015033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30" name="Straight Connector 629"/>
          <p:cNvCxnSpPr/>
          <p:nvPr/>
        </p:nvCxnSpPr>
        <p:spPr>
          <a:xfrm>
            <a:off x="10507759" y="1826427"/>
            <a:ext cx="32" cy="263282"/>
          </a:xfrm>
          <a:prstGeom prst="line">
            <a:avLst/>
          </a:prstGeom>
          <a:noFill/>
          <a:ln w="6350" cap="flat" cmpd="sng" algn="ctr">
            <a:solidFill>
              <a:srgbClr val="5B9BD5"/>
            </a:solidFill>
            <a:prstDash val="solid"/>
            <a:miter lim="800000"/>
          </a:ln>
          <a:effectLst/>
        </p:spPr>
      </p:cxnSp>
      <p:sp>
        <p:nvSpPr>
          <p:cNvPr id="636" name="Hexagon 635"/>
          <p:cNvSpPr/>
          <p:nvPr/>
        </p:nvSpPr>
        <p:spPr>
          <a:xfrm>
            <a:off x="1060270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42" name="Straight Connector 641"/>
          <p:cNvCxnSpPr/>
          <p:nvPr/>
        </p:nvCxnSpPr>
        <p:spPr>
          <a:xfrm>
            <a:off x="10960129" y="1826427"/>
            <a:ext cx="32" cy="263282"/>
          </a:xfrm>
          <a:prstGeom prst="line">
            <a:avLst/>
          </a:prstGeom>
          <a:noFill/>
          <a:ln w="6350" cap="flat" cmpd="sng" algn="ctr">
            <a:solidFill>
              <a:srgbClr val="5B9BD5"/>
            </a:solidFill>
            <a:prstDash val="solid"/>
            <a:miter lim="800000"/>
          </a:ln>
          <a:effectLst/>
        </p:spPr>
      </p:cxnSp>
      <p:sp>
        <p:nvSpPr>
          <p:cNvPr id="648" name="Hexagon 647"/>
          <p:cNvSpPr/>
          <p:nvPr/>
        </p:nvSpPr>
        <p:spPr>
          <a:xfrm>
            <a:off x="11052641"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52" name="Straight Connector 651"/>
          <p:cNvCxnSpPr/>
          <p:nvPr/>
        </p:nvCxnSpPr>
        <p:spPr>
          <a:xfrm>
            <a:off x="11410062" y="1826427"/>
            <a:ext cx="32" cy="263282"/>
          </a:xfrm>
          <a:prstGeom prst="line">
            <a:avLst/>
          </a:prstGeom>
          <a:noFill/>
          <a:ln w="6350" cap="flat" cmpd="sng" algn="ctr">
            <a:solidFill>
              <a:srgbClr val="5B9BD5"/>
            </a:solidFill>
            <a:prstDash val="solid"/>
            <a:miter lim="800000"/>
          </a:ln>
          <a:effectLst/>
        </p:spPr>
      </p:cxnSp>
      <p:sp>
        <p:nvSpPr>
          <p:cNvPr id="3" name="Title 2"/>
          <p:cNvSpPr>
            <a:spLocks noGrp="1"/>
          </p:cNvSpPr>
          <p:nvPr>
            <p:ph type="title"/>
          </p:nvPr>
        </p:nvSpPr>
        <p:spPr/>
        <p:txBody>
          <a:bodyPr>
            <a:normAutofit fontScale="90000"/>
          </a:bodyPr>
          <a:lstStyle/>
          <a:p>
            <a:r>
              <a:rPr lang="en-US"/>
              <a:t>Microsoft Azure Service Fabric</a:t>
            </a:r>
            <a:br>
              <a:rPr lang="en-US"/>
            </a:br>
            <a:r>
              <a:rPr lang="en-US" sz="2745" spc="-150"/>
              <a:t>A platform for reliable, </a:t>
            </a:r>
            <a:r>
              <a:rPr lang="en-US" sz="2745" spc="-150" err="1"/>
              <a:t>hyperscale</a:t>
            </a:r>
            <a:r>
              <a:rPr lang="en-US" sz="2745" spc="-150"/>
              <a:t>, microservice-based applications</a:t>
            </a:r>
          </a:p>
        </p:txBody>
      </p:sp>
      <p:sp>
        <p:nvSpPr>
          <p:cNvPr id="370" name="Hexagon 369"/>
          <p:cNvSpPr/>
          <p:nvPr/>
        </p:nvSpPr>
        <p:spPr>
          <a:xfrm>
            <a:off x="682363"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1" name="Hexagon 370"/>
          <p:cNvSpPr/>
          <p:nvPr/>
        </p:nvSpPr>
        <p:spPr>
          <a:xfrm>
            <a:off x="908728"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3" name="Hexagon 372"/>
          <p:cNvSpPr/>
          <p:nvPr/>
        </p:nvSpPr>
        <p:spPr>
          <a:xfrm>
            <a:off x="908728"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2" name="Hexagon 381"/>
          <p:cNvSpPr/>
          <p:nvPr/>
        </p:nvSpPr>
        <p:spPr>
          <a:xfrm>
            <a:off x="1132297"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3" name="Hexagon 382"/>
          <p:cNvSpPr/>
          <p:nvPr/>
        </p:nvSpPr>
        <p:spPr>
          <a:xfrm>
            <a:off x="1358662"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5" name="Hexagon 384"/>
          <p:cNvSpPr/>
          <p:nvPr/>
        </p:nvSpPr>
        <p:spPr>
          <a:xfrm>
            <a:off x="1358662"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4" name="Hexagon 393"/>
          <p:cNvSpPr/>
          <p:nvPr/>
        </p:nvSpPr>
        <p:spPr>
          <a:xfrm>
            <a:off x="15846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5" name="Hexagon 394"/>
          <p:cNvSpPr/>
          <p:nvPr/>
        </p:nvSpPr>
        <p:spPr>
          <a:xfrm>
            <a:off x="18110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7" name="Hexagon 396"/>
          <p:cNvSpPr/>
          <p:nvPr/>
        </p:nvSpPr>
        <p:spPr>
          <a:xfrm>
            <a:off x="18110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6" name="Hexagon 405"/>
          <p:cNvSpPr/>
          <p:nvPr/>
        </p:nvSpPr>
        <p:spPr>
          <a:xfrm>
            <a:off x="2034599"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7" name="Hexagon 406"/>
          <p:cNvSpPr/>
          <p:nvPr/>
        </p:nvSpPr>
        <p:spPr>
          <a:xfrm>
            <a:off x="2260964"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9" name="Hexagon 408"/>
          <p:cNvSpPr/>
          <p:nvPr/>
        </p:nvSpPr>
        <p:spPr>
          <a:xfrm>
            <a:off x="2260964"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8" name="Hexagon 417"/>
          <p:cNvSpPr/>
          <p:nvPr/>
        </p:nvSpPr>
        <p:spPr>
          <a:xfrm>
            <a:off x="2484532"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9" name="Hexagon 418"/>
          <p:cNvSpPr/>
          <p:nvPr/>
        </p:nvSpPr>
        <p:spPr>
          <a:xfrm>
            <a:off x="2707297"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21" name="Hexagon 420"/>
          <p:cNvSpPr/>
          <p:nvPr/>
        </p:nvSpPr>
        <p:spPr>
          <a:xfrm>
            <a:off x="2707297"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0" name="Hexagon 429"/>
          <p:cNvSpPr/>
          <p:nvPr/>
        </p:nvSpPr>
        <p:spPr>
          <a:xfrm>
            <a:off x="29308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1" name="Hexagon 430"/>
          <p:cNvSpPr/>
          <p:nvPr/>
        </p:nvSpPr>
        <p:spPr>
          <a:xfrm>
            <a:off x="31572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3" name="Hexagon 432"/>
          <p:cNvSpPr/>
          <p:nvPr/>
        </p:nvSpPr>
        <p:spPr>
          <a:xfrm>
            <a:off x="31572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2" name="Hexagon 441"/>
          <p:cNvSpPr/>
          <p:nvPr/>
        </p:nvSpPr>
        <p:spPr>
          <a:xfrm>
            <a:off x="3383234"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3" name="Hexagon 442"/>
          <p:cNvSpPr/>
          <p:nvPr/>
        </p:nvSpPr>
        <p:spPr>
          <a:xfrm>
            <a:off x="3609599"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5" name="Hexagon 444"/>
          <p:cNvSpPr/>
          <p:nvPr/>
        </p:nvSpPr>
        <p:spPr>
          <a:xfrm>
            <a:off x="3609599"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4" name="Hexagon 453"/>
          <p:cNvSpPr/>
          <p:nvPr/>
        </p:nvSpPr>
        <p:spPr>
          <a:xfrm>
            <a:off x="3837241"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5" name="Hexagon 454"/>
          <p:cNvSpPr/>
          <p:nvPr/>
        </p:nvSpPr>
        <p:spPr>
          <a:xfrm>
            <a:off x="4063606"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7" name="Hexagon 456"/>
          <p:cNvSpPr/>
          <p:nvPr/>
        </p:nvSpPr>
        <p:spPr>
          <a:xfrm>
            <a:off x="4063606"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6" name="Hexagon 465"/>
          <p:cNvSpPr/>
          <p:nvPr/>
        </p:nvSpPr>
        <p:spPr>
          <a:xfrm>
            <a:off x="428995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7" name="Hexagon 466"/>
          <p:cNvSpPr/>
          <p:nvPr/>
        </p:nvSpPr>
        <p:spPr>
          <a:xfrm>
            <a:off x="451632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9" name="Hexagon 468"/>
          <p:cNvSpPr/>
          <p:nvPr/>
        </p:nvSpPr>
        <p:spPr>
          <a:xfrm>
            <a:off x="4516320"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8" name="Hexagon 477"/>
          <p:cNvSpPr/>
          <p:nvPr/>
        </p:nvSpPr>
        <p:spPr>
          <a:xfrm>
            <a:off x="4739889"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9" name="Hexagon 478"/>
          <p:cNvSpPr/>
          <p:nvPr/>
        </p:nvSpPr>
        <p:spPr>
          <a:xfrm>
            <a:off x="4966254"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81" name="Hexagon 480"/>
          <p:cNvSpPr/>
          <p:nvPr/>
        </p:nvSpPr>
        <p:spPr>
          <a:xfrm>
            <a:off x="4966254"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0" name="Hexagon 489"/>
          <p:cNvSpPr/>
          <p:nvPr/>
        </p:nvSpPr>
        <p:spPr>
          <a:xfrm>
            <a:off x="519225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1" name="Hexagon 490"/>
          <p:cNvSpPr/>
          <p:nvPr/>
        </p:nvSpPr>
        <p:spPr>
          <a:xfrm>
            <a:off x="5418623"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3" name="Hexagon 492"/>
          <p:cNvSpPr/>
          <p:nvPr/>
        </p:nvSpPr>
        <p:spPr>
          <a:xfrm>
            <a:off x="5418623"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2" name="Hexagon 501"/>
          <p:cNvSpPr/>
          <p:nvPr/>
        </p:nvSpPr>
        <p:spPr>
          <a:xfrm>
            <a:off x="5642665" y="15627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3" name="Hexagon 502"/>
          <p:cNvSpPr/>
          <p:nvPr/>
        </p:nvSpPr>
        <p:spPr>
          <a:xfrm>
            <a:off x="586903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5" name="Hexagon 504"/>
          <p:cNvSpPr/>
          <p:nvPr/>
        </p:nvSpPr>
        <p:spPr>
          <a:xfrm>
            <a:off x="586903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4" name="Hexagon 513"/>
          <p:cNvSpPr/>
          <p:nvPr/>
        </p:nvSpPr>
        <p:spPr>
          <a:xfrm>
            <a:off x="609259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5" name="Hexagon 514"/>
          <p:cNvSpPr/>
          <p:nvPr/>
        </p:nvSpPr>
        <p:spPr>
          <a:xfrm>
            <a:off x="6318962"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7" name="Hexagon 516"/>
          <p:cNvSpPr/>
          <p:nvPr/>
        </p:nvSpPr>
        <p:spPr>
          <a:xfrm>
            <a:off x="6318962"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6" name="Hexagon 525"/>
          <p:cNvSpPr/>
          <p:nvPr/>
        </p:nvSpPr>
        <p:spPr>
          <a:xfrm>
            <a:off x="654660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7" name="Hexagon 526"/>
          <p:cNvSpPr/>
          <p:nvPr/>
        </p:nvSpPr>
        <p:spPr>
          <a:xfrm>
            <a:off x="677297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9" name="Hexagon 528"/>
          <p:cNvSpPr/>
          <p:nvPr/>
        </p:nvSpPr>
        <p:spPr>
          <a:xfrm>
            <a:off x="677297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8" name="Hexagon 537"/>
          <p:cNvSpPr/>
          <p:nvPr/>
        </p:nvSpPr>
        <p:spPr>
          <a:xfrm>
            <a:off x="699897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9" name="Hexagon 538"/>
          <p:cNvSpPr/>
          <p:nvPr/>
        </p:nvSpPr>
        <p:spPr>
          <a:xfrm>
            <a:off x="722534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41" name="Hexagon 540"/>
          <p:cNvSpPr/>
          <p:nvPr/>
        </p:nvSpPr>
        <p:spPr>
          <a:xfrm>
            <a:off x="722534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0" name="Hexagon 549"/>
          <p:cNvSpPr/>
          <p:nvPr/>
        </p:nvSpPr>
        <p:spPr>
          <a:xfrm>
            <a:off x="7452506"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1" name="Hexagon 550"/>
          <p:cNvSpPr/>
          <p:nvPr/>
        </p:nvSpPr>
        <p:spPr>
          <a:xfrm>
            <a:off x="7678871"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3" name="Hexagon 552"/>
          <p:cNvSpPr/>
          <p:nvPr/>
        </p:nvSpPr>
        <p:spPr>
          <a:xfrm>
            <a:off x="7678871"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2" name="Hexagon 561"/>
          <p:cNvSpPr/>
          <p:nvPr/>
        </p:nvSpPr>
        <p:spPr>
          <a:xfrm>
            <a:off x="7904013"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3" name="Hexagon 562"/>
          <p:cNvSpPr/>
          <p:nvPr/>
        </p:nvSpPr>
        <p:spPr>
          <a:xfrm>
            <a:off x="8130379"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5" name="Hexagon 564"/>
          <p:cNvSpPr/>
          <p:nvPr/>
        </p:nvSpPr>
        <p:spPr>
          <a:xfrm>
            <a:off x="8130379"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4" name="Hexagon 573"/>
          <p:cNvSpPr/>
          <p:nvPr/>
        </p:nvSpPr>
        <p:spPr>
          <a:xfrm>
            <a:off x="835394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5" name="Hexagon 574"/>
          <p:cNvSpPr/>
          <p:nvPr/>
        </p:nvSpPr>
        <p:spPr>
          <a:xfrm>
            <a:off x="857671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7" name="Hexagon 576"/>
          <p:cNvSpPr/>
          <p:nvPr/>
        </p:nvSpPr>
        <p:spPr>
          <a:xfrm>
            <a:off x="857671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6" name="Hexagon 585"/>
          <p:cNvSpPr/>
          <p:nvPr/>
        </p:nvSpPr>
        <p:spPr>
          <a:xfrm>
            <a:off x="880271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7" name="Hexagon 586"/>
          <p:cNvSpPr/>
          <p:nvPr/>
        </p:nvSpPr>
        <p:spPr>
          <a:xfrm>
            <a:off x="902548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9" name="Hexagon 588"/>
          <p:cNvSpPr/>
          <p:nvPr/>
        </p:nvSpPr>
        <p:spPr>
          <a:xfrm>
            <a:off x="902548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8" name="Hexagon 597"/>
          <p:cNvSpPr/>
          <p:nvPr/>
        </p:nvSpPr>
        <p:spPr>
          <a:xfrm>
            <a:off x="9246399"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9" name="Hexagon 598"/>
          <p:cNvSpPr/>
          <p:nvPr/>
        </p:nvSpPr>
        <p:spPr>
          <a:xfrm>
            <a:off x="947276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01" name="Hexagon 600"/>
          <p:cNvSpPr/>
          <p:nvPr/>
        </p:nvSpPr>
        <p:spPr>
          <a:xfrm>
            <a:off x="947276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0" name="Hexagon 609"/>
          <p:cNvSpPr/>
          <p:nvPr/>
        </p:nvSpPr>
        <p:spPr>
          <a:xfrm>
            <a:off x="9696332"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1" name="Hexagon 610"/>
          <p:cNvSpPr/>
          <p:nvPr/>
        </p:nvSpPr>
        <p:spPr>
          <a:xfrm>
            <a:off x="9922698"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3" name="Hexagon 612"/>
          <p:cNvSpPr/>
          <p:nvPr/>
        </p:nvSpPr>
        <p:spPr>
          <a:xfrm>
            <a:off x="9922698"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2" name="Hexagon 621"/>
          <p:cNvSpPr/>
          <p:nvPr/>
        </p:nvSpPr>
        <p:spPr>
          <a:xfrm>
            <a:off x="1015033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3" name="Hexagon 622"/>
          <p:cNvSpPr/>
          <p:nvPr/>
        </p:nvSpPr>
        <p:spPr>
          <a:xfrm>
            <a:off x="1037670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5" name="Hexagon 624"/>
          <p:cNvSpPr/>
          <p:nvPr/>
        </p:nvSpPr>
        <p:spPr>
          <a:xfrm>
            <a:off x="1037670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4" name="Hexagon 633"/>
          <p:cNvSpPr/>
          <p:nvPr/>
        </p:nvSpPr>
        <p:spPr>
          <a:xfrm>
            <a:off x="1060270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5" name="Hexagon 634"/>
          <p:cNvSpPr/>
          <p:nvPr/>
        </p:nvSpPr>
        <p:spPr>
          <a:xfrm>
            <a:off x="10829073"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7" name="Hexagon 636"/>
          <p:cNvSpPr/>
          <p:nvPr/>
        </p:nvSpPr>
        <p:spPr>
          <a:xfrm>
            <a:off x="10829073"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6" name="Hexagon 645"/>
          <p:cNvSpPr/>
          <p:nvPr/>
        </p:nvSpPr>
        <p:spPr>
          <a:xfrm>
            <a:off x="11052641"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7" name="Hexagon 646"/>
          <p:cNvSpPr/>
          <p:nvPr/>
        </p:nvSpPr>
        <p:spPr>
          <a:xfrm>
            <a:off x="11279006"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9" name="Hexagon 648"/>
          <p:cNvSpPr/>
          <p:nvPr/>
        </p:nvSpPr>
        <p:spPr>
          <a:xfrm>
            <a:off x="11279006"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5" name="Hexagon 654"/>
          <p:cNvSpPr/>
          <p:nvPr/>
        </p:nvSpPr>
        <p:spPr>
          <a:xfrm>
            <a:off x="6817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6" name="Hexagon 655"/>
          <p:cNvSpPr/>
          <p:nvPr/>
        </p:nvSpPr>
        <p:spPr>
          <a:xfrm>
            <a:off x="113165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7" name="Hexagon 656"/>
          <p:cNvSpPr/>
          <p:nvPr/>
        </p:nvSpPr>
        <p:spPr>
          <a:xfrm>
            <a:off x="1584023"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8" name="Hexagon 657"/>
          <p:cNvSpPr/>
          <p:nvPr/>
        </p:nvSpPr>
        <p:spPr>
          <a:xfrm>
            <a:off x="2033956"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9" name="Hexagon 658"/>
          <p:cNvSpPr/>
          <p:nvPr/>
        </p:nvSpPr>
        <p:spPr>
          <a:xfrm>
            <a:off x="2487487"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0" name="Hexagon 659"/>
          <p:cNvSpPr/>
          <p:nvPr/>
        </p:nvSpPr>
        <p:spPr>
          <a:xfrm>
            <a:off x="29338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1" name="Hexagon 660"/>
          <p:cNvSpPr/>
          <p:nvPr/>
        </p:nvSpPr>
        <p:spPr>
          <a:xfrm>
            <a:off x="3382592"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2" name="Hexagon 661"/>
          <p:cNvSpPr/>
          <p:nvPr/>
        </p:nvSpPr>
        <p:spPr>
          <a:xfrm>
            <a:off x="384133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3" name="Hexagon 662"/>
          <p:cNvSpPr/>
          <p:nvPr/>
        </p:nvSpPr>
        <p:spPr>
          <a:xfrm>
            <a:off x="429404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4" name="Hexagon 663"/>
          <p:cNvSpPr/>
          <p:nvPr/>
        </p:nvSpPr>
        <p:spPr>
          <a:xfrm>
            <a:off x="4743982"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5" name="Hexagon 664"/>
          <p:cNvSpPr/>
          <p:nvPr/>
        </p:nvSpPr>
        <p:spPr>
          <a:xfrm>
            <a:off x="5196351"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6" name="Hexagon 665"/>
          <p:cNvSpPr/>
          <p:nvPr/>
        </p:nvSpPr>
        <p:spPr>
          <a:xfrm>
            <a:off x="5646284"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7" name="Hexagon 666"/>
          <p:cNvSpPr/>
          <p:nvPr/>
        </p:nvSpPr>
        <p:spPr>
          <a:xfrm>
            <a:off x="6096217"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8" name="Hexagon 667"/>
          <p:cNvSpPr/>
          <p:nvPr/>
        </p:nvSpPr>
        <p:spPr>
          <a:xfrm>
            <a:off x="654898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9" name="Hexagon 668"/>
          <p:cNvSpPr/>
          <p:nvPr/>
        </p:nvSpPr>
        <p:spPr>
          <a:xfrm>
            <a:off x="700135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0" name="Hexagon 669"/>
          <p:cNvSpPr/>
          <p:nvPr/>
        </p:nvSpPr>
        <p:spPr>
          <a:xfrm>
            <a:off x="745128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1" name="Hexagon 670"/>
          <p:cNvSpPr/>
          <p:nvPr/>
        </p:nvSpPr>
        <p:spPr>
          <a:xfrm>
            <a:off x="790639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2" name="Hexagon 671"/>
          <p:cNvSpPr/>
          <p:nvPr/>
        </p:nvSpPr>
        <p:spPr>
          <a:xfrm>
            <a:off x="8356791"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3" name="Hexagon 672"/>
          <p:cNvSpPr/>
          <p:nvPr/>
        </p:nvSpPr>
        <p:spPr>
          <a:xfrm>
            <a:off x="8801198"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4" name="Hexagon 673"/>
          <p:cNvSpPr/>
          <p:nvPr/>
        </p:nvSpPr>
        <p:spPr>
          <a:xfrm>
            <a:off x="9251132"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5" name="Hexagon 674"/>
          <p:cNvSpPr/>
          <p:nvPr/>
        </p:nvSpPr>
        <p:spPr>
          <a:xfrm>
            <a:off x="970237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6" name="Hexagon 675"/>
          <p:cNvSpPr/>
          <p:nvPr/>
        </p:nvSpPr>
        <p:spPr>
          <a:xfrm>
            <a:off x="1015514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7" name="Hexagon 676"/>
          <p:cNvSpPr/>
          <p:nvPr/>
        </p:nvSpPr>
        <p:spPr>
          <a:xfrm>
            <a:off x="1060391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8" name="Hexagon 677"/>
          <p:cNvSpPr/>
          <p:nvPr/>
        </p:nvSpPr>
        <p:spPr>
          <a:xfrm>
            <a:off x="1105668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9" name="Rectangle 678"/>
          <p:cNvSpPr/>
          <p:nvPr/>
        </p:nvSpPr>
        <p:spPr>
          <a:xfrm>
            <a:off x="665479"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93" name="TextBox 692"/>
          <p:cNvSpPr txBox="1"/>
          <p:nvPr/>
        </p:nvSpPr>
        <p:spPr>
          <a:xfrm>
            <a:off x="5077252" y="1608206"/>
            <a:ext cx="2729107"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err="1">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Microservices</a:t>
            </a:r>
            <a:endParaRPr kumimoji="0" lang="en-US" sz="2745" b="0" i="0" u="none" strike="noStrike" kern="120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351" name="Rectangle 350"/>
          <p:cNvSpPr/>
          <p:nvPr/>
        </p:nvSpPr>
        <p:spPr>
          <a:xfrm>
            <a:off x="665478" y="2410454"/>
            <a:ext cx="10882999" cy="4131359"/>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52" name="Rectangle 351"/>
          <p:cNvSpPr/>
          <p:nvPr/>
        </p:nvSpPr>
        <p:spPr bwMode="auto">
          <a:xfrm>
            <a:off x="2861084"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munication</a:t>
            </a:r>
          </a:p>
        </p:txBody>
      </p:sp>
      <p:sp>
        <p:nvSpPr>
          <p:cNvPr id="353" name="Rectangle 352"/>
          <p:cNvSpPr/>
          <p:nvPr/>
        </p:nvSpPr>
        <p:spPr bwMode="auto">
          <a:xfrm>
            <a:off x="742127" y="3238511"/>
            <a:ext cx="2023932"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nagement</a:t>
            </a:r>
          </a:p>
        </p:txBody>
      </p:sp>
      <p:sp>
        <p:nvSpPr>
          <p:cNvPr id="354" name="Rectangle 353"/>
          <p:cNvSpPr/>
          <p:nvPr/>
        </p:nvSpPr>
        <p:spPr bwMode="auto">
          <a:xfrm>
            <a:off x="5056689"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liability</a:t>
            </a:r>
          </a:p>
        </p:txBody>
      </p:sp>
      <p:sp>
        <p:nvSpPr>
          <p:cNvPr id="355" name="Rectangle 354"/>
          <p:cNvSpPr/>
          <p:nvPr/>
        </p:nvSpPr>
        <p:spPr bwMode="auto">
          <a:xfrm>
            <a:off x="7252293" y="3245508"/>
            <a:ext cx="2100580" cy="12105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sting</a:t>
            </a: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ubsystem</a:t>
            </a:r>
          </a:p>
        </p:txBody>
      </p:sp>
      <p:sp>
        <p:nvSpPr>
          <p:cNvPr id="359" name="Rectangle 358"/>
          <p:cNvSpPr/>
          <p:nvPr/>
        </p:nvSpPr>
        <p:spPr bwMode="auto">
          <a:xfrm>
            <a:off x="9447898" y="3238511"/>
            <a:ext cx="2034049"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estability</a:t>
            </a:r>
          </a:p>
        </p:txBody>
      </p:sp>
      <p:sp>
        <p:nvSpPr>
          <p:cNvPr id="681" name="Rectangle 680"/>
          <p:cNvSpPr/>
          <p:nvPr/>
        </p:nvSpPr>
        <p:spPr bwMode="auto">
          <a:xfrm>
            <a:off x="2861083" y="4530717"/>
            <a:ext cx="6491792"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ederation </a:t>
            </a:r>
          </a:p>
        </p:txBody>
      </p:sp>
      <p:sp>
        <p:nvSpPr>
          <p:cNvPr id="683" name="Rectangle 682"/>
          <p:cNvSpPr/>
          <p:nvPr/>
        </p:nvSpPr>
        <p:spPr bwMode="auto">
          <a:xfrm>
            <a:off x="2861082" y="5491974"/>
            <a:ext cx="6481983" cy="92278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nsport</a:t>
            </a:r>
          </a:p>
        </p:txBody>
      </p:sp>
      <p:sp>
        <p:nvSpPr>
          <p:cNvPr id="707" name="Freeform 17"/>
          <p:cNvSpPr>
            <a:spLocks noChangeAspect="1" noEditPoints="1"/>
          </p:cNvSpPr>
          <p:nvPr/>
        </p:nvSpPr>
        <p:spPr bwMode="black">
          <a:xfrm>
            <a:off x="3817282" y="3357219"/>
            <a:ext cx="289431" cy="289765"/>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8" name="Freeform 15"/>
          <p:cNvSpPr>
            <a:spLocks noChangeAspect="1" noEditPoints="1"/>
          </p:cNvSpPr>
          <p:nvPr/>
        </p:nvSpPr>
        <p:spPr bwMode="black">
          <a:xfrm>
            <a:off x="8130378" y="3344381"/>
            <a:ext cx="276651" cy="276969"/>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10" name="Group 709"/>
          <p:cNvGrpSpPr/>
          <p:nvPr/>
        </p:nvGrpSpPr>
        <p:grpSpPr>
          <a:xfrm>
            <a:off x="5959811" y="4594289"/>
            <a:ext cx="291855" cy="293186"/>
            <a:chOff x="513213" y="1516062"/>
            <a:chExt cx="4163327" cy="4158599"/>
          </a:xfrm>
          <a:solidFill>
            <a:schemeClr val="tx1"/>
          </a:solidFill>
        </p:grpSpPr>
        <p:sp>
          <p:nvSpPr>
            <p:cNvPr id="711" name="Oval 710"/>
            <p:cNvSpPr/>
            <p:nvPr/>
          </p:nvSpPr>
          <p:spPr bwMode="auto">
            <a:xfrm>
              <a:off x="1943819" y="1516062"/>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2" name="Oval 711"/>
            <p:cNvSpPr/>
            <p:nvPr/>
          </p:nvSpPr>
          <p:spPr bwMode="auto">
            <a:xfrm>
              <a:off x="3382324" y="2583244"/>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3" name="Oval 712"/>
            <p:cNvSpPr/>
            <p:nvPr/>
          </p:nvSpPr>
          <p:spPr bwMode="auto">
            <a:xfrm>
              <a:off x="2823741" y="434176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4" name="Oval 713"/>
            <p:cNvSpPr/>
            <p:nvPr/>
          </p:nvSpPr>
          <p:spPr bwMode="auto">
            <a:xfrm>
              <a:off x="1076574" y="434002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5" name="Oval 714"/>
            <p:cNvSpPr/>
            <p:nvPr/>
          </p:nvSpPr>
          <p:spPr bwMode="auto">
            <a:xfrm>
              <a:off x="513213" y="260598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6" name="Rectangle 715"/>
            <p:cNvSpPr/>
            <p:nvPr/>
          </p:nvSpPr>
          <p:spPr bwMode="auto">
            <a:xfrm rot="6441055">
              <a:off x="3148580" y="3866168"/>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7" name="Rectangle 716"/>
            <p:cNvSpPr/>
            <p:nvPr/>
          </p:nvSpPr>
          <p:spPr bwMode="auto">
            <a:xfrm rot="8563381">
              <a:off x="1215635" y="2519037"/>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8" name="Rectangle 717"/>
            <p:cNvSpPr/>
            <p:nvPr/>
          </p:nvSpPr>
          <p:spPr bwMode="auto">
            <a:xfrm rot="4358614">
              <a:off x="746155" y="391023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9" name="Rectangle 718"/>
            <p:cNvSpPr/>
            <p:nvPr/>
          </p:nvSpPr>
          <p:spPr bwMode="auto">
            <a:xfrm>
              <a:off x="1870237" y="486209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0" name="Rectangle 719"/>
            <p:cNvSpPr/>
            <p:nvPr/>
          </p:nvSpPr>
          <p:spPr bwMode="auto">
            <a:xfrm rot="13043729" flipH="1">
              <a:off x="2710216" y="2544992"/>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21" name="Freeform 9"/>
          <p:cNvSpPr>
            <a:spLocks noChangeAspect="1" noEditPoints="1"/>
          </p:cNvSpPr>
          <p:nvPr/>
        </p:nvSpPr>
        <p:spPr bwMode="black">
          <a:xfrm>
            <a:off x="1625049" y="3363678"/>
            <a:ext cx="316036" cy="25625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2" name="Freeform 139"/>
          <p:cNvSpPr>
            <a:spLocks noChangeAspect="1" noEditPoints="1"/>
          </p:cNvSpPr>
          <p:nvPr/>
        </p:nvSpPr>
        <p:spPr bwMode="black">
          <a:xfrm>
            <a:off x="5990070" y="5569110"/>
            <a:ext cx="233615" cy="281342"/>
          </a:xfrm>
          <a:custGeom>
            <a:avLst/>
            <a:gdLst>
              <a:gd name="T0" fmla="*/ 1081 w 1081"/>
              <a:gd name="T1" fmla="*/ 1302 h 1302"/>
              <a:gd name="T2" fmla="*/ 850 w 1081"/>
              <a:gd name="T3" fmla="*/ 1110 h 1302"/>
              <a:gd name="T4" fmla="*/ 831 w 1081"/>
              <a:gd name="T5" fmla="*/ 1096 h 1302"/>
              <a:gd name="T6" fmla="*/ 1058 w 1081"/>
              <a:gd name="T7" fmla="*/ 942 h 1302"/>
              <a:gd name="T8" fmla="*/ 905 w 1081"/>
              <a:gd name="T9" fmla="*/ 0 h 1302"/>
              <a:gd name="T10" fmla="*/ 23 w 1081"/>
              <a:gd name="T11" fmla="*/ 153 h 1302"/>
              <a:gd name="T12" fmla="*/ 177 w 1081"/>
              <a:gd name="T13" fmla="*/ 1096 h 1302"/>
              <a:gd name="T14" fmla="*/ 0 w 1081"/>
              <a:gd name="T15" fmla="*/ 1302 h 1302"/>
              <a:gd name="T16" fmla="*/ 174 w 1081"/>
              <a:gd name="T17" fmla="*/ 1240 h 1302"/>
              <a:gd name="T18" fmla="*/ 971 w 1081"/>
              <a:gd name="T19" fmla="*/ 1302 h 1302"/>
              <a:gd name="T20" fmla="*/ 934 w 1081"/>
              <a:gd name="T21" fmla="*/ 291 h 1302"/>
              <a:gd name="T22" fmla="*/ 896 w 1081"/>
              <a:gd name="T23" fmla="*/ 763 h 1302"/>
              <a:gd name="T24" fmla="*/ 147 w 1081"/>
              <a:gd name="T25" fmla="*/ 730 h 1302"/>
              <a:gd name="T26" fmla="*/ 186 w 1081"/>
              <a:gd name="T27" fmla="*/ 259 h 1302"/>
              <a:gd name="T28" fmla="*/ 312 w 1081"/>
              <a:gd name="T29" fmla="*/ 172 h 1302"/>
              <a:gd name="T30" fmla="*/ 331 w 1081"/>
              <a:gd name="T31" fmla="*/ 115 h 1302"/>
              <a:gd name="T32" fmla="*/ 598 w 1081"/>
              <a:gd name="T33" fmla="*/ 115 h 1302"/>
              <a:gd name="T34" fmla="*/ 769 w 1081"/>
              <a:gd name="T35" fmla="*/ 134 h 1302"/>
              <a:gd name="T36" fmla="*/ 750 w 1081"/>
              <a:gd name="T37" fmla="*/ 191 h 1302"/>
              <a:gd name="T38" fmla="*/ 483 w 1081"/>
              <a:gd name="T39" fmla="*/ 191 h 1302"/>
              <a:gd name="T40" fmla="*/ 312 w 1081"/>
              <a:gd name="T41" fmla="*/ 172 h 1302"/>
              <a:gd name="T42" fmla="*/ 788 w 1081"/>
              <a:gd name="T43" fmla="*/ 904 h 1302"/>
              <a:gd name="T44" fmla="*/ 936 w 1081"/>
              <a:gd name="T45" fmla="*/ 904 h 1302"/>
              <a:gd name="T46" fmla="*/ 219 w 1081"/>
              <a:gd name="T47" fmla="*/ 830 h 1302"/>
              <a:gd name="T48" fmla="*/ 219 w 1081"/>
              <a:gd name="T49" fmla="*/ 977 h 1302"/>
              <a:gd name="T50" fmla="*/ 219 w 1081"/>
              <a:gd name="T51" fmla="*/ 830 h 1302"/>
              <a:gd name="T52" fmla="*/ 415 w 1081"/>
              <a:gd name="T53" fmla="*/ 966 h 1302"/>
              <a:gd name="T54" fmla="*/ 644 w 1081"/>
              <a:gd name="T55" fmla="*/ 943 h 1302"/>
              <a:gd name="T56" fmla="*/ 666 w 1081"/>
              <a:gd name="T57" fmla="*/ 1023 h 1302"/>
              <a:gd name="T58" fmla="*/ 438 w 1081"/>
              <a:gd name="T59" fmla="*/ 1046 h 1302"/>
              <a:gd name="T60" fmla="*/ 758 w 1081"/>
              <a:gd name="T61" fmla="*/ 1096 h 1302"/>
              <a:gd name="T62" fmla="*/ 309 w 1081"/>
              <a:gd name="T63" fmla="*/ 1110 h 1302"/>
              <a:gd name="T64" fmla="*/ 758 w 1081"/>
              <a:gd name="T65" fmla="*/ 1096 h 1302"/>
              <a:gd name="T66" fmla="*/ 279 w 1081"/>
              <a:gd name="T67" fmla="*/ 1138 h 1302"/>
              <a:gd name="T68" fmla="*/ 868 w 1081"/>
              <a:gd name="T69" fmla="*/ 1202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1" h="1302">
                <a:moveTo>
                  <a:pt x="971" y="1302"/>
                </a:moveTo>
                <a:cubicBezTo>
                  <a:pt x="1081" y="1302"/>
                  <a:pt x="1081" y="1302"/>
                  <a:pt x="1081" y="1302"/>
                </a:cubicBezTo>
                <a:cubicBezTo>
                  <a:pt x="850" y="1111"/>
                  <a:pt x="850" y="1111"/>
                  <a:pt x="850" y="1111"/>
                </a:cubicBezTo>
                <a:cubicBezTo>
                  <a:pt x="850" y="1110"/>
                  <a:pt x="850" y="1110"/>
                  <a:pt x="850" y="1110"/>
                </a:cubicBezTo>
                <a:cubicBezTo>
                  <a:pt x="848" y="1110"/>
                  <a:pt x="848" y="1110"/>
                  <a:pt x="848" y="1110"/>
                </a:cubicBezTo>
                <a:cubicBezTo>
                  <a:pt x="831" y="1096"/>
                  <a:pt x="831" y="1096"/>
                  <a:pt x="831" y="1096"/>
                </a:cubicBezTo>
                <a:cubicBezTo>
                  <a:pt x="905" y="1096"/>
                  <a:pt x="905" y="1096"/>
                  <a:pt x="905" y="1096"/>
                </a:cubicBezTo>
                <a:cubicBezTo>
                  <a:pt x="989" y="1096"/>
                  <a:pt x="1058" y="1027"/>
                  <a:pt x="1058" y="942"/>
                </a:cubicBezTo>
                <a:cubicBezTo>
                  <a:pt x="1058" y="153"/>
                  <a:pt x="1058" y="153"/>
                  <a:pt x="1058" y="153"/>
                </a:cubicBezTo>
                <a:cubicBezTo>
                  <a:pt x="1058" y="68"/>
                  <a:pt x="989" y="0"/>
                  <a:pt x="905" y="0"/>
                </a:cubicBezTo>
                <a:cubicBezTo>
                  <a:pt x="177" y="0"/>
                  <a:pt x="177" y="0"/>
                  <a:pt x="177" y="0"/>
                </a:cubicBezTo>
                <a:cubicBezTo>
                  <a:pt x="92" y="0"/>
                  <a:pt x="23" y="68"/>
                  <a:pt x="23" y="153"/>
                </a:cubicBezTo>
                <a:cubicBezTo>
                  <a:pt x="23" y="942"/>
                  <a:pt x="23" y="942"/>
                  <a:pt x="23" y="942"/>
                </a:cubicBezTo>
                <a:cubicBezTo>
                  <a:pt x="23" y="1027"/>
                  <a:pt x="92" y="1096"/>
                  <a:pt x="177" y="1096"/>
                </a:cubicBezTo>
                <a:cubicBezTo>
                  <a:pt x="250" y="1096"/>
                  <a:pt x="250" y="1096"/>
                  <a:pt x="250" y="1096"/>
                </a:cubicBezTo>
                <a:cubicBezTo>
                  <a:pt x="0" y="1302"/>
                  <a:pt x="0" y="1302"/>
                  <a:pt x="0" y="1302"/>
                </a:cubicBezTo>
                <a:cubicBezTo>
                  <a:pt x="110" y="1302"/>
                  <a:pt x="110" y="1302"/>
                  <a:pt x="110" y="1302"/>
                </a:cubicBezTo>
                <a:cubicBezTo>
                  <a:pt x="174" y="1240"/>
                  <a:pt x="174" y="1240"/>
                  <a:pt x="174" y="1240"/>
                </a:cubicBezTo>
                <a:cubicBezTo>
                  <a:pt x="907" y="1240"/>
                  <a:pt x="907" y="1240"/>
                  <a:pt x="907" y="1240"/>
                </a:cubicBezTo>
                <a:lnTo>
                  <a:pt x="971" y="1302"/>
                </a:lnTo>
                <a:close/>
                <a:moveTo>
                  <a:pt x="896" y="259"/>
                </a:moveTo>
                <a:cubicBezTo>
                  <a:pt x="917" y="259"/>
                  <a:pt x="934" y="273"/>
                  <a:pt x="934" y="291"/>
                </a:cubicBezTo>
                <a:cubicBezTo>
                  <a:pt x="934" y="730"/>
                  <a:pt x="934" y="730"/>
                  <a:pt x="934" y="730"/>
                </a:cubicBezTo>
                <a:cubicBezTo>
                  <a:pt x="934" y="748"/>
                  <a:pt x="917" y="763"/>
                  <a:pt x="896" y="763"/>
                </a:cubicBezTo>
                <a:cubicBezTo>
                  <a:pt x="186" y="763"/>
                  <a:pt x="186" y="763"/>
                  <a:pt x="186" y="763"/>
                </a:cubicBezTo>
                <a:cubicBezTo>
                  <a:pt x="164" y="763"/>
                  <a:pt x="147" y="748"/>
                  <a:pt x="147" y="730"/>
                </a:cubicBezTo>
                <a:cubicBezTo>
                  <a:pt x="147" y="291"/>
                  <a:pt x="147" y="291"/>
                  <a:pt x="147" y="291"/>
                </a:cubicBezTo>
                <a:cubicBezTo>
                  <a:pt x="147" y="273"/>
                  <a:pt x="164" y="259"/>
                  <a:pt x="186" y="259"/>
                </a:cubicBezTo>
                <a:lnTo>
                  <a:pt x="896" y="259"/>
                </a:lnTo>
                <a:close/>
                <a:moveTo>
                  <a:pt x="312" y="172"/>
                </a:moveTo>
                <a:cubicBezTo>
                  <a:pt x="312" y="134"/>
                  <a:pt x="312" y="134"/>
                  <a:pt x="312" y="134"/>
                </a:cubicBezTo>
                <a:cubicBezTo>
                  <a:pt x="312" y="124"/>
                  <a:pt x="320" y="115"/>
                  <a:pt x="331" y="115"/>
                </a:cubicBezTo>
                <a:cubicBezTo>
                  <a:pt x="483" y="115"/>
                  <a:pt x="483" y="115"/>
                  <a:pt x="483" y="115"/>
                </a:cubicBezTo>
                <a:cubicBezTo>
                  <a:pt x="598" y="115"/>
                  <a:pt x="598" y="115"/>
                  <a:pt x="598" y="115"/>
                </a:cubicBezTo>
                <a:cubicBezTo>
                  <a:pt x="750" y="115"/>
                  <a:pt x="750" y="115"/>
                  <a:pt x="750" y="115"/>
                </a:cubicBezTo>
                <a:cubicBezTo>
                  <a:pt x="761" y="115"/>
                  <a:pt x="769" y="124"/>
                  <a:pt x="769" y="134"/>
                </a:cubicBezTo>
                <a:cubicBezTo>
                  <a:pt x="769" y="172"/>
                  <a:pt x="769" y="172"/>
                  <a:pt x="769" y="172"/>
                </a:cubicBezTo>
                <a:cubicBezTo>
                  <a:pt x="769" y="183"/>
                  <a:pt x="761" y="191"/>
                  <a:pt x="750" y="191"/>
                </a:cubicBezTo>
                <a:cubicBezTo>
                  <a:pt x="598" y="191"/>
                  <a:pt x="598" y="191"/>
                  <a:pt x="598" y="191"/>
                </a:cubicBezTo>
                <a:cubicBezTo>
                  <a:pt x="483" y="191"/>
                  <a:pt x="483" y="191"/>
                  <a:pt x="483" y="191"/>
                </a:cubicBezTo>
                <a:cubicBezTo>
                  <a:pt x="331" y="191"/>
                  <a:pt x="331" y="191"/>
                  <a:pt x="331" y="191"/>
                </a:cubicBezTo>
                <a:cubicBezTo>
                  <a:pt x="320" y="191"/>
                  <a:pt x="312" y="183"/>
                  <a:pt x="312" y="172"/>
                </a:cubicBezTo>
                <a:close/>
                <a:moveTo>
                  <a:pt x="862" y="977"/>
                </a:moveTo>
                <a:cubicBezTo>
                  <a:pt x="822" y="977"/>
                  <a:pt x="788" y="944"/>
                  <a:pt x="788" y="904"/>
                </a:cubicBezTo>
                <a:cubicBezTo>
                  <a:pt x="788" y="863"/>
                  <a:pt x="822" y="830"/>
                  <a:pt x="862" y="830"/>
                </a:cubicBezTo>
                <a:cubicBezTo>
                  <a:pt x="903" y="830"/>
                  <a:pt x="936" y="863"/>
                  <a:pt x="936" y="904"/>
                </a:cubicBezTo>
                <a:cubicBezTo>
                  <a:pt x="936" y="944"/>
                  <a:pt x="903" y="977"/>
                  <a:pt x="862" y="977"/>
                </a:cubicBezTo>
                <a:close/>
                <a:moveTo>
                  <a:pt x="219" y="830"/>
                </a:moveTo>
                <a:cubicBezTo>
                  <a:pt x="260" y="830"/>
                  <a:pt x="293" y="863"/>
                  <a:pt x="293" y="904"/>
                </a:cubicBezTo>
                <a:cubicBezTo>
                  <a:pt x="293" y="944"/>
                  <a:pt x="260" y="977"/>
                  <a:pt x="219" y="977"/>
                </a:cubicBezTo>
                <a:cubicBezTo>
                  <a:pt x="178" y="977"/>
                  <a:pt x="145" y="944"/>
                  <a:pt x="145" y="904"/>
                </a:cubicBezTo>
                <a:cubicBezTo>
                  <a:pt x="145" y="863"/>
                  <a:pt x="178" y="830"/>
                  <a:pt x="219" y="830"/>
                </a:cubicBezTo>
                <a:close/>
                <a:moveTo>
                  <a:pt x="415" y="1023"/>
                </a:moveTo>
                <a:cubicBezTo>
                  <a:pt x="415" y="966"/>
                  <a:pt x="415" y="966"/>
                  <a:pt x="415" y="966"/>
                </a:cubicBezTo>
                <a:cubicBezTo>
                  <a:pt x="415" y="953"/>
                  <a:pt x="425" y="943"/>
                  <a:pt x="438" y="943"/>
                </a:cubicBezTo>
                <a:cubicBezTo>
                  <a:pt x="644" y="943"/>
                  <a:pt x="644" y="943"/>
                  <a:pt x="644" y="943"/>
                </a:cubicBezTo>
                <a:cubicBezTo>
                  <a:pt x="656" y="943"/>
                  <a:pt x="666" y="953"/>
                  <a:pt x="666" y="966"/>
                </a:cubicBezTo>
                <a:cubicBezTo>
                  <a:pt x="666" y="1023"/>
                  <a:pt x="666" y="1023"/>
                  <a:pt x="666" y="1023"/>
                </a:cubicBezTo>
                <a:cubicBezTo>
                  <a:pt x="666" y="1036"/>
                  <a:pt x="656" y="1046"/>
                  <a:pt x="644" y="1046"/>
                </a:cubicBezTo>
                <a:cubicBezTo>
                  <a:pt x="438" y="1046"/>
                  <a:pt x="438" y="1046"/>
                  <a:pt x="438" y="1046"/>
                </a:cubicBezTo>
                <a:cubicBezTo>
                  <a:pt x="425" y="1046"/>
                  <a:pt x="415" y="1036"/>
                  <a:pt x="415" y="1023"/>
                </a:cubicBezTo>
                <a:close/>
                <a:moveTo>
                  <a:pt x="758" y="1096"/>
                </a:moveTo>
                <a:cubicBezTo>
                  <a:pt x="773" y="1110"/>
                  <a:pt x="773" y="1110"/>
                  <a:pt x="773" y="1110"/>
                </a:cubicBezTo>
                <a:cubicBezTo>
                  <a:pt x="309" y="1110"/>
                  <a:pt x="309" y="1110"/>
                  <a:pt x="309" y="1110"/>
                </a:cubicBezTo>
                <a:cubicBezTo>
                  <a:pt x="323" y="1096"/>
                  <a:pt x="323" y="1096"/>
                  <a:pt x="323" y="1096"/>
                </a:cubicBezTo>
                <a:lnTo>
                  <a:pt x="758" y="1096"/>
                </a:lnTo>
                <a:close/>
                <a:moveTo>
                  <a:pt x="213" y="1202"/>
                </a:moveTo>
                <a:cubicBezTo>
                  <a:pt x="279" y="1138"/>
                  <a:pt x="279" y="1138"/>
                  <a:pt x="279" y="1138"/>
                </a:cubicBezTo>
                <a:cubicBezTo>
                  <a:pt x="802" y="1138"/>
                  <a:pt x="802" y="1138"/>
                  <a:pt x="802" y="1138"/>
                </a:cubicBezTo>
                <a:cubicBezTo>
                  <a:pt x="868" y="1202"/>
                  <a:pt x="868" y="1202"/>
                  <a:pt x="868" y="1202"/>
                </a:cubicBezTo>
                <a:lnTo>
                  <a:pt x="213" y="1202"/>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3" name="Rectangle 722"/>
          <p:cNvSpPr/>
          <p:nvPr/>
        </p:nvSpPr>
        <p:spPr bwMode="auto">
          <a:xfrm>
            <a:off x="735931" y="2273738"/>
            <a:ext cx="10746017"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Programming Models </a:t>
            </a:r>
          </a:p>
        </p:txBody>
      </p:sp>
      <p:sp>
        <p:nvSpPr>
          <p:cNvPr id="724" name="Freeform 5"/>
          <p:cNvSpPr>
            <a:spLocks noEditPoints="1"/>
          </p:cNvSpPr>
          <p:nvPr/>
        </p:nvSpPr>
        <p:spPr bwMode="black">
          <a:xfrm>
            <a:off x="5931830" y="2383319"/>
            <a:ext cx="368449" cy="314907"/>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5" name="Freeform 115"/>
          <p:cNvSpPr>
            <a:spLocks noChangeAspect="1" noEditPoints="1"/>
          </p:cNvSpPr>
          <p:nvPr/>
        </p:nvSpPr>
        <p:spPr bwMode="black">
          <a:xfrm>
            <a:off x="10371077" y="3343667"/>
            <a:ext cx="273363" cy="268482"/>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chemeClr val="tx1"/>
          </a:solidFill>
          <a:ln>
            <a:noFill/>
          </a:ln>
          <a:extLst/>
        </p:spPr>
        <p:txBody>
          <a:bodyPr vert="horz" wrap="square" lIns="91431" tIns="45715" rIns="91431" bIns="457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01" name="Right Arrow 800"/>
          <p:cNvSpPr/>
          <p:nvPr/>
        </p:nvSpPr>
        <p:spPr>
          <a:xfrm rot="5400000">
            <a:off x="1917358" y="3171012"/>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2" name="Right Arrow 801"/>
          <p:cNvSpPr/>
          <p:nvPr/>
        </p:nvSpPr>
        <p:spPr>
          <a:xfrm rot="5400000">
            <a:off x="6013024" y="3150308"/>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3" name="Right Arrow 802"/>
          <p:cNvSpPr/>
          <p:nvPr/>
        </p:nvSpPr>
        <p:spPr>
          <a:xfrm rot="5400000">
            <a:off x="10044633" y="3159001"/>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804" name="Group 803"/>
          <p:cNvGrpSpPr/>
          <p:nvPr/>
        </p:nvGrpSpPr>
        <p:grpSpPr>
          <a:xfrm>
            <a:off x="924040" y="3768276"/>
            <a:ext cx="2501464" cy="2016432"/>
            <a:chOff x="967123" y="3315404"/>
            <a:chExt cx="2551986" cy="2057157"/>
          </a:xfrm>
        </p:grpSpPr>
        <p:sp>
          <p:nvSpPr>
            <p:cNvPr id="805" name="Rectangle 804"/>
            <p:cNvSpPr/>
            <p:nvPr/>
          </p:nvSpPr>
          <p:spPr>
            <a:xfrm>
              <a:off x="984812" y="3813776"/>
              <a:ext cx="2479439" cy="691375"/>
            </a:xfrm>
            <a:prstGeom prst="rect">
              <a:avLst/>
            </a:prstGeom>
            <a:solidFill>
              <a:srgbClr val="00B0F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Azure</a:t>
              </a:r>
              <a:r>
                <a:rPr kumimoji="0" lang="en-US" sz="2353" b="0" i="0" u="none" strike="noStrike" kern="0" cap="none" spc="0" normalizeH="0" baseline="0" noProof="0">
                  <a:ln>
                    <a:noFill/>
                  </a:ln>
                  <a:solidFill>
                    <a:srgbClr val="FFFFFF"/>
                  </a:solidFill>
                  <a:effectLst/>
                  <a:uLnTx/>
                  <a:uFillTx/>
                  <a:latin typeface="Segoe UI Light"/>
                  <a:ea typeface="+mn-ea"/>
                  <a:cs typeface="+mn-cs"/>
                </a:rPr>
                <a:t> </a:t>
              </a:r>
            </a:p>
          </p:txBody>
        </p:sp>
        <p:sp>
          <p:nvSpPr>
            <p:cNvPr id="806" name="Rectangle 805"/>
            <p:cNvSpPr/>
            <p:nvPr/>
          </p:nvSpPr>
          <p:spPr>
            <a:xfrm>
              <a:off x="984813" y="3315404"/>
              <a:ext cx="1232246"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07" name="Rectangle 806"/>
            <p:cNvSpPr/>
            <p:nvPr/>
          </p:nvSpPr>
          <p:spPr>
            <a:xfrm>
              <a:off x="2265833" y="3315404"/>
              <a:ext cx="1198419"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08" name="Picture 807"/>
            <p:cNvPicPr>
              <a:picLocks noChangeAspect="1"/>
            </p:cNvPicPr>
            <p:nvPr/>
          </p:nvPicPr>
          <p:blipFill>
            <a:blip r:embed="rId4">
              <a:duotone>
                <a:prstClr val="black"/>
                <a:schemeClr val="accent2">
                  <a:tint val="45000"/>
                  <a:satMod val="400000"/>
                </a:schemeClr>
              </a:duotone>
            </a:blip>
            <a:stretch>
              <a:fillRect/>
            </a:stretch>
          </p:blipFill>
          <p:spPr>
            <a:xfrm>
              <a:off x="967123" y="4562023"/>
              <a:ext cx="2551986" cy="810538"/>
            </a:xfrm>
            <a:prstGeom prst="rect">
              <a:avLst/>
            </a:prstGeom>
          </p:spPr>
        </p:pic>
      </p:grpSp>
      <p:grpSp>
        <p:nvGrpSpPr>
          <p:cNvPr id="809" name="Group 808"/>
          <p:cNvGrpSpPr/>
          <p:nvPr/>
        </p:nvGrpSpPr>
        <p:grpSpPr>
          <a:xfrm>
            <a:off x="9050547" y="3768276"/>
            <a:ext cx="2501464" cy="2050863"/>
            <a:chOff x="8577887" y="3302049"/>
            <a:chExt cx="2551986" cy="2092284"/>
          </a:xfrm>
        </p:grpSpPr>
        <p:sp>
          <p:nvSpPr>
            <p:cNvPr id="810" name="Rectangle 809"/>
            <p:cNvSpPr/>
            <p:nvPr/>
          </p:nvSpPr>
          <p:spPr>
            <a:xfrm>
              <a:off x="8596359" y="3812695"/>
              <a:ext cx="2479439" cy="691375"/>
            </a:xfrm>
            <a:prstGeom prst="rect">
              <a:avLst/>
            </a:prstGeom>
            <a:solidFill>
              <a:srgbClr val="ED7D31"/>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Hosted Clouds</a:t>
              </a:r>
            </a:p>
          </p:txBody>
        </p:sp>
        <p:sp>
          <p:nvSpPr>
            <p:cNvPr id="811" name="Rectangle 810"/>
            <p:cNvSpPr/>
            <p:nvPr/>
          </p:nvSpPr>
          <p:spPr>
            <a:xfrm>
              <a:off x="8596360" y="3302049"/>
              <a:ext cx="1227098"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12" name="Rectangle 811"/>
            <p:cNvSpPr/>
            <p:nvPr/>
          </p:nvSpPr>
          <p:spPr>
            <a:xfrm>
              <a:off x="9857729" y="3302049"/>
              <a:ext cx="1218070"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13" name="Picture 812"/>
            <p:cNvPicPr>
              <a:picLocks noChangeAspect="1"/>
            </p:cNvPicPr>
            <p:nvPr/>
          </p:nvPicPr>
          <p:blipFill>
            <a:blip r:embed="rId4">
              <a:duotone>
                <a:prstClr val="black"/>
                <a:schemeClr val="accent2">
                  <a:tint val="45000"/>
                  <a:satMod val="400000"/>
                </a:schemeClr>
              </a:duotone>
            </a:blip>
            <a:stretch>
              <a:fillRect/>
            </a:stretch>
          </p:blipFill>
          <p:spPr>
            <a:xfrm>
              <a:off x="8577887" y="4583795"/>
              <a:ext cx="2551986" cy="810538"/>
            </a:xfrm>
            <a:prstGeom prst="rect">
              <a:avLst/>
            </a:prstGeom>
          </p:spPr>
        </p:pic>
      </p:grpSp>
      <p:sp>
        <p:nvSpPr>
          <p:cNvPr id="814" name="Rectangle 813"/>
          <p:cNvSpPr/>
          <p:nvPr/>
        </p:nvSpPr>
        <p:spPr>
          <a:xfrm>
            <a:off x="690415"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15" name="TextBox 814"/>
          <p:cNvSpPr txBox="1"/>
          <p:nvPr/>
        </p:nvSpPr>
        <p:spPr>
          <a:xfrm>
            <a:off x="5159230" y="2234926"/>
            <a:ext cx="2271406"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1" i="0" u="none" strike="noStrike" kern="1200" cap="none" spc="0" normalizeH="0" baseline="0" noProof="0">
                <a:ln>
                  <a:noFill/>
                </a:ln>
                <a:solidFill>
                  <a:srgbClr val="FFFFFF"/>
                </a:solidFill>
                <a:effectLst/>
                <a:uLnTx/>
                <a:uFillTx/>
                <a:latin typeface="Segoe UI Light"/>
                <a:ea typeface="+mn-ea"/>
                <a:cs typeface="+mn-cs"/>
              </a:rPr>
              <a:t>Service Fabric</a:t>
            </a:r>
          </a:p>
        </p:txBody>
      </p:sp>
      <p:grpSp>
        <p:nvGrpSpPr>
          <p:cNvPr id="816" name="Group 815"/>
          <p:cNvGrpSpPr/>
          <p:nvPr/>
        </p:nvGrpSpPr>
        <p:grpSpPr>
          <a:xfrm>
            <a:off x="3802072" y="3502292"/>
            <a:ext cx="4760747" cy="2764983"/>
            <a:chOff x="3570769" y="4054765"/>
            <a:chExt cx="4856898" cy="2820828"/>
          </a:xfrm>
        </p:grpSpPr>
        <p:pic>
          <p:nvPicPr>
            <p:cNvPr id="817" name="Picture 816"/>
            <p:cNvPicPr>
              <a:picLocks noChangeAspect="1"/>
            </p:cNvPicPr>
            <p:nvPr/>
          </p:nvPicPr>
          <p:blipFill>
            <a:blip r:embed="rId5"/>
            <a:stretch>
              <a:fillRect/>
            </a:stretch>
          </p:blipFill>
          <p:spPr>
            <a:xfrm>
              <a:off x="3570769" y="4054765"/>
              <a:ext cx="4856898" cy="2820828"/>
            </a:xfrm>
            <a:prstGeom prst="rect">
              <a:avLst/>
            </a:prstGeom>
          </p:spPr>
        </p:pic>
        <p:grpSp>
          <p:nvGrpSpPr>
            <p:cNvPr id="818" name="Group 817"/>
            <p:cNvGrpSpPr/>
            <p:nvPr/>
          </p:nvGrpSpPr>
          <p:grpSpPr>
            <a:xfrm>
              <a:off x="4864258" y="5403511"/>
              <a:ext cx="2479440" cy="1186831"/>
              <a:chOff x="4962229" y="5403511"/>
              <a:chExt cx="2479440" cy="1186831"/>
            </a:xfrm>
          </p:grpSpPr>
          <p:sp>
            <p:nvSpPr>
              <p:cNvPr id="819" name="Rectangle 818"/>
              <p:cNvSpPr/>
              <p:nvPr/>
            </p:nvSpPr>
            <p:spPr>
              <a:xfrm>
                <a:off x="4962229" y="5898967"/>
                <a:ext cx="2479439" cy="691375"/>
              </a:xfrm>
              <a:prstGeom prst="rect">
                <a:avLst/>
              </a:prstGeom>
              <a:solidFill>
                <a:srgbClr val="00B05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Private Clouds</a:t>
                </a:r>
                <a:endParaRPr kumimoji="0" lang="en-US" sz="1371" b="0" i="0" u="none" strike="noStrike" kern="0" cap="none" spc="0" normalizeH="0" baseline="0" noProof="0">
                  <a:ln>
                    <a:noFill/>
                  </a:ln>
                  <a:solidFill>
                    <a:srgbClr val="FFFFFF"/>
                  </a:solidFill>
                  <a:effectLst/>
                  <a:uLnTx/>
                  <a:uFillTx/>
                  <a:latin typeface="Segoe UI Light"/>
                  <a:ea typeface="+mn-ea"/>
                  <a:cs typeface="+mn-cs"/>
                </a:endParaRPr>
              </a:p>
            </p:txBody>
          </p:sp>
          <p:sp>
            <p:nvSpPr>
              <p:cNvPr id="820" name="Rectangle 819"/>
              <p:cNvSpPr/>
              <p:nvPr/>
            </p:nvSpPr>
            <p:spPr>
              <a:xfrm>
                <a:off x="4962230" y="5403511"/>
                <a:ext cx="1222090"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21" name="Rectangle 820"/>
              <p:cNvSpPr/>
              <p:nvPr/>
            </p:nvSpPr>
            <p:spPr>
              <a:xfrm>
                <a:off x="6228297" y="5403511"/>
                <a:ext cx="1213372"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grpSp>
      </p:grpSp>
      <p:sp>
        <p:nvSpPr>
          <p:cNvPr id="822" name="TextBox 821"/>
          <p:cNvSpPr txBox="1"/>
          <p:nvPr/>
        </p:nvSpPr>
        <p:spPr>
          <a:xfrm>
            <a:off x="772809" y="2355584"/>
            <a:ext cx="1203935"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Availability</a:t>
            </a:r>
          </a:p>
        </p:txBody>
      </p:sp>
      <p:sp>
        <p:nvSpPr>
          <p:cNvPr id="823" name="TextBox 822"/>
          <p:cNvSpPr txBox="1"/>
          <p:nvPr/>
        </p:nvSpPr>
        <p:spPr>
          <a:xfrm>
            <a:off x="2197040" y="2955268"/>
            <a:ext cx="1159934"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per-Scale</a:t>
            </a:r>
          </a:p>
        </p:txBody>
      </p:sp>
      <p:sp>
        <p:nvSpPr>
          <p:cNvPr id="824" name="TextBox 823"/>
          <p:cNvSpPr txBox="1"/>
          <p:nvPr/>
        </p:nvSpPr>
        <p:spPr>
          <a:xfrm>
            <a:off x="2149231" y="2391245"/>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brid Operations</a:t>
            </a:r>
          </a:p>
        </p:txBody>
      </p:sp>
      <p:sp>
        <p:nvSpPr>
          <p:cNvPr id="825" name="TextBox 824"/>
          <p:cNvSpPr txBox="1"/>
          <p:nvPr/>
        </p:nvSpPr>
        <p:spPr>
          <a:xfrm>
            <a:off x="2698519" y="2697292"/>
            <a:ext cx="10535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Density</a:t>
            </a:r>
          </a:p>
        </p:txBody>
      </p:sp>
      <p:sp>
        <p:nvSpPr>
          <p:cNvPr id="826" name="TextBox 825"/>
          <p:cNvSpPr txBox="1"/>
          <p:nvPr/>
        </p:nvSpPr>
        <p:spPr>
          <a:xfrm>
            <a:off x="4061848" y="2655036"/>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olling Upgrades</a:t>
            </a:r>
          </a:p>
        </p:txBody>
      </p:sp>
      <p:sp>
        <p:nvSpPr>
          <p:cNvPr id="827" name="TextBox 826"/>
          <p:cNvSpPr txBox="1"/>
          <p:nvPr/>
        </p:nvSpPr>
        <p:spPr>
          <a:xfrm>
            <a:off x="5397526" y="2914959"/>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tateful services</a:t>
            </a:r>
          </a:p>
        </p:txBody>
      </p:sp>
      <p:sp>
        <p:nvSpPr>
          <p:cNvPr id="828" name="TextBox 827"/>
          <p:cNvSpPr txBox="1"/>
          <p:nvPr/>
        </p:nvSpPr>
        <p:spPr>
          <a:xfrm>
            <a:off x="5890239" y="268546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w Latency</a:t>
            </a:r>
          </a:p>
        </p:txBody>
      </p:sp>
      <p:sp>
        <p:nvSpPr>
          <p:cNvPr id="829" name="TextBox 828"/>
          <p:cNvSpPr txBox="1"/>
          <p:nvPr/>
        </p:nvSpPr>
        <p:spPr>
          <a:xfrm>
            <a:off x="7646019" y="2779273"/>
            <a:ext cx="1312720" cy="461342"/>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Fast startup &amp; shutdown</a:t>
            </a:r>
          </a:p>
        </p:txBody>
      </p:sp>
      <p:sp>
        <p:nvSpPr>
          <p:cNvPr id="830" name="TextBox 829"/>
          <p:cNvSpPr txBox="1"/>
          <p:nvPr/>
        </p:nvSpPr>
        <p:spPr>
          <a:xfrm>
            <a:off x="8581098" y="2273554"/>
            <a:ext cx="1707445" cy="452338"/>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Container Orchestration &amp; lifecycle management</a:t>
            </a:r>
          </a:p>
        </p:txBody>
      </p:sp>
      <p:sp>
        <p:nvSpPr>
          <p:cNvPr id="831" name="TextBox 830"/>
          <p:cNvSpPr txBox="1"/>
          <p:nvPr/>
        </p:nvSpPr>
        <p:spPr>
          <a:xfrm>
            <a:off x="10031767" y="2735986"/>
            <a:ext cx="1526407"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eplication &amp; Failover</a:t>
            </a:r>
          </a:p>
        </p:txBody>
      </p:sp>
      <p:sp>
        <p:nvSpPr>
          <p:cNvPr id="832" name="TextBox 831"/>
          <p:cNvSpPr txBox="1"/>
          <p:nvPr/>
        </p:nvSpPr>
        <p:spPr>
          <a:xfrm>
            <a:off x="847060" y="2618267"/>
            <a:ext cx="1159934" cy="645854"/>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imple programming models</a:t>
            </a:r>
          </a:p>
        </p:txBody>
      </p:sp>
      <p:sp>
        <p:nvSpPr>
          <p:cNvPr id="833" name="TextBox 832"/>
          <p:cNvSpPr txBox="1"/>
          <p:nvPr/>
        </p:nvSpPr>
        <p:spPr>
          <a:xfrm>
            <a:off x="8958741" y="283981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ad balancing</a:t>
            </a:r>
          </a:p>
        </p:txBody>
      </p:sp>
      <p:sp>
        <p:nvSpPr>
          <p:cNvPr id="834" name="TextBox 833"/>
          <p:cNvSpPr txBox="1"/>
          <p:nvPr/>
        </p:nvSpPr>
        <p:spPr>
          <a:xfrm>
            <a:off x="10396453" y="2389836"/>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elf-healing</a:t>
            </a:r>
          </a:p>
        </p:txBody>
      </p:sp>
      <p:sp>
        <p:nvSpPr>
          <p:cNvPr id="835" name="TextBox 834"/>
          <p:cNvSpPr txBox="1"/>
          <p:nvPr/>
        </p:nvSpPr>
        <p:spPr>
          <a:xfrm>
            <a:off x="3652423" y="2352681"/>
            <a:ext cx="1332761"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Data Partitioning</a:t>
            </a:r>
          </a:p>
        </p:txBody>
      </p:sp>
      <p:sp>
        <p:nvSpPr>
          <p:cNvPr id="836" name="TextBox 835"/>
          <p:cNvSpPr txBox="1"/>
          <p:nvPr/>
        </p:nvSpPr>
        <p:spPr>
          <a:xfrm>
            <a:off x="3706689" y="2960797"/>
            <a:ext cx="15080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Automated Rollback</a:t>
            </a:r>
          </a:p>
        </p:txBody>
      </p:sp>
      <p:sp>
        <p:nvSpPr>
          <p:cNvPr id="837" name="TextBox 836"/>
          <p:cNvSpPr txBox="1"/>
          <p:nvPr/>
        </p:nvSpPr>
        <p:spPr>
          <a:xfrm>
            <a:off x="7381583" y="2293037"/>
            <a:ext cx="1312720"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ealth Monitoring</a:t>
            </a:r>
          </a:p>
        </p:txBody>
      </p:sp>
      <p:sp>
        <p:nvSpPr>
          <p:cNvPr id="838" name="TextBox 837"/>
          <p:cNvSpPr txBox="1"/>
          <p:nvPr/>
        </p:nvSpPr>
        <p:spPr>
          <a:xfrm>
            <a:off x="6901028" y="2697292"/>
            <a:ext cx="1332761" cy="46134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Placement Constraints</a:t>
            </a:r>
          </a:p>
        </p:txBody>
      </p:sp>
      <p:sp>
        <p:nvSpPr>
          <p:cNvPr id="682" name="Freeform 681"/>
          <p:cNvSpPr>
            <a:spLocks noChangeAspect="1"/>
          </p:cNvSpPr>
          <p:nvPr/>
        </p:nvSpPr>
        <p:spPr bwMode="black">
          <a:xfrm>
            <a:off x="5999304" y="3363679"/>
            <a:ext cx="227773" cy="228727"/>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59523256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801"/>
                                        </p:tgtEl>
                                      </p:cBhvr>
                                    </p:animEffect>
                                    <p:set>
                                      <p:cBhvr>
                                        <p:cTn id="7" dur="1" fill="hold">
                                          <p:stCondLst>
                                            <p:cond delay="499"/>
                                          </p:stCondLst>
                                        </p:cTn>
                                        <p:tgtEl>
                                          <p:spTgt spid="80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802"/>
                                        </p:tgtEl>
                                      </p:cBhvr>
                                    </p:animEffect>
                                    <p:set>
                                      <p:cBhvr>
                                        <p:cTn id="10" dur="1" fill="hold">
                                          <p:stCondLst>
                                            <p:cond delay="499"/>
                                          </p:stCondLst>
                                        </p:cTn>
                                        <p:tgtEl>
                                          <p:spTgt spid="80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803"/>
                                        </p:tgtEl>
                                      </p:cBhvr>
                                    </p:animEffect>
                                    <p:set>
                                      <p:cBhvr>
                                        <p:cTn id="13" dur="1" fill="hold">
                                          <p:stCondLst>
                                            <p:cond delay="499"/>
                                          </p:stCondLst>
                                        </p:cTn>
                                        <p:tgtEl>
                                          <p:spTgt spid="803"/>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804"/>
                                        </p:tgtEl>
                                      </p:cBhvr>
                                    </p:animEffect>
                                    <p:set>
                                      <p:cBhvr>
                                        <p:cTn id="16" dur="1" fill="hold">
                                          <p:stCondLst>
                                            <p:cond delay="499"/>
                                          </p:stCondLst>
                                        </p:cTn>
                                        <p:tgtEl>
                                          <p:spTgt spid="804"/>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809"/>
                                        </p:tgtEl>
                                      </p:cBhvr>
                                    </p:animEffect>
                                    <p:set>
                                      <p:cBhvr>
                                        <p:cTn id="19" dur="1" fill="hold">
                                          <p:stCondLst>
                                            <p:cond delay="499"/>
                                          </p:stCondLst>
                                        </p:cTn>
                                        <p:tgtEl>
                                          <p:spTgt spid="809"/>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814"/>
                                        </p:tgtEl>
                                      </p:cBhvr>
                                    </p:animEffect>
                                    <p:set>
                                      <p:cBhvr>
                                        <p:cTn id="22" dur="1" fill="hold">
                                          <p:stCondLst>
                                            <p:cond delay="499"/>
                                          </p:stCondLst>
                                        </p:cTn>
                                        <p:tgtEl>
                                          <p:spTgt spid="814"/>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500"/>
                                        <p:tgtEl>
                                          <p:spTgt spid="816"/>
                                        </p:tgtEl>
                                      </p:cBhvr>
                                    </p:animEffect>
                                    <p:set>
                                      <p:cBhvr>
                                        <p:cTn id="25" dur="1" fill="hold">
                                          <p:stCondLst>
                                            <p:cond delay="499"/>
                                          </p:stCondLst>
                                        </p:cTn>
                                        <p:tgtEl>
                                          <p:spTgt spid="816"/>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822"/>
                                        </p:tgtEl>
                                      </p:cBhvr>
                                    </p:animEffect>
                                    <p:set>
                                      <p:cBhvr>
                                        <p:cTn id="28" dur="1" fill="hold">
                                          <p:stCondLst>
                                            <p:cond delay="499"/>
                                          </p:stCondLst>
                                        </p:cTn>
                                        <p:tgtEl>
                                          <p:spTgt spid="822"/>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823"/>
                                        </p:tgtEl>
                                      </p:cBhvr>
                                    </p:animEffect>
                                    <p:set>
                                      <p:cBhvr>
                                        <p:cTn id="31" dur="1" fill="hold">
                                          <p:stCondLst>
                                            <p:cond delay="499"/>
                                          </p:stCondLst>
                                        </p:cTn>
                                        <p:tgtEl>
                                          <p:spTgt spid="823"/>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824"/>
                                        </p:tgtEl>
                                      </p:cBhvr>
                                    </p:animEffect>
                                    <p:set>
                                      <p:cBhvr>
                                        <p:cTn id="34" dur="1" fill="hold">
                                          <p:stCondLst>
                                            <p:cond delay="499"/>
                                          </p:stCondLst>
                                        </p:cTn>
                                        <p:tgtEl>
                                          <p:spTgt spid="824"/>
                                        </p:tgtEl>
                                        <p:attrNameLst>
                                          <p:attrName>style.visibility</p:attrName>
                                        </p:attrNameLst>
                                      </p:cBhvr>
                                      <p:to>
                                        <p:strVal val="hidden"/>
                                      </p:to>
                                    </p:set>
                                  </p:childTnLst>
                                </p:cTn>
                              </p:par>
                              <p:par>
                                <p:cTn id="35" presetID="10" presetClass="exit" presetSubtype="0" fill="hold" grpId="0" nodeType="withEffect">
                                  <p:stCondLst>
                                    <p:cond delay="0"/>
                                  </p:stCondLst>
                                  <p:childTnLst>
                                    <p:animEffect transition="out" filter="fade">
                                      <p:cBhvr>
                                        <p:cTn id="36" dur="500"/>
                                        <p:tgtEl>
                                          <p:spTgt spid="825"/>
                                        </p:tgtEl>
                                      </p:cBhvr>
                                    </p:animEffect>
                                    <p:set>
                                      <p:cBhvr>
                                        <p:cTn id="37" dur="1" fill="hold">
                                          <p:stCondLst>
                                            <p:cond delay="499"/>
                                          </p:stCondLst>
                                        </p:cTn>
                                        <p:tgtEl>
                                          <p:spTgt spid="825"/>
                                        </p:tgtEl>
                                        <p:attrNameLst>
                                          <p:attrName>style.visibility</p:attrName>
                                        </p:attrNameLst>
                                      </p:cBhvr>
                                      <p:to>
                                        <p:strVal val="hidden"/>
                                      </p:to>
                                    </p:set>
                                  </p:childTnLst>
                                </p:cTn>
                              </p:par>
                              <p:par>
                                <p:cTn id="38" presetID="10" presetClass="exit" presetSubtype="0" fill="hold" grpId="0" nodeType="withEffect">
                                  <p:stCondLst>
                                    <p:cond delay="0"/>
                                  </p:stCondLst>
                                  <p:childTnLst>
                                    <p:animEffect transition="out" filter="fade">
                                      <p:cBhvr>
                                        <p:cTn id="39" dur="500"/>
                                        <p:tgtEl>
                                          <p:spTgt spid="826"/>
                                        </p:tgtEl>
                                      </p:cBhvr>
                                    </p:animEffect>
                                    <p:set>
                                      <p:cBhvr>
                                        <p:cTn id="40" dur="1" fill="hold">
                                          <p:stCondLst>
                                            <p:cond delay="499"/>
                                          </p:stCondLst>
                                        </p:cTn>
                                        <p:tgtEl>
                                          <p:spTgt spid="826"/>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827"/>
                                        </p:tgtEl>
                                      </p:cBhvr>
                                    </p:animEffect>
                                    <p:set>
                                      <p:cBhvr>
                                        <p:cTn id="43" dur="1" fill="hold">
                                          <p:stCondLst>
                                            <p:cond delay="499"/>
                                          </p:stCondLst>
                                        </p:cTn>
                                        <p:tgtEl>
                                          <p:spTgt spid="827"/>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828"/>
                                        </p:tgtEl>
                                      </p:cBhvr>
                                    </p:animEffect>
                                    <p:set>
                                      <p:cBhvr>
                                        <p:cTn id="46" dur="1" fill="hold">
                                          <p:stCondLst>
                                            <p:cond delay="499"/>
                                          </p:stCondLst>
                                        </p:cTn>
                                        <p:tgtEl>
                                          <p:spTgt spid="82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829"/>
                                        </p:tgtEl>
                                      </p:cBhvr>
                                    </p:animEffect>
                                    <p:set>
                                      <p:cBhvr>
                                        <p:cTn id="49" dur="1" fill="hold">
                                          <p:stCondLst>
                                            <p:cond delay="499"/>
                                          </p:stCondLst>
                                        </p:cTn>
                                        <p:tgtEl>
                                          <p:spTgt spid="829"/>
                                        </p:tgtEl>
                                        <p:attrNameLst>
                                          <p:attrName>style.visibility</p:attrName>
                                        </p:attrNameLst>
                                      </p:cBhvr>
                                      <p:to>
                                        <p:strVal val="hidden"/>
                                      </p:to>
                                    </p:set>
                                  </p:childTnLst>
                                </p:cTn>
                              </p:par>
                              <p:par>
                                <p:cTn id="50" presetID="10" presetClass="exit" presetSubtype="0" fill="hold" grpId="0" nodeType="withEffect">
                                  <p:stCondLst>
                                    <p:cond delay="0"/>
                                  </p:stCondLst>
                                  <p:childTnLst>
                                    <p:animEffect transition="out" filter="fade">
                                      <p:cBhvr>
                                        <p:cTn id="51" dur="500"/>
                                        <p:tgtEl>
                                          <p:spTgt spid="830"/>
                                        </p:tgtEl>
                                      </p:cBhvr>
                                    </p:animEffect>
                                    <p:set>
                                      <p:cBhvr>
                                        <p:cTn id="52" dur="1" fill="hold">
                                          <p:stCondLst>
                                            <p:cond delay="499"/>
                                          </p:stCondLst>
                                        </p:cTn>
                                        <p:tgtEl>
                                          <p:spTgt spid="830"/>
                                        </p:tgtEl>
                                        <p:attrNameLst>
                                          <p:attrName>style.visibility</p:attrName>
                                        </p:attrNameLst>
                                      </p:cBhvr>
                                      <p:to>
                                        <p:strVal val="hidden"/>
                                      </p:to>
                                    </p:set>
                                  </p:childTnLst>
                                </p:cTn>
                              </p:par>
                              <p:par>
                                <p:cTn id="53" presetID="10" presetClass="exit" presetSubtype="0" fill="hold" grpId="0" nodeType="withEffect">
                                  <p:stCondLst>
                                    <p:cond delay="0"/>
                                  </p:stCondLst>
                                  <p:childTnLst>
                                    <p:animEffect transition="out" filter="fade">
                                      <p:cBhvr>
                                        <p:cTn id="54" dur="500"/>
                                        <p:tgtEl>
                                          <p:spTgt spid="831"/>
                                        </p:tgtEl>
                                      </p:cBhvr>
                                    </p:animEffect>
                                    <p:set>
                                      <p:cBhvr>
                                        <p:cTn id="55" dur="1" fill="hold">
                                          <p:stCondLst>
                                            <p:cond delay="499"/>
                                          </p:stCondLst>
                                        </p:cTn>
                                        <p:tgtEl>
                                          <p:spTgt spid="831"/>
                                        </p:tgtEl>
                                        <p:attrNameLst>
                                          <p:attrName>style.visibility</p:attrName>
                                        </p:attrNameLst>
                                      </p:cBhvr>
                                      <p:to>
                                        <p:strVal val="hidden"/>
                                      </p:to>
                                    </p:set>
                                  </p:childTnLst>
                                </p:cTn>
                              </p:par>
                              <p:par>
                                <p:cTn id="56" presetID="10" presetClass="exit" presetSubtype="0" fill="hold" grpId="0" nodeType="withEffect">
                                  <p:stCondLst>
                                    <p:cond delay="0"/>
                                  </p:stCondLst>
                                  <p:childTnLst>
                                    <p:animEffect transition="out" filter="fade">
                                      <p:cBhvr>
                                        <p:cTn id="57" dur="500"/>
                                        <p:tgtEl>
                                          <p:spTgt spid="832"/>
                                        </p:tgtEl>
                                      </p:cBhvr>
                                    </p:animEffect>
                                    <p:set>
                                      <p:cBhvr>
                                        <p:cTn id="58" dur="1" fill="hold">
                                          <p:stCondLst>
                                            <p:cond delay="499"/>
                                          </p:stCondLst>
                                        </p:cTn>
                                        <p:tgtEl>
                                          <p:spTgt spid="832"/>
                                        </p:tgtEl>
                                        <p:attrNameLst>
                                          <p:attrName>style.visibility</p:attrName>
                                        </p:attrNameLst>
                                      </p:cBhvr>
                                      <p:to>
                                        <p:strVal val="hidden"/>
                                      </p:to>
                                    </p:set>
                                  </p:childTnLst>
                                </p:cTn>
                              </p:par>
                              <p:par>
                                <p:cTn id="59" presetID="10" presetClass="exit" presetSubtype="0" fill="hold" grpId="0" nodeType="withEffect">
                                  <p:stCondLst>
                                    <p:cond delay="0"/>
                                  </p:stCondLst>
                                  <p:childTnLst>
                                    <p:animEffect transition="out" filter="fade">
                                      <p:cBhvr>
                                        <p:cTn id="60" dur="500"/>
                                        <p:tgtEl>
                                          <p:spTgt spid="833"/>
                                        </p:tgtEl>
                                      </p:cBhvr>
                                    </p:animEffect>
                                    <p:set>
                                      <p:cBhvr>
                                        <p:cTn id="61" dur="1" fill="hold">
                                          <p:stCondLst>
                                            <p:cond delay="499"/>
                                          </p:stCondLst>
                                        </p:cTn>
                                        <p:tgtEl>
                                          <p:spTgt spid="833"/>
                                        </p:tgtEl>
                                        <p:attrNameLst>
                                          <p:attrName>style.visibility</p:attrName>
                                        </p:attrNameLst>
                                      </p:cBhvr>
                                      <p:to>
                                        <p:strVal val="hidden"/>
                                      </p:to>
                                    </p:set>
                                  </p:childTnLst>
                                </p:cTn>
                              </p:par>
                              <p:par>
                                <p:cTn id="62" presetID="10" presetClass="exit" presetSubtype="0" fill="hold" grpId="0" nodeType="withEffect">
                                  <p:stCondLst>
                                    <p:cond delay="0"/>
                                  </p:stCondLst>
                                  <p:childTnLst>
                                    <p:animEffect transition="out" filter="fade">
                                      <p:cBhvr>
                                        <p:cTn id="63" dur="500"/>
                                        <p:tgtEl>
                                          <p:spTgt spid="834"/>
                                        </p:tgtEl>
                                      </p:cBhvr>
                                    </p:animEffect>
                                    <p:set>
                                      <p:cBhvr>
                                        <p:cTn id="64" dur="1" fill="hold">
                                          <p:stCondLst>
                                            <p:cond delay="499"/>
                                          </p:stCondLst>
                                        </p:cTn>
                                        <p:tgtEl>
                                          <p:spTgt spid="834"/>
                                        </p:tgtEl>
                                        <p:attrNameLst>
                                          <p:attrName>style.visibility</p:attrName>
                                        </p:attrNameLst>
                                      </p:cBhvr>
                                      <p:to>
                                        <p:strVal val="hidden"/>
                                      </p:to>
                                    </p:set>
                                  </p:childTnLst>
                                </p:cTn>
                              </p:par>
                              <p:par>
                                <p:cTn id="65" presetID="10" presetClass="exit" presetSubtype="0" fill="hold" grpId="0" nodeType="withEffect">
                                  <p:stCondLst>
                                    <p:cond delay="0"/>
                                  </p:stCondLst>
                                  <p:childTnLst>
                                    <p:animEffect transition="out" filter="fade">
                                      <p:cBhvr>
                                        <p:cTn id="66" dur="500"/>
                                        <p:tgtEl>
                                          <p:spTgt spid="835"/>
                                        </p:tgtEl>
                                      </p:cBhvr>
                                    </p:animEffect>
                                    <p:set>
                                      <p:cBhvr>
                                        <p:cTn id="67" dur="1" fill="hold">
                                          <p:stCondLst>
                                            <p:cond delay="499"/>
                                          </p:stCondLst>
                                        </p:cTn>
                                        <p:tgtEl>
                                          <p:spTgt spid="835"/>
                                        </p:tgtEl>
                                        <p:attrNameLst>
                                          <p:attrName>style.visibility</p:attrName>
                                        </p:attrNameLst>
                                      </p:cBhvr>
                                      <p:to>
                                        <p:strVal val="hidden"/>
                                      </p:to>
                                    </p:set>
                                  </p:childTnLst>
                                </p:cTn>
                              </p:par>
                              <p:par>
                                <p:cTn id="68" presetID="10" presetClass="exit" presetSubtype="0" fill="hold" grpId="0" nodeType="withEffect">
                                  <p:stCondLst>
                                    <p:cond delay="0"/>
                                  </p:stCondLst>
                                  <p:childTnLst>
                                    <p:animEffect transition="out" filter="fade">
                                      <p:cBhvr>
                                        <p:cTn id="69" dur="500"/>
                                        <p:tgtEl>
                                          <p:spTgt spid="836"/>
                                        </p:tgtEl>
                                      </p:cBhvr>
                                    </p:animEffect>
                                    <p:set>
                                      <p:cBhvr>
                                        <p:cTn id="70" dur="1" fill="hold">
                                          <p:stCondLst>
                                            <p:cond delay="499"/>
                                          </p:stCondLst>
                                        </p:cTn>
                                        <p:tgtEl>
                                          <p:spTgt spid="836"/>
                                        </p:tgtEl>
                                        <p:attrNameLst>
                                          <p:attrName>style.visibility</p:attrName>
                                        </p:attrNameLst>
                                      </p:cBhvr>
                                      <p:to>
                                        <p:strVal val="hidden"/>
                                      </p:to>
                                    </p:set>
                                  </p:childTnLst>
                                </p:cTn>
                              </p:par>
                              <p:par>
                                <p:cTn id="71" presetID="10" presetClass="exit" presetSubtype="0" fill="hold" grpId="0" nodeType="withEffect">
                                  <p:stCondLst>
                                    <p:cond delay="0"/>
                                  </p:stCondLst>
                                  <p:childTnLst>
                                    <p:animEffect transition="out" filter="fade">
                                      <p:cBhvr>
                                        <p:cTn id="72" dur="500"/>
                                        <p:tgtEl>
                                          <p:spTgt spid="837"/>
                                        </p:tgtEl>
                                      </p:cBhvr>
                                    </p:animEffect>
                                    <p:set>
                                      <p:cBhvr>
                                        <p:cTn id="73" dur="1" fill="hold">
                                          <p:stCondLst>
                                            <p:cond delay="499"/>
                                          </p:stCondLst>
                                        </p:cTn>
                                        <p:tgtEl>
                                          <p:spTgt spid="837"/>
                                        </p:tgtEl>
                                        <p:attrNameLst>
                                          <p:attrName>style.visibility</p:attrName>
                                        </p:attrNameLst>
                                      </p:cBhvr>
                                      <p:to>
                                        <p:strVal val="hidden"/>
                                      </p:to>
                                    </p:set>
                                  </p:childTnLst>
                                </p:cTn>
                              </p:par>
                              <p:par>
                                <p:cTn id="74" presetID="10" presetClass="exit" presetSubtype="0" fill="hold" grpId="0" nodeType="withEffect">
                                  <p:stCondLst>
                                    <p:cond delay="0"/>
                                  </p:stCondLst>
                                  <p:childTnLst>
                                    <p:animEffect transition="out" filter="fade">
                                      <p:cBhvr>
                                        <p:cTn id="75" dur="500"/>
                                        <p:tgtEl>
                                          <p:spTgt spid="838"/>
                                        </p:tgtEl>
                                      </p:cBhvr>
                                    </p:animEffect>
                                    <p:set>
                                      <p:cBhvr>
                                        <p:cTn id="76" dur="1" fill="hold">
                                          <p:stCondLst>
                                            <p:cond delay="499"/>
                                          </p:stCondLst>
                                        </p:cTn>
                                        <p:tgtEl>
                                          <p:spTgt spid="838"/>
                                        </p:tgtEl>
                                        <p:attrNameLst>
                                          <p:attrName>style.visibility</p:attrName>
                                        </p:attrNameLst>
                                      </p:cBhvr>
                                      <p:to>
                                        <p:strVal val="hidden"/>
                                      </p:to>
                                    </p:set>
                                  </p:childTnLst>
                                </p:cTn>
                              </p:par>
                            </p:childTnLst>
                          </p:cTn>
                        </p:par>
                        <p:par>
                          <p:cTn id="77" fill="hold">
                            <p:stCondLst>
                              <p:cond delay="500"/>
                            </p:stCondLst>
                            <p:childTnLst>
                              <p:par>
                                <p:cTn id="78" presetID="22" presetClass="entr" presetSubtype="1" fill="hold" grpId="0" nodeType="afterEffect">
                                  <p:stCondLst>
                                    <p:cond delay="0"/>
                                  </p:stCondLst>
                                  <p:childTnLst>
                                    <p:set>
                                      <p:cBhvr>
                                        <p:cTn id="79" dur="1" fill="hold">
                                          <p:stCondLst>
                                            <p:cond delay="0"/>
                                          </p:stCondLst>
                                        </p:cTn>
                                        <p:tgtEl>
                                          <p:spTgt spid="351"/>
                                        </p:tgtEl>
                                        <p:attrNameLst>
                                          <p:attrName>style.visibility</p:attrName>
                                        </p:attrNameLst>
                                      </p:cBhvr>
                                      <p:to>
                                        <p:strVal val="visible"/>
                                      </p:to>
                                    </p:set>
                                    <p:animEffect transition="in" filter="wipe(up)">
                                      <p:cBhvr>
                                        <p:cTn id="80" dur="500"/>
                                        <p:tgtEl>
                                          <p:spTgt spid="351"/>
                                        </p:tgtEl>
                                      </p:cBhvr>
                                    </p:animEffect>
                                  </p:childTnLst>
                                </p:cTn>
                              </p:par>
                              <p:par>
                                <p:cTn id="81" presetID="10" presetClass="exit" presetSubtype="0" fill="hold" grpId="0" nodeType="withEffect">
                                  <p:stCondLst>
                                    <p:cond delay="0"/>
                                  </p:stCondLst>
                                  <p:childTnLst>
                                    <p:animEffect transition="out" filter="fade">
                                      <p:cBhvr>
                                        <p:cTn id="82" dur="500"/>
                                        <p:tgtEl>
                                          <p:spTgt spid="815"/>
                                        </p:tgtEl>
                                      </p:cBhvr>
                                    </p:animEffect>
                                    <p:set>
                                      <p:cBhvr>
                                        <p:cTn id="83" dur="1" fill="hold">
                                          <p:stCondLst>
                                            <p:cond delay="499"/>
                                          </p:stCondLst>
                                        </p:cTn>
                                        <p:tgtEl>
                                          <p:spTgt spid="815"/>
                                        </p:tgtEl>
                                        <p:attrNameLst>
                                          <p:attrName>style.visibility</p:attrName>
                                        </p:attrNameLst>
                                      </p:cBhvr>
                                      <p:to>
                                        <p:strVal val="hidden"/>
                                      </p:to>
                                    </p:se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352"/>
                                        </p:tgtEl>
                                        <p:attrNameLst>
                                          <p:attrName>style.visibility</p:attrName>
                                        </p:attrNameLst>
                                      </p:cBhvr>
                                      <p:to>
                                        <p:strVal val="visible"/>
                                      </p:to>
                                    </p:set>
                                    <p:animEffect transition="in" filter="fade">
                                      <p:cBhvr>
                                        <p:cTn id="87" dur="500"/>
                                        <p:tgtEl>
                                          <p:spTgt spid="352"/>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53"/>
                                        </p:tgtEl>
                                        <p:attrNameLst>
                                          <p:attrName>style.visibility</p:attrName>
                                        </p:attrNameLst>
                                      </p:cBhvr>
                                      <p:to>
                                        <p:strVal val="visible"/>
                                      </p:to>
                                    </p:set>
                                    <p:animEffect transition="in" filter="fade">
                                      <p:cBhvr>
                                        <p:cTn id="90" dur="500"/>
                                        <p:tgtEl>
                                          <p:spTgt spid="353"/>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54"/>
                                        </p:tgtEl>
                                        <p:attrNameLst>
                                          <p:attrName>style.visibility</p:attrName>
                                        </p:attrNameLst>
                                      </p:cBhvr>
                                      <p:to>
                                        <p:strVal val="visible"/>
                                      </p:to>
                                    </p:set>
                                    <p:animEffect transition="in" filter="fade">
                                      <p:cBhvr>
                                        <p:cTn id="93" dur="500"/>
                                        <p:tgtEl>
                                          <p:spTgt spid="354"/>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55"/>
                                        </p:tgtEl>
                                        <p:attrNameLst>
                                          <p:attrName>style.visibility</p:attrName>
                                        </p:attrNameLst>
                                      </p:cBhvr>
                                      <p:to>
                                        <p:strVal val="visible"/>
                                      </p:to>
                                    </p:set>
                                    <p:animEffect transition="in" filter="fade">
                                      <p:cBhvr>
                                        <p:cTn id="96" dur="500"/>
                                        <p:tgtEl>
                                          <p:spTgt spid="35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59"/>
                                        </p:tgtEl>
                                        <p:attrNameLst>
                                          <p:attrName>style.visibility</p:attrName>
                                        </p:attrNameLst>
                                      </p:cBhvr>
                                      <p:to>
                                        <p:strVal val="visible"/>
                                      </p:to>
                                    </p:set>
                                    <p:animEffect transition="in" filter="fade">
                                      <p:cBhvr>
                                        <p:cTn id="99" dur="500"/>
                                        <p:tgtEl>
                                          <p:spTgt spid="359"/>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681"/>
                                        </p:tgtEl>
                                        <p:attrNameLst>
                                          <p:attrName>style.visibility</p:attrName>
                                        </p:attrNameLst>
                                      </p:cBhvr>
                                      <p:to>
                                        <p:strVal val="visible"/>
                                      </p:to>
                                    </p:set>
                                    <p:animEffect transition="in" filter="fade">
                                      <p:cBhvr>
                                        <p:cTn id="102" dur="500"/>
                                        <p:tgtEl>
                                          <p:spTgt spid="68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683"/>
                                        </p:tgtEl>
                                        <p:attrNameLst>
                                          <p:attrName>style.visibility</p:attrName>
                                        </p:attrNameLst>
                                      </p:cBhvr>
                                      <p:to>
                                        <p:strVal val="visible"/>
                                      </p:to>
                                    </p:set>
                                    <p:animEffect transition="in" filter="fade">
                                      <p:cBhvr>
                                        <p:cTn id="105" dur="500"/>
                                        <p:tgtEl>
                                          <p:spTgt spid="683"/>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707"/>
                                        </p:tgtEl>
                                        <p:attrNameLst>
                                          <p:attrName>style.visibility</p:attrName>
                                        </p:attrNameLst>
                                      </p:cBhvr>
                                      <p:to>
                                        <p:strVal val="visible"/>
                                      </p:to>
                                    </p:set>
                                    <p:animEffect transition="in" filter="fade">
                                      <p:cBhvr>
                                        <p:cTn id="108" dur="500"/>
                                        <p:tgtEl>
                                          <p:spTgt spid="707"/>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708"/>
                                        </p:tgtEl>
                                        <p:attrNameLst>
                                          <p:attrName>style.visibility</p:attrName>
                                        </p:attrNameLst>
                                      </p:cBhvr>
                                      <p:to>
                                        <p:strVal val="visible"/>
                                      </p:to>
                                    </p:set>
                                    <p:animEffect transition="in" filter="fade">
                                      <p:cBhvr>
                                        <p:cTn id="111" dur="500"/>
                                        <p:tgtEl>
                                          <p:spTgt spid="708"/>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682"/>
                                        </p:tgtEl>
                                        <p:attrNameLst>
                                          <p:attrName>style.visibility</p:attrName>
                                        </p:attrNameLst>
                                      </p:cBhvr>
                                      <p:to>
                                        <p:strVal val="visible"/>
                                      </p:to>
                                    </p:set>
                                    <p:animEffect transition="in" filter="fade">
                                      <p:cBhvr>
                                        <p:cTn id="114" dur="500"/>
                                        <p:tgtEl>
                                          <p:spTgt spid="682"/>
                                        </p:tgtEl>
                                      </p:cBhvr>
                                    </p:animEffect>
                                  </p:childTnLst>
                                </p:cTn>
                              </p:par>
                              <p:par>
                                <p:cTn id="115" presetID="10" presetClass="entr" presetSubtype="0" fill="hold" nodeType="withEffect">
                                  <p:stCondLst>
                                    <p:cond delay="0"/>
                                  </p:stCondLst>
                                  <p:childTnLst>
                                    <p:set>
                                      <p:cBhvr>
                                        <p:cTn id="116" dur="1" fill="hold">
                                          <p:stCondLst>
                                            <p:cond delay="0"/>
                                          </p:stCondLst>
                                        </p:cTn>
                                        <p:tgtEl>
                                          <p:spTgt spid="710"/>
                                        </p:tgtEl>
                                        <p:attrNameLst>
                                          <p:attrName>style.visibility</p:attrName>
                                        </p:attrNameLst>
                                      </p:cBhvr>
                                      <p:to>
                                        <p:strVal val="visible"/>
                                      </p:to>
                                    </p:set>
                                    <p:animEffect transition="in" filter="fade">
                                      <p:cBhvr>
                                        <p:cTn id="117" dur="500"/>
                                        <p:tgtEl>
                                          <p:spTgt spid="710"/>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721"/>
                                        </p:tgtEl>
                                        <p:attrNameLst>
                                          <p:attrName>style.visibility</p:attrName>
                                        </p:attrNameLst>
                                      </p:cBhvr>
                                      <p:to>
                                        <p:strVal val="visible"/>
                                      </p:to>
                                    </p:set>
                                    <p:animEffect transition="in" filter="fade">
                                      <p:cBhvr>
                                        <p:cTn id="120" dur="500"/>
                                        <p:tgtEl>
                                          <p:spTgt spid="721"/>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722"/>
                                        </p:tgtEl>
                                        <p:attrNameLst>
                                          <p:attrName>style.visibility</p:attrName>
                                        </p:attrNameLst>
                                      </p:cBhvr>
                                      <p:to>
                                        <p:strVal val="visible"/>
                                      </p:to>
                                    </p:set>
                                    <p:animEffect transition="in" filter="fade">
                                      <p:cBhvr>
                                        <p:cTn id="123" dur="500"/>
                                        <p:tgtEl>
                                          <p:spTgt spid="722"/>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723"/>
                                        </p:tgtEl>
                                        <p:attrNameLst>
                                          <p:attrName>style.visibility</p:attrName>
                                        </p:attrNameLst>
                                      </p:cBhvr>
                                      <p:to>
                                        <p:strVal val="visible"/>
                                      </p:to>
                                    </p:set>
                                    <p:animEffect transition="in" filter="fade">
                                      <p:cBhvr>
                                        <p:cTn id="126" dur="500"/>
                                        <p:tgtEl>
                                          <p:spTgt spid="723"/>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724"/>
                                        </p:tgtEl>
                                        <p:attrNameLst>
                                          <p:attrName>style.visibility</p:attrName>
                                        </p:attrNameLst>
                                      </p:cBhvr>
                                      <p:to>
                                        <p:strVal val="visible"/>
                                      </p:to>
                                    </p:set>
                                    <p:animEffect transition="in" filter="fade">
                                      <p:cBhvr>
                                        <p:cTn id="129" dur="500"/>
                                        <p:tgtEl>
                                          <p:spTgt spid="724"/>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725"/>
                                        </p:tgtEl>
                                        <p:attrNameLst>
                                          <p:attrName>style.visibility</p:attrName>
                                        </p:attrNameLst>
                                      </p:cBhvr>
                                      <p:to>
                                        <p:strVal val="visible"/>
                                      </p:to>
                                    </p:set>
                                    <p:animEffect transition="in" filter="fade">
                                      <p:cBhvr>
                                        <p:cTn id="132" dur="500"/>
                                        <p:tgtEl>
                                          <p:spTgt spid="7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animBg="1"/>
      <p:bldP spid="352" grpId="0" animBg="1"/>
      <p:bldP spid="353" grpId="0" animBg="1"/>
      <p:bldP spid="354" grpId="0" animBg="1"/>
      <p:bldP spid="355" grpId="0" animBg="1"/>
      <p:bldP spid="359" grpId="0" animBg="1"/>
      <p:bldP spid="681" grpId="0" animBg="1"/>
      <p:bldP spid="683" grpId="0" animBg="1"/>
      <p:bldP spid="707" grpId="0" animBg="1"/>
      <p:bldP spid="708" grpId="0" animBg="1"/>
      <p:bldP spid="721" grpId="0" animBg="1"/>
      <p:bldP spid="722" grpId="0" animBg="1"/>
      <p:bldP spid="723" grpId="0" animBg="1"/>
      <p:bldP spid="724" grpId="0" animBg="1"/>
      <p:bldP spid="725" grpId="0" animBg="1"/>
      <p:bldP spid="801" grpId="0" animBg="1"/>
      <p:bldP spid="802" grpId="0" animBg="1"/>
      <p:bldP spid="803" grpId="0" animBg="1"/>
      <p:bldP spid="814" grpId="0" animBg="1"/>
      <p:bldP spid="815" grpId="0"/>
      <p:bldP spid="822" grpId="0"/>
      <p:bldP spid="823" grpId="0"/>
      <p:bldP spid="824" grpId="0"/>
      <p:bldP spid="825" grpId="0"/>
      <p:bldP spid="826" grpId="0"/>
      <p:bldP spid="827" grpId="0"/>
      <p:bldP spid="828" grpId="0"/>
      <p:bldP spid="829" grpId="0"/>
      <p:bldP spid="830" grpId="0"/>
      <p:bldP spid="831" grpId="0"/>
      <p:bldP spid="832" grpId="0"/>
      <p:bldP spid="833" grpId="0"/>
      <p:bldP spid="834" grpId="0"/>
      <p:bldP spid="835" grpId="0"/>
      <p:bldP spid="836" grpId="0"/>
      <p:bldP spid="837" grpId="0"/>
      <p:bldP spid="838" grpId="0"/>
      <p:bldP spid="682" grpId="0" animBg="1"/>
    </p:bldLst>
  </p:timing>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2"/>
          <p:cNvSpPr>
            <a:spLocks noGrp="1"/>
          </p:cNvSpPr>
          <p:nvPr>
            <p:ph type="title"/>
          </p:nvPr>
        </p:nvSpPr>
        <p:spPr/>
        <p:txBody>
          <a:bodyPr/>
          <a:lstStyle/>
          <a:p>
            <a:r>
              <a:rPr lang="en-US"/>
              <a:t>Service Fabric Microservices</a:t>
            </a:r>
          </a:p>
        </p:txBody>
      </p:sp>
      <p:sp>
        <p:nvSpPr>
          <p:cNvPr id="5" name="Text Placeholder 1"/>
          <p:cNvSpPr>
            <a:spLocks noGrp="1"/>
          </p:cNvSpPr>
          <p:nvPr>
            <p:ph type="body" sz="quarter" idx="1"/>
          </p:nvPr>
        </p:nvSpPr>
        <p:spPr>
          <a:xfrm>
            <a:off x="204036" y="1600460"/>
            <a:ext cx="11377586" cy="4696004"/>
          </a:xfrm>
        </p:spPr>
        <p:txBody>
          <a:bodyPr/>
          <a:lstStyle/>
          <a:p>
            <a:r>
              <a:rPr lang="en-US">
                <a:latin typeface="+mn-lt"/>
              </a:rPr>
              <a:t>A microservice is whatever you want it to be:</a:t>
            </a:r>
          </a:p>
          <a:p>
            <a:pPr lvl="1"/>
            <a:r>
              <a:rPr lang="en-US"/>
              <a:t>ASP.NET, node.js, Java VMs, an arbitrary .exe</a:t>
            </a:r>
          </a:p>
          <a:p>
            <a:r>
              <a:rPr lang="en-US">
                <a:latin typeface="+mn-lt"/>
              </a:rPr>
              <a:t>Stateless microservices</a:t>
            </a:r>
          </a:p>
          <a:p>
            <a:pPr lvl="1"/>
            <a:r>
              <a:rPr lang="en-US"/>
              <a:t>A microservice that has state where the state is persisted to external storage, such as Azure databases or Azure storage</a:t>
            </a:r>
          </a:p>
          <a:p>
            <a:r>
              <a:rPr lang="en-US">
                <a:latin typeface="+mn-lt"/>
              </a:rPr>
              <a:t>Stateful microservices</a:t>
            </a:r>
          </a:p>
          <a:p>
            <a:pPr lvl="1"/>
            <a:r>
              <a:rPr lang="en-US"/>
              <a:t>Reliability of state through replication and local persistence</a:t>
            </a:r>
          </a:p>
          <a:p>
            <a:pPr lvl="1"/>
            <a:r>
              <a:rPr lang="en-US"/>
              <a:t>Reduces the complexity and number of components in traditional three-tier architecture </a:t>
            </a:r>
          </a:p>
        </p:txBody>
      </p:sp>
    </p:spTree>
    <p:extLst>
      <p:ext uri="{BB962C8B-B14F-4D97-AF65-F5344CB8AC3E}">
        <p14:creationId xmlns:p14="http://schemas.microsoft.com/office/powerpoint/2010/main" val="683321066"/>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72" name="TextBox 71"/>
          <p:cNvSpPr txBox="1"/>
          <p:nvPr/>
        </p:nvSpPr>
        <p:spPr>
          <a:xfrm>
            <a:off x="806757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solidFill>
                  <a:srgbClr val="FFFFFF"/>
                </a:solidFill>
              </a:rPr>
              <a:t>High productivity development</a:t>
            </a:r>
          </a:p>
        </p:txBody>
      </p:sp>
      <p:sp>
        <p:nvSpPr>
          <p:cNvPr id="3" name="Title 2"/>
          <p:cNvSpPr>
            <a:spLocks noGrp="1"/>
          </p:cNvSpPr>
          <p:nvPr>
            <p:ph type="title"/>
          </p:nvPr>
        </p:nvSpPr>
        <p:spPr>
          <a:xfrm>
            <a:off x="1288109" y="322022"/>
            <a:ext cx="10745396" cy="899409"/>
          </a:xfrm>
        </p:spPr>
        <p:txBody>
          <a:bodyPr/>
          <a:lstStyle/>
          <a:p>
            <a:r>
              <a:rPr lang="en-US" dirty="0"/>
              <a:t>Azure Service Fabric</a:t>
            </a:r>
          </a:p>
        </p:txBody>
      </p:sp>
      <p:sp>
        <p:nvSpPr>
          <p:cNvPr id="70" name="TextBox 69"/>
          <p:cNvSpPr txBox="1"/>
          <p:nvPr/>
        </p:nvSpPr>
        <p:spPr>
          <a:xfrm>
            <a:off x="27089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Hyperscale Microservices</a:t>
            </a:r>
          </a:p>
          <a:p>
            <a:pPr defTabSz="895126">
              <a:tabLst>
                <a:tab pos="877493" algn="l"/>
              </a:tabLst>
            </a:pPr>
            <a:r>
              <a:rPr lang="en-US"/>
              <a:t>platform</a:t>
            </a:r>
          </a:p>
        </p:txBody>
      </p:sp>
      <p:sp>
        <p:nvSpPr>
          <p:cNvPr id="71" name="TextBox 70"/>
          <p:cNvSpPr txBox="1"/>
          <p:nvPr/>
        </p:nvSpPr>
        <p:spPr>
          <a:xfrm>
            <a:off x="4169236" y="1586859"/>
            <a:ext cx="3853535" cy="4804156"/>
          </a:xfrm>
          <a:prstGeom prst="rect">
            <a:avLst/>
          </a:prstGeom>
          <a:solidFill>
            <a:schemeClr val="accent1"/>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Managed platform</a:t>
            </a:r>
          </a:p>
        </p:txBody>
      </p:sp>
      <p:grpSp>
        <p:nvGrpSpPr>
          <p:cNvPr id="33" name="Group 32"/>
          <p:cNvGrpSpPr/>
          <p:nvPr/>
        </p:nvGrpSpPr>
        <p:grpSpPr>
          <a:xfrm>
            <a:off x="4261089" y="2706729"/>
            <a:ext cx="1740262" cy="1200265"/>
            <a:chOff x="4346001" y="2760400"/>
            <a:chExt cx="1775661" cy="122450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19" name="TextBox 118"/>
            <p:cNvSpPr txBox="1"/>
            <p:nvPr/>
          </p:nvSpPr>
          <p:spPr>
            <a:xfrm>
              <a:off x="4346001" y="3497262"/>
              <a:ext cx="1775661"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Built-in auto scale</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187172" y="2623865"/>
            <a:ext cx="1738660" cy="1283126"/>
            <a:chOff x="6311261" y="2675866"/>
            <a:chExt cx="1774027" cy="130904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22" name="TextBox 121"/>
            <p:cNvSpPr txBox="1"/>
            <p:nvPr/>
          </p:nvSpPr>
          <p:spPr>
            <a:xfrm>
              <a:off x="6311261" y="3497262"/>
              <a:ext cx="1774027"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 availability</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117810" y="2626201"/>
            <a:ext cx="2169746" cy="1474609"/>
            <a:chOff x="8281151" y="2678247"/>
            <a:chExt cx="2213875" cy="1504391"/>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31" name="TextBox 130"/>
            <p:cNvSpPr txBox="1"/>
            <p:nvPr/>
          </p:nvSpPr>
          <p:spPr>
            <a:xfrm>
              <a:off x="8281151" y="3497337"/>
              <a:ext cx="2213875" cy="685301"/>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a:t>
              </a:r>
            </a:p>
            <a:p>
              <a:pPr algn="ctr" defTabSz="895152">
                <a:lnSpc>
                  <a:spcPct val="90000"/>
                </a:lnSpc>
                <a:defRPr/>
              </a:pPr>
              <a:r>
                <a:rPr lang="en-US" sz="1400" kern="0">
                  <a:gradFill>
                    <a:gsLst>
                      <a:gs pos="0">
                        <a:srgbClr val="FFFFFF"/>
                      </a:gs>
                      <a:gs pos="100000">
                        <a:srgbClr val="FFFFFF"/>
                      </a:gs>
                    </a:gsLst>
                    <a:lin ang="5400000" scaled="1"/>
                  </a:gradFill>
                  <a:latin typeface="Segoe UI"/>
                </a:rPr>
                <a:t>Programming models for</a:t>
              </a:r>
            </a:p>
            <a:p>
              <a:pPr algn="ctr" defTabSz="895152">
                <a:lnSpc>
                  <a:spcPct val="90000"/>
                </a:lnSpc>
                <a:defRPr/>
              </a:pPr>
              <a:r>
                <a:rPr lang="en-US" sz="1400" kern="0">
                  <a:gradFill>
                    <a:gsLst>
                      <a:gs pos="0">
                        <a:srgbClr val="FFFFFF"/>
                      </a:gs>
                      <a:gs pos="100000">
                        <a:srgbClr val="FFFFFF"/>
                      </a:gs>
                    </a:gsLst>
                    <a:lin ang="5400000" scaled="1"/>
                  </a:gradFill>
                  <a:latin typeface="Segoe UI"/>
                </a:rPr>
                <a:t>.NET, Java</a:t>
              </a:r>
            </a:p>
          </p:txBody>
        </p:sp>
      </p:grpSp>
      <p:sp>
        <p:nvSpPr>
          <p:cNvPr id="134" name="TextBox 133"/>
          <p:cNvSpPr txBox="1"/>
          <p:nvPr/>
        </p:nvSpPr>
        <p:spPr>
          <a:xfrm>
            <a:off x="10324872" y="3429002"/>
            <a:ext cx="1245077"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tateful</a:t>
            </a:r>
          </a:p>
          <a:p>
            <a:pPr algn="ctr" defTabSz="895152">
              <a:lnSpc>
                <a:spcPct val="90000"/>
              </a:lnSpc>
              <a:defRPr/>
            </a:pPr>
            <a:r>
              <a:rPr lang="en-US" sz="1400" kern="0">
                <a:gradFill>
                  <a:gsLst>
                    <a:gs pos="0">
                      <a:srgbClr val="FFFFFF"/>
                    </a:gs>
                    <a:gs pos="100000">
                      <a:srgbClr val="FFFFFF"/>
                    </a:gs>
                  </a:gsLst>
                  <a:lin ang="5400000" scaled="1"/>
                </a:gradFill>
                <a:latin typeface="Segoe UI"/>
              </a:rPr>
              <a:t>microservices</a:t>
            </a:r>
          </a:p>
        </p:txBody>
      </p:sp>
      <p:pic>
        <p:nvPicPr>
          <p:cNvPr id="58" name="Picture 57"/>
          <p:cNvPicPr>
            <a:picLocks noChangeAspect="1"/>
          </p:cNvPicPr>
          <p:nvPr/>
        </p:nvPicPr>
        <p:blipFill>
          <a:blip r:embed="rId3"/>
          <a:stretch>
            <a:fillRect/>
          </a:stretch>
        </p:blipFill>
        <p:spPr>
          <a:xfrm>
            <a:off x="270896" y="2152298"/>
            <a:ext cx="1747082" cy="1747330"/>
          </a:xfrm>
          <a:prstGeom prst="rect">
            <a:avLst/>
          </a:prstGeom>
        </p:spPr>
      </p:pic>
      <p:sp>
        <p:nvSpPr>
          <p:cNvPr id="59" name="TextBox 58"/>
          <p:cNvSpPr txBox="1"/>
          <p:nvPr/>
        </p:nvSpPr>
        <p:spPr>
          <a:xfrm>
            <a:off x="461920" y="3664313"/>
            <a:ext cx="13652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ly scalable</a:t>
            </a:r>
          </a:p>
        </p:txBody>
      </p:sp>
      <p:pic>
        <p:nvPicPr>
          <p:cNvPr id="60" name="Picture 59"/>
          <p:cNvPicPr>
            <a:picLocks noChangeAspect="1"/>
          </p:cNvPicPr>
          <p:nvPr/>
        </p:nvPicPr>
        <p:blipFill>
          <a:blip r:embed="rId4"/>
          <a:stretch>
            <a:fillRect/>
          </a:stretch>
        </p:blipFill>
        <p:spPr>
          <a:xfrm>
            <a:off x="2580702" y="2464000"/>
            <a:ext cx="1192608" cy="1192777"/>
          </a:xfrm>
          <a:prstGeom prst="rect">
            <a:avLst/>
          </a:prstGeom>
        </p:spPr>
      </p:pic>
      <p:sp>
        <p:nvSpPr>
          <p:cNvPr id="61" name="TextBox 60"/>
          <p:cNvSpPr txBox="1"/>
          <p:nvPr/>
        </p:nvSpPr>
        <p:spPr>
          <a:xfrm>
            <a:off x="2372476" y="3664313"/>
            <a:ext cx="15543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24 X 7 availability</a:t>
            </a:r>
          </a:p>
        </p:txBody>
      </p:sp>
      <p:pic>
        <p:nvPicPr>
          <p:cNvPr id="80" name="Picture 4" descr="http://devopscube.com/wp-content/uploads/2015/01/SWARM.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470909" y="4379425"/>
            <a:ext cx="1293780" cy="1077433"/>
          </a:xfrm>
          <a:prstGeom prst="rect">
            <a:avLst/>
          </a:prstGeom>
          <a:solidFill>
            <a:schemeClr val="tx2"/>
          </a:solidFill>
          <a:extLst/>
        </p:spPr>
      </p:pic>
      <p:sp>
        <p:nvSpPr>
          <p:cNvPr id="81" name="TextBox 80"/>
          <p:cNvSpPr txBox="1"/>
          <p:nvPr/>
        </p:nvSpPr>
        <p:spPr>
          <a:xfrm>
            <a:off x="231331" y="5656129"/>
            <a:ext cx="1719431" cy="671734"/>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Windows and Linux</a:t>
            </a:r>
          </a:p>
          <a:p>
            <a:pPr algn="ctr" defTabSz="895152">
              <a:lnSpc>
                <a:spcPct val="90000"/>
              </a:lnSpc>
              <a:defRPr/>
            </a:pPr>
            <a:r>
              <a:rPr lang="en-US" sz="1400" kern="0">
                <a:gradFill>
                  <a:gsLst>
                    <a:gs pos="0">
                      <a:srgbClr val="FFFFFF"/>
                    </a:gs>
                    <a:gs pos="100000">
                      <a:srgbClr val="FFFFFF"/>
                    </a:gs>
                  </a:gsLst>
                  <a:lin ang="5400000" scaled="1"/>
                </a:gradFill>
                <a:latin typeface="Segoe UI"/>
              </a:rPr>
              <a:t>Container </a:t>
            </a:r>
          </a:p>
          <a:p>
            <a:pPr algn="ctr" defTabSz="895152">
              <a:lnSpc>
                <a:spcPct val="90000"/>
              </a:lnSpc>
              <a:defRPr/>
            </a:pPr>
            <a:r>
              <a:rPr lang="en-US" sz="1400" kern="0">
                <a:gradFill>
                  <a:gsLst>
                    <a:gs pos="0">
                      <a:srgbClr val="FFFFFF"/>
                    </a:gs>
                    <a:gs pos="100000">
                      <a:srgbClr val="FFFFFF"/>
                    </a:gs>
                  </a:gsLst>
                  <a:lin ang="5400000" scaled="1"/>
                </a:gradFill>
                <a:latin typeface="Segoe UI"/>
              </a:rPr>
              <a:t>Orchestration</a:t>
            </a:r>
          </a:p>
        </p:txBody>
      </p:sp>
      <p:pic>
        <p:nvPicPr>
          <p:cNvPr id="82" name="Picture 81"/>
          <p:cNvPicPr>
            <a:picLocks noChangeAspect="1"/>
          </p:cNvPicPr>
          <p:nvPr/>
        </p:nvPicPr>
        <p:blipFill>
          <a:blip r:embed="rId6"/>
          <a:stretch>
            <a:fillRect/>
          </a:stretch>
        </p:blipFill>
        <p:spPr>
          <a:xfrm>
            <a:off x="2178929" y="3938947"/>
            <a:ext cx="1945496" cy="1945772"/>
          </a:xfrm>
          <a:prstGeom prst="rect">
            <a:avLst/>
          </a:prstGeom>
        </p:spPr>
      </p:pic>
      <p:sp>
        <p:nvSpPr>
          <p:cNvPr id="83" name="TextBox 82"/>
          <p:cNvSpPr txBox="1"/>
          <p:nvPr/>
        </p:nvSpPr>
        <p:spPr>
          <a:xfrm>
            <a:off x="2098800" y="5699187"/>
            <a:ext cx="1948595"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DevOps and </a:t>
            </a:r>
          </a:p>
          <a:p>
            <a:pPr algn="ctr" defTabSz="895152">
              <a:lnSpc>
                <a:spcPct val="90000"/>
              </a:lnSpc>
              <a:defRPr/>
            </a:pPr>
            <a:r>
              <a:rPr lang="en-US" sz="1400" kern="0">
                <a:gradFill>
                  <a:gsLst>
                    <a:gs pos="0">
                      <a:srgbClr val="FFFFFF"/>
                    </a:gs>
                    <a:gs pos="100000">
                      <a:srgbClr val="FFFFFF"/>
                    </a:gs>
                  </a:gsLst>
                  <a:lin ang="5400000" scaled="1"/>
                </a:gradFill>
                <a:latin typeface="Segoe UI"/>
              </a:rPr>
              <a:t>Lifecycle management</a:t>
            </a:r>
          </a:p>
        </p:txBody>
      </p:sp>
      <p:pic>
        <p:nvPicPr>
          <p:cNvPr id="84" name="Picture 83"/>
          <p:cNvPicPr>
            <a:picLocks noChangeAspect="1"/>
          </p:cNvPicPr>
          <p:nvPr/>
        </p:nvPicPr>
        <p:blipFill>
          <a:blip r:embed="rId7"/>
          <a:stretch>
            <a:fillRect/>
          </a:stretch>
        </p:blipFill>
        <p:spPr>
          <a:xfrm>
            <a:off x="6135589" y="4147348"/>
            <a:ext cx="1922211" cy="1282766"/>
          </a:xfrm>
          <a:prstGeom prst="rect">
            <a:avLst/>
          </a:prstGeom>
        </p:spPr>
      </p:pic>
      <p:sp>
        <p:nvSpPr>
          <p:cNvPr id="86" name="TextBox 85"/>
          <p:cNvSpPr txBox="1"/>
          <p:nvPr/>
        </p:nvSpPr>
        <p:spPr>
          <a:xfrm>
            <a:off x="6139569" y="5409294"/>
            <a:ext cx="1418151" cy="865478"/>
          </a:xfrm>
          <a:prstGeom prst="rect">
            <a:avLst/>
          </a:prstGeom>
          <a:noFill/>
        </p:spPr>
        <p:txBody>
          <a:bodyPr wrap="none" lIns="89595" tIns="44798" rIns="89595" bIns="44798"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152">
              <a:defRPr/>
            </a:pPr>
            <a:r>
              <a:rPr lang="en-US">
                <a:latin typeface="Segoe UI"/>
              </a:rPr>
              <a:t>Available on</a:t>
            </a:r>
          </a:p>
          <a:p>
            <a:pPr defTabSz="895152">
              <a:defRPr/>
            </a:pPr>
            <a:r>
              <a:rPr lang="en-US">
                <a:latin typeface="Segoe UI"/>
              </a:rPr>
              <a:t>Private cloud, </a:t>
            </a:r>
          </a:p>
          <a:p>
            <a:pPr defTabSz="895152">
              <a:defRPr/>
            </a:pPr>
            <a:r>
              <a:rPr lang="en-US">
                <a:latin typeface="Segoe UI"/>
              </a:rPr>
              <a:t>Public Cloud &amp; </a:t>
            </a:r>
          </a:p>
          <a:p>
            <a:pPr defTabSz="895152">
              <a:defRPr/>
            </a:pPr>
            <a:r>
              <a:rPr lang="en-US">
                <a:latin typeface="Segoe UI"/>
              </a:rPr>
              <a:t>Hosted Cloud</a:t>
            </a:r>
          </a:p>
        </p:txBody>
      </p:sp>
      <p:pic>
        <p:nvPicPr>
          <p:cNvPr id="87" name="Picture 86"/>
          <p:cNvPicPr>
            <a:picLocks noChangeAspect="1"/>
          </p:cNvPicPr>
          <p:nvPr/>
        </p:nvPicPr>
        <p:blipFill>
          <a:blip r:embed="rId8"/>
          <a:stretch>
            <a:fillRect/>
          </a:stretch>
        </p:blipFill>
        <p:spPr>
          <a:xfrm>
            <a:off x="4401464" y="4037676"/>
            <a:ext cx="1501892" cy="1502105"/>
          </a:xfrm>
          <a:prstGeom prst="rect">
            <a:avLst/>
          </a:prstGeom>
        </p:spPr>
      </p:pic>
      <p:sp>
        <p:nvSpPr>
          <p:cNvPr id="88" name="TextBox 87"/>
          <p:cNvSpPr txBox="1"/>
          <p:nvPr/>
        </p:nvSpPr>
        <p:spPr>
          <a:xfrm>
            <a:off x="4617211" y="5543107"/>
            <a:ext cx="1070398"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ealth &amp;</a:t>
            </a:r>
          </a:p>
          <a:p>
            <a:pPr algn="ctr" defTabSz="895152">
              <a:lnSpc>
                <a:spcPct val="90000"/>
              </a:lnSpc>
              <a:defRPr/>
            </a:pPr>
            <a:r>
              <a:rPr lang="en-US" sz="1400" kern="0">
                <a:gradFill>
                  <a:gsLst>
                    <a:gs pos="0">
                      <a:srgbClr val="FFFFFF"/>
                    </a:gs>
                    <a:gs pos="100000">
                      <a:srgbClr val="FFFFFF"/>
                    </a:gs>
                  </a:gsLst>
                  <a:lin ang="5400000" scaled="1"/>
                </a:gradFill>
                <a:latin typeface="Segoe UI"/>
              </a:rPr>
              <a:t>Monitoring</a:t>
            </a:r>
          </a:p>
        </p:txBody>
      </p:sp>
      <p:sp>
        <p:nvSpPr>
          <p:cNvPr id="89" name="Freeform 37"/>
          <p:cNvSpPr>
            <a:spLocks noChangeAspect="1" noEditPoints="1"/>
          </p:cNvSpPr>
          <p:nvPr/>
        </p:nvSpPr>
        <p:spPr bwMode="black">
          <a:xfrm>
            <a:off x="10947411" y="2877285"/>
            <a:ext cx="431677" cy="331533"/>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chemeClr val="bg1"/>
          </a:solidFill>
          <a:ln>
            <a:noFill/>
          </a:ln>
        </p:spPr>
        <p:txBody>
          <a:bodyPr vert="horz" wrap="square" lIns="91392" tIns="45697" rIns="91392" bIns="45697" numCol="1" anchor="t" anchorCtr="0" compatLnSpc="1">
            <a:prstTxWarp prst="textNoShape">
              <a:avLst/>
            </a:prstTxWarp>
          </a:bodyPr>
          <a:lstStyle/>
          <a:p>
            <a:pPr defTabSz="913877"/>
            <a:endParaRPr lang="en-US">
              <a:solidFill>
                <a:srgbClr val="FFFFFF"/>
              </a:solidFill>
              <a:latin typeface="Segoe UI"/>
            </a:endParaRPr>
          </a:p>
        </p:txBody>
      </p:sp>
      <p:sp>
        <p:nvSpPr>
          <p:cNvPr id="90" name="Freeform 89"/>
          <p:cNvSpPr>
            <a:spLocks noChangeAspect="1"/>
          </p:cNvSpPr>
          <p:nvPr/>
        </p:nvSpPr>
        <p:spPr bwMode="black">
          <a:xfrm>
            <a:off x="10560943" y="2860197"/>
            <a:ext cx="365656" cy="363131"/>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extBox 7"/>
          <p:cNvSpPr txBox="1"/>
          <p:nvPr/>
        </p:nvSpPr>
        <p:spPr>
          <a:xfrm>
            <a:off x="18200573" y="3286148"/>
            <a:ext cx="914141" cy="914270"/>
          </a:xfrm>
          <a:prstGeom prst="rect">
            <a:avLst/>
          </a:prstGeom>
          <a:noFill/>
        </p:spPr>
        <p:txBody>
          <a:bodyPr wrap="none" lIns="182785" tIns="146229" rIns="182785" bIns="146229" rtlCol="0">
            <a:noAutofit/>
          </a:bodyPr>
          <a:lstStyle/>
          <a:p>
            <a:pPr defTabSz="913877">
              <a:lnSpc>
                <a:spcPct val="90000"/>
              </a:lnSpc>
              <a:spcAft>
                <a:spcPts val="600"/>
              </a:spcAft>
            </a:pPr>
            <a:endParaRPr lang="en-US" sz="2400">
              <a:gradFill>
                <a:gsLst>
                  <a:gs pos="2917">
                    <a:srgbClr val="FFFFFF"/>
                  </a:gs>
                  <a:gs pos="30000">
                    <a:srgbClr val="FFFFFF"/>
                  </a:gs>
                </a:gsLst>
                <a:lin ang="5400000" scaled="0"/>
              </a:gradFill>
              <a:latin typeface="Segoe UI"/>
            </a:endParaRPr>
          </a:p>
        </p:txBody>
      </p:sp>
      <p:sp>
        <p:nvSpPr>
          <p:cNvPr id="91" name="Freeform 90"/>
          <p:cNvSpPr>
            <a:spLocks noChangeAspect="1"/>
          </p:cNvSpPr>
          <p:nvPr/>
        </p:nvSpPr>
        <p:spPr bwMode="black">
          <a:xfrm>
            <a:off x="8732612" y="4546994"/>
            <a:ext cx="821887" cy="79483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TextBox 91"/>
          <p:cNvSpPr txBox="1"/>
          <p:nvPr/>
        </p:nvSpPr>
        <p:spPr>
          <a:xfrm>
            <a:off x="8355957" y="5438074"/>
            <a:ext cx="1575201"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Learn easily using</a:t>
            </a:r>
          </a:p>
          <a:p>
            <a:pPr algn="ctr" defTabSz="895152">
              <a:lnSpc>
                <a:spcPct val="90000"/>
              </a:lnSpc>
              <a:defRPr/>
            </a:pPr>
            <a:r>
              <a:rPr lang="en-US" sz="1400" kern="0">
                <a:gradFill>
                  <a:gsLst>
                    <a:gs pos="0">
                      <a:srgbClr val="FFFFFF"/>
                    </a:gs>
                    <a:gs pos="100000">
                      <a:srgbClr val="FFFFFF"/>
                    </a:gs>
                  </a:gsLst>
                  <a:lin ang="5400000" scaled="1"/>
                </a:gradFill>
                <a:latin typeface="Segoe UI"/>
              </a:rPr>
              <a:t>Party clusters</a:t>
            </a:r>
          </a:p>
        </p:txBody>
      </p:sp>
      <p:sp>
        <p:nvSpPr>
          <p:cNvPr id="93" name="Freeform 114"/>
          <p:cNvSpPr>
            <a:spLocks noChangeAspect="1" noEditPoints="1"/>
          </p:cNvSpPr>
          <p:nvPr/>
        </p:nvSpPr>
        <p:spPr bwMode="black">
          <a:xfrm>
            <a:off x="10560946" y="4546996"/>
            <a:ext cx="715443" cy="715544"/>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TextBox 93"/>
          <p:cNvSpPr txBox="1"/>
          <p:nvPr/>
        </p:nvSpPr>
        <p:spPr>
          <a:xfrm>
            <a:off x="10060554" y="5456860"/>
            <a:ext cx="1716225" cy="865478"/>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 tooling with</a:t>
            </a:r>
          </a:p>
          <a:p>
            <a:pPr algn="ctr" defTabSz="895152">
              <a:lnSpc>
                <a:spcPct val="90000"/>
              </a:lnSpc>
              <a:defRPr/>
            </a:pPr>
            <a:r>
              <a:rPr lang="en-US" sz="1400" kern="0">
                <a:gradFill>
                  <a:gsLst>
                    <a:gs pos="0">
                      <a:srgbClr val="FFFFFF"/>
                    </a:gs>
                    <a:gs pos="100000">
                      <a:srgbClr val="FFFFFF"/>
                    </a:gs>
                  </a:gsLst>
                  <a:lin ang="5400000" scaled="1"/>
                </a:gradFill>
                <a:latin typeface="Segoe UI"/>
              </a:rPr>
              <a:t>Visual Studio,</a:t>
            </a:r>
          </a:p>
          <a:p>
            <a:pPr algn="ctr" defTabSz="895152">
              <a:lnSpc>
                <a:spcPct val="90000"/>
              </a:lnSpc>
              <a:defRPr/>
            </a:pPr>
            <a:r>
              <a:rPr lang="en-US" sz="1400" kern="0">
                <a:gradFill>
                  <a:gsLst>
                    <a:gs pos="0">
                      <a:srgbClr val="FFFFFF"/>
                    </a:gs>
                    <a:gs pos="100000">
                      <a:srgbClr val="FFFFFF"/>
                    </a:gs>
                  </a:gsLst>
                  <a:lin ang="5400000" scaled="1"/>
                </a:gradFill>
                <a:latin typeface="Segoe UI"/>
              </a:rPr>
              <a:t>Eclipse &amp;</a:t>
            </a:r>
          </a:p>
          <a:p>
            <a:pPr algn="ctr" defTabSz="895152">
              <a:lnSpc>
                <a:spcPct val="90000"/>
              </a:lnSpc>
              <a:defRPr/>
            </a:pPr>
            <a:r>
              <a:rPr lang="en-US" sz="1400" kern="0">
                <a:gradFill>
                  <a:gsLst>
                    <a:gs pos="0">
                      <a:srgbClr val="FFFFFF"/>
                    </a:gs>
                    <a:gs pos="100000">
                      <a:srgbClr val="FFFFFF"/>
                    </a:gs>
                  </a:gsLst>
                  <a:lin ang="5400000" scaled="1"/>
                </a:gradFill>
                <a:latin typeface="Segoe UI"/>
              </a:rPr>
              <a:t>Yeoman</a:t>
            </a:r>
          </a:p>
        </p:txBody>
      </p:sp>
      <p:pic>
        <p:nvPicPr>
          <p:cNvPr id="1026" name="Picture 2" descr="Image result for service fabric logo">
            <a:extLst>
              <a:ext uri="{FF2B5EF4-FFF2-40B4-BE49-F238E27FC236}">
                <a16:creationId xmlns:a16="http://schemas.microsoft.com/office/drawing/2014/main" id="{C5004D63-0BAF-4035-9321-E6E618A409C1}"/>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0068" r="21154"/>
          <a:stretch/>
        </p:blipFill>
        <p:spPr bwMode="auto">
          <a:xfrm>
            <a:off x="231329" y="253752"/>
            <a:ext cx="1026814" cy="917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3746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showMasterSp="0" show="0">
  <p:cSld>
    <p:bg>
      <p:bgPr>
        <a:solidFill>
          <a:schemeClr val="tx1"/>
        </a:solidFill>
        <a:effectLst/>
      </p:bgPr>
    </p:bg>
    <p:spTree>
      <p:nvGrpSpPr>
        <p:cNvPr id="1" name=""/>
        <p:cNvGrpSpPr/>
        <p:nvPr/>
      </p:nvGrpSpPr>
      <p:grpSpPr>
        <a:xfrm>
          <a:off x="0" y="0"/>
          <a:ext cx="0" cy="0"/>
          <a:chOff x="0" y="0"/>
          <a:chExt cx="0" cy="0"/>
        </a:xfrm>
      </p:grpSpPr>
      <p:sp>
        <p:nvSpPr>
          <p:cNvPr id="19" name="Content Placeholder 2"/>
          <p:cNvSpPr>
            <a:spLocks noGrp="1"/>
          </p:cNvSpPr>
          <p:nvPr>
            <p:ph type="body" sz="quarter" idx="10"/>
          </p:nvPr>
        </p:nvSpPr>
        <p:spPr>
          <a:xfrm>
            <a:off x="283389" y="924324"/>
            <a:ext cx="11679301" cy="1822685"/>
          </a:xfrm>
          <a:prstGeom prst="rect">
            <a:avLst/>
          </a:prstGeom>
        </p:spPr>
        <p:txBody>
          <a:bodyPr vert="horz" wrap="square" lIns="143394" tIns="89623" rIns="143394" bIns="89623" rtlCol="0">
            <a:spAutoFit/>
          </a:bodyPr>
          <a:lstStyle/>
          <a:p>
            <a:r>
              <a:rPr lang="en-US" sz="2700" dirty="0">
                <a:solidFill>
                  <a:srgbClr val="323232"/>
                </a:solidFill>
                <a:latin typeface="+mj-lt"/>
              </a:rPr>
              <a:t>Services types are composed of code/</a:t>
            </a:r>
            <a:r>
              <a:rPr lang="en-US" sz="2700" dirty="0" err="1">
                <a:solidFill>
                  <a:srgbClr val="323232"/>
                </a:solidFill>
                <a:latin typeface="+mj-lt"/>
              </a:rPr>
              <a:t>config</a:t>
            </a:r>
            <a:r>
              <a:rPr lang="en-US" sz="2700" dirty="0">
                <a:solidFill>
                  <a:srgbClr val="323232"/>
                </a:solidFill>
                <a:latin typeface="+mj-lt"/>
              </a:rPr>
              <a:t>/data packages</a:t>
            </a:r>
          </a:p>
          <a:p>
            <a:pPr lvl="1"/>
            <a:r>
              <a:rPr lang="en-US" sz="1600" dirty="0">
                <a:solidFill>
                  <a:srgbClr val="323232"/>
                </a:solidFill>
                <a:latin typeface="+mj-lt"/>
              </a:rPr>
              <a:t>Code packages define an entry point (</a:t>
            </a:r>
            <a:r>
              <a:rPr lang="en-US" sz="1600" dirty="0" err="1">
                <a:solidFill>
                  <a:srgbClr val="323232"/>
                </a:solidFill>
                <a:latin typeface="+mj-lt"/>
              </a:rPr>
              <a:t>dll</a:t>
            </a:r>
            <a:r>
              <a:rPr lang="en-US" sz="1600" dirty="0">
                <a:solidFill>
                  <a:srgbClr val="323232"/>
                </a:solidFill>
                <a:latin typeface="+mj-lt"/>
              </a:rPr>
              <a:t> or exe) </a:t>
            </a:r>
          </a:p>
          <a:p>
            <a:pPr lvl="1"/>
            <a:r>
              <a:rPr lang="en-US" sz="1600" dirty="0" err="1">
                <a:solidFill>
                  <a:srgbClr val="323232"/>
                </a:solidFill>
                <a:latin typeface="+mj-lt"/>
              </a:rPr>
              <a:t>Config</a:t>
            </a:r>
            <a:r>
              <a:rPr lang="en-US" sz="1600" dirty="0">
                <a:solidFill>
                  <a:srgbClr val="323232"/>
                </a:solidFill>
                <a:latin typeface="+mj-lt"/>
              </a:rPr>
              <a:t> packages define service specific </a:t>
            </a:r>
            <a:r>
              <a:rPr lang="en-US" sz="1600" dirty="0" err="1">
                <a:solidFill>
                  <a:srgbClr val="323232"/>
                </a:solidFill>
                <a:latin typeface="+mj-lt"/>
              </a:rPr>
              <a:t>config</a:t>
            </a:r>
            <a:r>
              <a:rPr lang="en-US" sz="1600" dirty="0">
                <a:solidFill>
                  <a:srgbClr val="323232"/>
                </a:solidFill>
                <a:latin typeface="+mj-lt"/>
              </a:rPr>
              <a:t> information</a:t>
            </a:r>
          </a:p>
          <a:p>
            <a:pPr lvl="1"/>
            <a:r>
              <a:rPr lang="en-US" sz="1600" dirty="0">
                <a:solidFill>
                  <a:srgbClr val="323232"/>
                </a:solidFill>
                <a:latin typeface="+mj-lt"/>
              </a:rPr>
              <a:t>Data packages define static resources (</a:t>
            </a:r>
            <a:r>
              <a:rPr lang="en-US" sz="1600" dirty="0" err="1">
                <a:solidFill>
                  <a:srgbClr val="323232"/>
                </a:solidFill>
                <a:latin typeface="+mj-lt"/>
              </a:rPr>
              <a:t>eg</a:t>
            </a:r>
            <a:r>
              <a:rPr lang="en-US" sz="1600" dirty="0">
                <a:solidFill>
                  <a:srgbClr val="323232"/>
                </a:solidFill>
                <a:latin typeface="+mj-lt"/>
              </a:rPr>
              <a:t>. images)</a:t>
            </a:r>
          </a:p>
          <a:p>
            <a:r>
              <a:rPr lang="en-US" sz="2700" dirty="0">
                <a:solidFill>
                  <a:srgbClr val="323232"/>
                </a:solidFill>
                <a:latin typeface="+mj-lt"/>
              </a:rPr>
              <a:t>Packages can be independently versioned</a:t>
            </a:r>
          </a:p>
        </p:txBody>
      </p:sp>
      <p:sp>
        <p:nvSpPr>
          <p:cNvPr id="23" name="Title 1"/>
          <p:cNvSpPr>
            <a:spLocks noGrp="1"/>
          </p:cNvSpPr>
          <p:nvPr>
            <p:ph type="title"/>
          </p:nvPr>
        </p:nvSpPr>
        <p:spPr>
          <a:xfrm>
            <a:off x="283389" y="200402"/>
            <a:ext cx="10968069" cy="747897"/>
          </a:xfrm>
        </p:spPr>
        <p:txBody>
          <a:bodyPr>
            <a:normAutofit fontScale="90000"/>
          </a:bodyPr>
          <a:lstStyle/>
          <a:p>
            <a:r>
              <a:rPr lang="en-US" dirty="0">
                <a:solidFill>
                  <a:srgbClr val="323232"/>
                </a:solidFill>
              </a:rPr>
              <a:t>Service type</a:t>
            </a:r>
          </a:p>
        </p:txBody>
      </p:sp>
      <p:sp>
        <p:nvSpPr>
          <p:cNvPr id="5" name="Rectangle 4"/>
          <p:cNvSpPr/>
          <p:nvPr/>
        </p:nvSpPr>
        <p:spPr>
          <a:xfrm>
            <a:off x="4452554" y="3503714"/>
            <a:ext cx="6723186" cy="2968206"/>
          </a:xfrm>
          <a:prstGeom prst="rect">
            <a:avLst/>
          </a:prstGeom>
          <a:solidFill>
            <a:schemeClr val="tx1"/>
          </a:solidFill>
        </p:spPr>
        <p:txBody>
          <a:bodyPr wrap="square" lIns="89623" tIns="44810" rIns="89623" bIns="44810">
            <a:spAutoFit/>
          </a:bodyPr>
          <a:lstStyle/>
          <a:p>
            <a:pPr defTabSz="913333" eaLnBrk="0" fontAlgn="base" hangingPunct="0">
              <a:spcBef>
                <a:spcPct val="0"/>
              </a:spcBef>
              <a:spcAft>
                <a:spcPct val="0"/>
              </a:spcAft>
              <a:defRPr/>
            </a:pPr>
            <a:endParaRPr lang="fr-FR" sz="1100" dirty="0">
              <a:solidFill>
                <a:srgbClr val="0000FF"/>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fr-FR" sz="1100" dirty="0">
                <a:solidFill>
                  <a:srgbClr val="0000FF"/>
                </a:solidFill>
                <a:highlight>
                  <a:srgbClr val="FFFFFF"/>
                </a:highlight>
                <a:latin typeface="Consolas" panose="020B0609020204030204" pitchFamily="49" charset="0"/>
                <a:ea typeface="MS PGothic" panose="020B0600070205080204" pitchFamily="34" charset="-128"/>
              </a:rPr>
              <a:t>&lt;</a:t>
            </a:r>
            <a:r>
              <a:rPr lang="fr-FR" sz="1100"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fr-FR" sz="1100" dirty="0">
                <a:solidFill>
                  <a:srgbClr val="0000FF"/>
                </a:solidFill>
                <a:highlight>
                  <a:srgbClr val="FFFFFF"/>
                </a:highlight>
                <a:latin typeface="Consolas" panose="020B0609020204030204" pitchFamily="49" charset="0"/>
                <a:ea typeface="MS PGothic" panose="020B0600070205080204" pitchFamily="34" charset="-128"/>
              </a:rPr>
              <a:t> </a:t>
            </a:r>
            <a:r>
              <a:rPr lang="fr-FR" sz="1100" dirty="0">
                <a:solidFill>
                  <a:srgbClr val="FF0000"/>
                </a:solidFill>
                <a:highlight>
                  <a:srgbClr val="FFFFFF"/>
                </a:highlight>
                <a:latin typeface="Consolas" panose="020B0609020204030204" pitchFamily="49" charset="0"/>
                <a:ea typeface="MS PGothic" panose="020B0600070205080204" pitchFamily="34" charset="-128"/>
              </a:rPr>
              <a:t>Name</a:t>
            </a:r>
            <a:r>
              <a:rPr lang="fr-FR" sz="1100" dirty="0">
                <a:solidFill>
                  <a:srgbClr val="0000FF"/>
                </a:solidFill>
                <a:highlight>
                  <a:srgbClr val="FFFFFF"/>
                </a:highlight>
                <a:latin typeface="Consolas" panose="020B0609020204030204" pitchFamily="49" charset="0"/>
                <a:ea typeface="MS PGothic" panose="020B0600070205080204" pitchFamily="34" charset="-128"/>
              </a:rPr>
              <a:t>=</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err="1">
                <a:solidFill>
                  <a:srgbClr val="0000FF"/>
                </a:solidFill>
                <a:highlight>
                  <a:srgbClr val="FFFFFF"/>
                </a:highlight>
                <a:latin typeface="Consolas" panose="020B0609020204030204" pitchFamily="49" charset="0"/>
                <a:ea typeface="MS PGothic" panose="020B0600070205080204" pitchFamily="34" charset="-128"/>
              </a:rPr>
              <a:t>QueueService</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a:solidFill>
                  <a:srgbClr val="0000FF"/>
                </a:solidFill>
                <a:highlight>
                  <a:srgbClr val="FFFFFF"/>
                </a:highlight>
                <a:latin typeface="Consolas" panose="020B0609020204030204" pitchFamily="49" charset="0"/>
                <a:ea typeface="MS PGothic" panose="020B0600070205080204" pitchFamily="34" charset="-128"/>
              </a:rPr>
              <a:t> </a:t>
            </a:r>
            <a:r>
              <a:rPr lang="fr-FR" sz="1100" dirty="0">
                <a:solidFill>
                  <a:srgbClr val="FF0000"/>
                </a:solidFill>
                <a:highlight>
                  <a:srgbClr val="FFFFFF"/>
                </a:highlight>
                <a:latin typeface="Consolas" panose="020B0609020204030204" pitchFamily="49" charset="0"/>
                <a:ea typeface="MS PGothic" panose="020B0600070205080204" pitchFamily="34" charset="-128"/>
              </a:rPr>
              <a:t>Version</a:t>
            </a:r>
            <a:r>
              <a:rPr lang="fr-FR" sz="1100" dirty="0">
                <a:solidFill>
                  <a:srgbClr val="0000FF"/>
                </a:solidFill>
                <a:highlight>
                  <a:srgbClr val="FFFFFF"/>
                </a:highlight>
                <a:latin typeface="Consolas" panose="020B0609020204030204" pitchFamily="49" charset="0"/>
                <a:ea typeface="MS PGothic" panose="020B0600070205080204" pitchFamily="34" charset="-128"/>
              </a:rPr>
              <a:t>=</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a:solidFill>
                  <a:srgbClr val="0000FF"/>
                </a:solidFill>
                <a:highlight>
                  <a:srgbClr val="FFFFFF"/>
                </a:highlight>
                <a:latin typeface="Consolas" panose="020B0609020204030204" pitchFamily="49" charset="0"/>
                <a:ea typeface="MS PGothic" panose="020B0600070205080204" pitchFamily="34" charset="-128"/>
              </a:rPr>
              <a:t>1.0"&gt;</a:t>
            </a:r>
            <a:endParaRPr lang="fr-FR"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tatefulServiceTyp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err="1">
                <a:solidFill>
                  <a:srgbClr val="FF0000"/>
                </a:solidFill>
                <a:highlight>
                  <a:srgbClr val="FFFFFF"/>
                </a:highlight>
                <a:latin typeface="Consolas" panose="020B0609020204030204" pitchFamily="49" charset="0"/>
                <a:ea typeface="MS PGothic" panose="020B0600070205080204" pitchFamily="34" charset="-128"/>
              </a:rPr>
              <a:t>ServiceType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err="1">
                <a:solidFill>
                  <a:srgbClr val="0000FF"/>
                </a:solidFill>
                <a:highlight>
                  <a:srgbClr val="FFFFFF"/>
                </a:highlight>
                <a:latin typeface="Consolas" panose="020B0609020204030204" pitchFamily="49" charset="0"/>
                <a:ea typeface="MS PGothic" panose="020B0600070205080204" pitchFamily="34" charset="-128"/>
              </a:rPr>
              <a:t>QueueServiceType</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err="1">
                <a:solidFill>
                  <a:srgbClr val="FF0000"/>
                </a:solidFill>
                <a:highlight>
                  <a:srgbClr val="FFFFFF"/>
                </a:highlight>
                <a:latin typeface="Consolas" panose="020B0609020204030204" pitchFamily="49" charset="0"/>
                <a:ea typeface="MS PGothic" panose="020B0600070205080204" pitchFamily="34" charset="-128"/>
              </a:rPr>
              <a:t>HasPersistedStat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true</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de-DE" sz="1100" dirty="0">
                <a:solidFill>
                  <a:srgbClr val="0000FF"/>
                </a:solidFill>
                <a:highlight>
                  <a:srgbClr val="FFFFFF"/>
                </a:highlight>
                <a:latin typeface="Consolas" panose="020B0609020204030204" pitchFamily="49" charset="0"/>
                <a:ea typeface="MS PGothic" panose="020B0600070205080204" pitchFamily="34" charset="-128"/>
              </a:rPr>
              <a:t>  &lt;</a:t>
            </a:r>
            <a:r>
              <a:rPr lang="de-DE" sz="1100" dirty="0">
                <a:solidFill>
                  <a:srgbClr val="A31515"/>
                </a:solidFill>
                <a:highlight>
                  <a:srgbClr val="FFFFFF"/>
                </a:highlight>
                <a:latin typeface="Consolas" panose="020B0609020204030204" pitchFamily="49" charset="0"/>
                <a:ea typeface="MS PGothic" panose="020B0600070205080204" pitchFamily="34" charset="-128"/>
              </a:rPr>
              <a:t>CodePackage</a:t>
            </a:r>
            <a:r>
              <a:rPr lang="de-DE" sz="1100" dirty="0">
                <a:solidFill>
                  <a:srgbClr val="0000FF"/>
                </a:solidFill>
                <a:highlight>
                  <a:srgbClr val="FFFFFF"/>
                </a:highlight>
                <a:latin typeface="Consolas" panose="020B0609020204030204" pitchFamily="49" charset="0"/>
                <a:ea typeface="MS PGothic" panose="020B0600070205080204" pitchFamily="34" charset="-128"/>
              </a:rPr>
              <a:t> </a:t>
            </a:r>
            <a:r>
              <a:rPr lang="de-DE" sz="1100" dirty="0">
                <a:solidFill>
                  <a:srgbClr val="FF0000"/>
                </a:solidFill>
                <a:highlight>
                  <a:srgbClr val="FFFFFF"/>
                </a:highlight>
                <a:latin typeface="Consolas" panose="020B0609020204030204" pitchFamily="49" charset="0"/>
                <a:ea typeface="MS PGothic" panose="020B0600070205080204" pitchFamily="34" charset="-128"/>
              </a:rPr>
              <a:t>Name</a:t>
            </a:r>
            <a:r>
              <a:rPr lang="de-DE" sz="1100" dirty="0">
                <a:solidFill>
                  <a:srgbClr val="0000FF"/>
                </a:solidFill>
                <a:highlight>
                  <a:srgbClr val="FFFFFF"/>
                </a:highlight>
                <a:latin typeface="Consolas" panose="020B0609020204030204" pitchFamily="49" charset="0"/>
                <a:ea typeface="MS PGothic" panose="020B0600070205080204" pitchFamily="34" charset="-128"/>
              </a:rPr>
              <a:t>=</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Code</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 </a:t>
            </a:r>
            <a:r>
              <a:rPr lang="de-DE" sz="1100" dirty="0">
                <a:solidFill>
                  <a:srgbClr val="FF0000"/>
                </a:solidFill>
                <a:highlight>
                  <a:srgbClr val="FFFFFF"/>
                </a:highlight>
                <a:latin typeface="Consolas" panose="020B0609020204030204" pitchFamily="49" charset="0"/>
                <a:ea typeface="MS PGothic" panose="020B0600070205080204" pitchFamily="34" charset="-128"/>
              </a:rPr>
              <a:t>Version</a:t>
            </a:r>
            <a:r>
              <a:rPr lang="de-DE" sz="1100" dirty="0">
                <a:solidFill>
                  <a:srgbClr val="0000FF"/>
                </a:solidFill>
                <a:highlight>
                  <a:srgbClr val="FFFFFF"/>
                </a:highlight>
                <a:latin typeface="Consolas" panose="020B0609020204030204" pitchFamily="49" charset="0"/>
                <a:ea typeface="MS PGothic" panose="020B0600070205080204" pitchFamily="34" charset="-128"/>
              </a:rPr>
              <a:t>=</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1.0</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gt;</a:t>
            </a:r>
            <a:endParaRPr lang="de-DE"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a:solidFill>
                  <a:srgbClr val="A31515"/>
                </a:solidFill>
                <a:highlight>
                  <a:srgbClr val="FFFFFF"/>
                </a:highlight>
                <a:latin typeface="Consolas" panose="020B0609020204030204" pitchFamily="49" charset="0"/>
                <a:ea typeface="MS PGothic" panose="020B0600070205080204" pitchFamily="34" charset="-128"/>
              </a:rPr>
              <a:t>Program</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r>
              <a:rPr lang="en-US" sz="1100" dirty="0">
                <a:solidFill>
                  <a:srgbClr val="000000"/>
                </a:solidFill>
                <a:highlight>
                  <a:srgbClr val="FFFFFF"/>
                </a:highlight>
                <a:latin typeface="Consolas" panose="020B0609020204030204" pitchFamily="49" charset="0"/>
                <a:ea typeface="MS PGothic" panose="020B0600070205080204" pitchFamily="34" charset="-128"/>
              </a:rPr>
              <a:t>ServiceHost.exe</a:t>
            </a:r>
            <a:r>
              <a:rPr lang="en-US" sz="1100" dirty="0">
                <a:solidFill>
                  <a:srgbClr val="0000FF"/>
                </a:solidFill>
                <a:highlight>
                  <a:srgbClr val="FFFFFF"/>
                </a:highlight>
                <a:latin typeface="Consolas" panose="020B0609020204030204" pitchFamily="49" charset="0"/>
                <a:ea typeface="MS PGothic" panose="020B0600070205080204" pitchFamily="34" charset="-128"/>
              </a:rPr>
              <a:t>&lt;/</a:t>
            </a:r>
            <a:r>
              <a:rPr lang="en-US" sz="1100" dirty="0">
                <a:solidFill>
                  <a:srgbClr val="A31515"/>
                </a:solidFill>
                <a:highlight>
                  <a:srgbClr val="FFFFFF"/>
                </a:highlight>
                <a:latin typeface="Consolas" panose="020B0609020204030204" pitchFamily="49" charset="0"/>
                <a:ea typeface="MS PGothic" panose="020B0600070205080204" pitchFamily="34" charset="-128"/>
              </a:rPr>
              <a:t>Program</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Code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Config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Config</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Version</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1.0</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Data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Data</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Version</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1.0</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p>
          <a:p>
            <a:pPr defTabSz="913333" eaLnBrk="0" fontAlgn="base" hangingPunct="0">
              <a:spcBef>
                <a:spcPct val="0"/>
              </a:spcBef>
              <a:spcAft>
                <a:spcPct val="0"/>
              </a:spcAft>
              <a:defRPr/>
            </a:pPr>
            <a:endParaRPr lang="en-US" sz="1100" dirty="0">
              <a:solidFill>
                <a:srgbClr val="FFFFFF"/>
              </a:solidFill>
              <a:latin typeface="Segoe UI" panose="020B0502040204020203" pitchFamily="34" charset="0"/>
              <a:ea typeface="MS PGothic" panose="020B0600070205080204" pitchFamily="34" charset="-128"/>
            </a:endParaRPr>
          </a:p>
        </p:txBody>
      </p:sp>
      <p:grpSp>
        <p:nvGrpSpPr>
          <p:cNvPr id="17" name="Group 16"/>
          <p:cNvGrpSpPr/>
          <p:nvPr/>
        </p:nvGrpSpPr>
        <p:grpSpPr>
          <a:xfrm>
            <a:off x="717451" y="3802565"/>
            <a:ext cx="3186878" cy="1942529"/>
            <a:chOff x="520752" y="3573462"/>
            <a:chExt cx="3250782" cy="1981200"/>
          </a:xfrm>
        </p:grpSpPr>
        <p:sp>
          <p:nvSpPr>
            <p:cNvPr id="6" name="Rectangle 5"/>
            <p:cNvSpPr/>
            <p:nvPr/>
          </p:nvSpPr>
          <p:spPr bwMode="auto">
            <a:xfrm>
              <a:off x="884237" y="3573462"/>
              <a:ext cx="2514600"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1</a:t>
              </a:r>
            </a:p>
          </p:txBody>
        </p:sp>
        <p:sp>
          <p:nvSpPr>
            <p:cNvPr id="7" name="Rectangle 6"/>
            <p:cNvSpPr/>
            <p:nvPr/>
          </p:nvSpPr>
          <p:spPr bwMode="auto">
            <a:xfrm>
              <a:off x="520752"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8" name="Rectangle 7"/>
            <p:cNvSpPr/>
            <p:nvPr/>
          </p:nvSpPr>
          <p:spPr bwMode="auto">
            <a:xfrm>
              <a:off x="1629746"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9" name="Rectangle 8"/>
            <p:cNvSpPr/>
            <p:nvPr/>
          </p:nvSpPr>
          <p:spPr bwMode="auto">
            <a:xfrm>
              <a:off x="2738740" y="4945062"/>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cxnSp>
          <p:nvCxnSpPr>
            <p:cNvPr id="3" name="Straight Connector 2"/>
            <p:cNvCxnSpPr>
              <a:stCxn id="6" idx="2"/>
            </p:cNvCxnSpPr>
            <p:nvPr/>
          </p:nvCxnSpPr>
          <p:spPr>
            <a:xfrm>
              <a:off x="2141537" y="4183062"/>
              <a:ext cx="0" cy="29779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037149" y="4480853"/>
              <a:ext cx="2217988"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endCxn id="7" idx="0"/>
            </p:cNvCxnSpPr>
            <p:nvPr/>
          </p:nvCxnSpPr>
          <p:spPr>
            <a:xfrm>
              <a:off x="1037149" y="4480853"/>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2141537"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3238738"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38457288"/>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showMasterSp="0" show="0">
  <p:cSld>
    <p:bg>
      <p:bgPr>
        <a:solidFill>
          <a:schemeClr val="tx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1" y="1189177"/>
            <a:ext cx="11653523" cy="1677837"/>
          </a:xfrm>
        </p:spPr>
        <p:txBody>
          <a:bodyPr/>
          <a:lstStyle/>
          <a:p>
            <a:r>
              <a:rPr lang="en-US" sz="3100" dirty="0">
                <a:solidFill>
                  <a:srgbClr val="323232"/>
                </a:solidFill>
                <a:latin typeface="+mj-lt"/>
              </a:rPr>
              <a:t>Declarative template for creating an application</a:t>
            </a:r>
          </a:p>
          <a:p>
            <a:r>
              <a:rPr lang="en-US" sz="3100" dirty="0">
                <a:solidFill>
                  <a:srgbClr val="323232"/>
                </a:solidFill>
                <a:latin typeface="+mj-lt"/>
              </a:rPr>
              <a:t>Based on a set of service types</a:t>
            </a:r>
          </a:p>
          <a:p>
            <a:r>
              <a:rPr lang="en-US" sz="3100" dirty="0">
                <a:solidFill>
                  <a:srgbClr val="323232"/>
                </a:solidFill>
                <a:latin typeface="+mj-lt"/>
              </a:rPr>
              <a:t>Used for packaging, deployment, and versioning</a:t>
            </a:r>
          </a:p>
        </p:txBody>
      </p:sp>
      <p:sp>
        <p:nvSpPr>
          <p:cNvPr id="3" name="Title 2"/>
          <p:cNvSpPr>
            <a:spLocks noGrp="1"/>
          </p:cNvSpPr>
          <p:nvPr>
            <p:ph type="title"/>
          </p:nvPr>
        </p:nvSpPr>
        <p:spPr/>
        <p:txBody>
          <a:bodyPr/>
          <a:lstStyle/>
          <a:p>
            <a:r>
              <a:rPr lang="en-US" dirty="0">
                <a:solidFill>
                  <a:srgbClr val="323232"/>
                </a:solidFill>
              </a:rPr>
              <a:t>Application type</a:t>
            </a:r>
          </a:p>
        </p:txBody>
      </p:sp>
      <p:sp>
        <p:nvSpPr>
          <p:cNvPr id="4" name="Rectangle 3"/>
          <p:cNvSpPr/>
          <p:nvPr/>
        </p:nvSpPr>
        <p:spPr bwMode="auto">
          <a:xfrm>
            <a:off x="4021013" y="3300258"/>
            <a:ext cx="3809805" cy="597701"/>
          </a:xfrm>
          <a:prstGeom prst="rect">
            <a:avLst/>
          </a:prstGeom>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Application Type A</a:t>
            </a:r>
          </a:p>
        </p:txBody>
      </p:sp>
      <p:sp>
        <p:nvSpPr>
          <p:cNvPr id="6" name="Rectangle 5"/>
          <p:cNvSpPr/>
          <p:nvPr/>
        </p:nvSpPr>
        <p:spPr bwMode="auto">
          <a:xfrm>
            <a:off x="982921" y="4699117"/>
            <a:ext cx="2465168"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1</a:t>
            </a:r>
          </a:p>
        </p:txBody>
      </p:sp>
      <p:sp>
        <p:nvSpPr>
          <p:cNvPr id="7" name="Rectangle 6"/>
          <p:cNvSpPr/>
          <p:nvPr/>
        </p:nvSpPr>
        <p:spPr bwMode="auto">
          <a:xfrm>
            <a:off x="4697343" y="4699117"/>
            <a:ext cx="2465168"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2</a:t>
            </a:r>
          </a:p>
        </p:txBody>
      </p:sp>
      <p:sp>
        <p:nvSpPr>
          <p:cNvPr id="8" name="Rectangle 7"/>
          <p:cNvSpPr/>
          <p:nvPr/>
        </p:nvSpPr>
        <p:spPr bwMode="auto">
          <a:xfrm>
            <a:off x="8411764" y="4699117"/>
            <a:ext cx="2465168"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3</a:t>
            </a:r>
          </a:p>
        </p:txBody>
      </p:sp>
      <p:sp>
        <p:nvSpPr>
          <p:cNvPr id="9" name="Rectangle 8"/>
          <p:cNvSpPr/>
          <p:nvPr/>
        </p:nvSpPr>
        <p:spPr bwMode="auto">
          <a:xfrm>
            <a:off x="651390" y="5410528"/>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0" name="Rectangle 9"/>
          <p:cNvSpPr/>
          <p:nvPr/>
        </p:nvSpPr>
        <p:spPr bwMode="auto">
          <a:xfrm>
            <a:off x="1738586" y="5410528"/>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1" name="Rectangle 10"/>
          <p:cNvSpPr/>
          <p:nvPr/>
        </p:nvSpPr>
        <p:spPr bwMode="auto">
          <a:xfrm>
            <a:off x="2825777" y="5410609"/>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sp>
        <p:nvSpPr>
          <p:cNvPr id="12" name="Rectangle 11"/>
          <p:cNvSpPr/>
          <p:nvPr/>
        </p:nvSpPr>
        <p:spPr bwMode="auto">
          <a:xfrm>
            <a:off x="4369825" y="5410444"/>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3" name="Rectangle 12"/>
          <p:cNvSpPr/>
          <p:nvPr/>
        </p:nvSpPr>
        <p:spPr bwMode="auto">
          <a:xfrm>
            <a:off x="5457021" y="5410444"/>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4" name="Rectangle 13"/>
          <p:cNvSpPr/>
          <p:nvPr/>
        </p:nvSpPr>
        <p:spPr bwMode="auto">
          <a:xfrm>
            <a:off x="6544212" y="5410528"/>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sp>
        <p:nvSpPr>
          <p:cNvPr id="15" name="Rectangle 14"/>
          <p:cNvSpPr/>
          <p:nvPr/>
        </p:nvSpPr>
        <p:spPr bwMode="auto">
          <a:xfrm>
            <a:off x="8088262" y="5405720"/>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6" name="Rectangle 15"/>
          <p:cNvSpPr/>
          <p:nvPr/>
        </p:nvSpPr>
        <p:spPr bwMode="auto">
          <a:xfrm>
            <a:off x="9175453" y="5405720"/>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7" name="Rectangle 16"/>
          <p:cNvSpPr/>
          <p:nvPr/>
        </p:nvSpPr>
        <p:spPr bwMode="auto">
          <a:xfrm>
            <a:off x="10262649" y="5405804"/>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cxnSp>
        <p:nvCxnSpPr>
          <p:cNvPr id="18" name="Straight Connector 17"/>
          <p:cNvCxnSpPr/>
          <p:nvPr/>
        </p:nvCxnSpPr>
        <p:spPr>
          <a:xfrm>
            <a:off x="2207479" y="4176126"/>
            <a:ext cx="7660976"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4" idx="2"/>
            <a:endCxn id="7" idx="0"/>
          </p:cNvCxnSpPr>
          <p:nvPr/>
        </p:nvCxnSpPr>
        <p:spPr>
          <a:xfrm>
            <a:off x="5925913" y="3897957"/>
            <a:ext cx="4014" cy="80115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endCxn id="6" idx="0"/>
          </p:cNvCxnSpPr>
          <p:nvPr/>
        </p:nvCxnSpPr>
        <p:spPr>
          <a:xfrm>
            <a:off x="2215505"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5925913"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9861574"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379138"/>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a:t>Design web applications</a:t>
            </a:r>
          </a:p>
        </p:txBody>
      </p:sp>
    </p:spTree>
    <p:extLst>
      <p:ext uri="{BB962C8B-B14F-4D97-AF65-F5344CB8AC3E}">
        <p14:creationId xmlns:p14="http://schemas.microsoft.com/office/powerpoint/2010/main" val="332911418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164591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8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189010" y="289515"/>
            <a:ext cx="10736072" cy="899665"/>
          </a:xfrm>
        </p:spPr>
        <p:txBody>
          <a:bodyPr/>
          <a:lstStyle/>
          <a:p>
            <a:r>
              <a:rPr lang="en-US" dirty="0"/>
              <a:t>Azure App Service</a:t>
            </a:r>
          </a:p>
        </p:txBody>
      </p:sp>
      <p:sp>
        <p:nvSpPr>
          <p:cNvPr id="70" name="TextBox 69"/>
          <p:cNvSpPr txBox="1"/>
          <p:nvPr/>
        </p:nvSpPr>
        <p:spPr>
          <a:xfrm>
            <a:off x="270070" y="1586598"/>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ea typeface="Segoe UI Semilight" charset="0"/>
                <a:cs typeface="Segoe UI Semilight" charset="0"/>
              </a:rPr>
              <a:t>Enterprise-grade apps</a:t>
            </a:r>
          </a:p>
        </p:txBody>
      </p:sp>
      <p:sp>
        <p:nvSpPr>
          <p:cNvPr id="71" name="TextBox 70"/>
          <p:cNvSpPr txBox="1"/>
          <p:nvPr/>
        </p:nvSpPr>
        <p:spPr>
          <a:xfrm>
            <a:off x="4168963" y="1586600"/>
            <a:ext cx="3854081" cy="4804837"/>
          </a:xfrm>
          <a:prstGeom prst="rect">
            <a:avLst/>
          </a:prstGeom>
          <a:solidFill>
            <a:schemeClr val="accent4"/>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Fully managed platform</a:t>
            </a:r>
          </a:p>
        </p:txBody>
      </p:sp>
      <p:sp>
        <p:nvSpPr>
          <p:cNvPr id="72" name="TextBox 71"/>
          <p:cNvSpPr txBox="1"/>
          <p:nvPr/>
        </p:nvSpPr>
        <p:spPr>
          <a:xfrm>
            <a:off x="8067857" y="1586600"/>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High productivity development</a:t>
            </a:r>
          </a:p>
        </p:txBody>
      </p:sp>
      <p:grpSp>
        <p:nvGrpSpPr>
          <p:cNvPr id="30" name="Group 29"/>
          <p:cNvGrpSpPr/>
          <p:nvPr/>
        </p:nvGrpSpPr>
        <p:grpSpPr>
          <a:xfrm>
            <a:off x="411449" y="4642908"/>
            <a:ext cx="1641770" cy="945082"/>
            <a:chOff x="418878" y="4735511"/>
            <a:chExt cx="1674928" cy="964033"/>
          </a:xfrm>
        </p:grpSpPr>
        <p:sp>
          <p:nvSpPr>
            <p:cNvPr id="85" name="Freeform 118"/>
            <p:cNvSpPr>
              <a:spLocks noChangeAspect="1" noEditPoints="1"/>
            </p:cNvSpPr>
            <p:nvPr/>
          </p:nvSpPr>
          <p:spPr bwMode="auto">
            <a:xfrm>
              <a:off x="895581" y="4735511"/>
              <a:ext cx="721520" cy="450057"/>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0" name="TextBox 109"/>
            <p:cNvSpPr txBox="1"/>
            <p:nvPr/>
          </p:nvSpPr>
          <p:spPr>
            <a:xfrm>
              <a:off x="418878" y="5379331"/>
              <a:ext cx="1674928" cy="320213"/>
            </a:xfrm>
            <a:prstGeom prst="rect">
              <a:avLst/>
            </a:prstGeom>
            <a:noFill/>
            <a:ln w="0">
              <a:noFill/>
            </a:ln>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AD integrated </a:t>
              </a:r>
            </a:p>
          </p:txBody>
        </p:sp>
      </p:grpSp>
      <p:grpSp>
        <p:nvGrpSpPr>
          <p:cNvPr id="31" name="Group 30"/>
          <p:cNvGrpSpPr/>
          <p:nvPr/>
        </p:nvGrpSpPr>
        <p:grpSpPr>
          <a:xfrm>
            <a:off x="2156655" y="4570544"/>
            <a:ext cx="1999239" cy="1019872"/>
            <a:chOff x="2199327" y="4661692"/>
            <a:chExt cx="2039617" cy="1040322"/>
          </a:xfrm>
        </p:grpSpPr>
        <p:sp>
          <p:nvSpPr>
            <p:cNvPr id="74" name="Freeform 144"/>
            <p:cNvSpPr>
              <a:spLocks noChangeAspect="1" noEditPoints="1"/>
            </p:cNvSpPr>
            <p:nvPr/>
          </p:nvSpPr>
          <p:spPr bwMode="auto">
            <a:xfrm>
              <a:off x="2945291" y="4661692"/>
              <a:ext cx="547688" cy="597695"/>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6" name="TextBox 115"/>
            <p:cNvSpPr txBox="1"/>
            <p:nvPr/>
          </p:nvSpPr>
          <p:spPr>
            <a:xfrm>
              <a:off x="2199327" y="5381802"/>
              <a:ext cx="2039617" cy="320212"/>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Secure + compliant </a:t>
              </a:r>
            </a:p>
          </p:txBody>
        </p:sp>
      </p:grpSp>
      <p:grpSp>
        <p:nvGrpSpPr>
          <p:cNvPr id="35" name="Group 34"/>
          <p:cNvGrpSpPr/>
          <p:nvPr/>
        </p:nvGrpSpPr>
        <p:grpSpPr>
          <a:xfrm>
            <a:off x="4271729" y="4564512"/>
            <a:ext cx="1718714" cy="1245075"/>
            <a:chOff x="4357121" y="4655544"/>
            <a:chExt cx="1753425" cy="1270043"/>
          </a:xfrm>
        </p:grpSpPr>
        <p:sp>
          <p:nvSpPr>
            <p:cNvPr id="78" name="Freeform 290"/>
            <p:cNvSpPr>
              <a:spLocks noChangeAspect="1" noEditPoints="1"/>
            </p:cNvSpPr>
            <p:nvPr/>
          </p:nvSpPr>
          <p:spPr bwMode="auto">
            <a:xfrm>
              <a:off x="4919759" y="4655544"/>
              <a:ext cx="628146" cy="609990"/>
            </a:xfrm>
            <a:custGeom>
              <a:avLst/>
              <a:gdLst>
                <a:gd name="T0" fmla="*/ 71 w 146"/>
                <a:gd name="T1" fmla="*/ 39 h 142"/>
                <a:gd name="T2" fmla="*/ 71 w 146"/>
                <a:gd name="T3" fmla="*/ 47 h 142"/>
                <a:gd name="T4" fmla="*/ 67 w 146"/>
                <a:gd name="T5" fmla="*/ 47 h 142"/>
                <a:gd name="T6" fmla="*/ 53 w 146"/>
                <a:gd name="T7" fmla="*/ 61 h 142"/>
                <a:gd name="T8" fmla="*/ 67 w 146"/>
                <a:gd name="T9" fmla="*/ 75 h 142"/>
                <a:gd name="T10" fmla="*/ 71 w 146"/>
                <a:gd name="T11" fmla="*/ 75 h 142"/>
                <a:gd name="T12" fmla="*/ 71 w 146"/>
                <a:gd name="T13" fmla="*/ 88 h 142"/>
                <a:gd name="T14" fmla="*/ 57 w 146"/>
                <a:gd name="T15" fmla="*/ 88 h 142"/>
                <a:gd name="T16" fmla="*/ 57 w 146"/>
                <a:gd name="T17" fmla="*/ 96 h 142"/>
                <a:gd name="T18" fmla="*/ 71 w 146"/>
                <a:gd name="T19" fmla="*/ 96 h 142"/>
                <a:gd name="T20" fmla="*/ 71 w 146"/>
                <a:gd name="T21" fmla="*/ 104 h 142"/>
                <a:gd name="T22" fmla="*/ 79 w 146"/>
                <a:gd name="T23" fmla="*/ 104 h 142"/>
                <a:gd name="T24" fmla="*/ 79 w 146"/>
                <a:gd name="T25" fmla="*/ 96 h 142"/>
                <a:gd name="T26" fmla="*/ 83 w 146"/>
                <a:gd name="T27" fmla="*/ 96 h 142"/>
                <a:gd name="T28" fmla="*/ 97 w 146"/>
                <a:gd name="T29" fmla="*/ 82 h 142"/>
                <a:gd name="T30" fmla="*/ 83 w 146"/>
                <a:gd name="T31" fmla="*/ 67 h 142"/>
                <a:gd name="T32" fmla="*/ 79 w 146"/>
                <a:gd name="T33" fmla="*/ 67 h 142"/>
                <a:gd name="T34" fmla="*/ 79 w 146"/>
                <a:gd name="T35" fmla="*/ 55 h 142"/>
                <a:gd name="T36" fmla="*/ 93 w 146"/>
                <a:gd name="T37" fmla="*/ 55 h 142"/>
                <a:gd name="T38" fmla="*/ 93 w 146"/>
                <a:gd name="T39" fmla="*/ 47 h 142"/>
                <a:gd name="T40" fmla="*/ 79 w 146"/>
                <a:gd name="T41" fmla="*/ 47 h 142"/>
                <a:gd name="T42" fmla="*/ 79 w 146"/>
                <a:gd name="T43" fmla="*/ 39 h 142"/>
                <a:gd name="T44" fmla="*/ 71 w 146"/>
                <a:gd name="T45" fmla="*/ 39 h 142"/>
                <a:gd name="T46" fmla="*/ 71 w 146"/>
                <a:gd name="T47" fmla="*/ 67 h 142"/>
                <a:gd name="T48" fmla="*/ 67 w 146"/>
                <a:gd name="T49" fmla="*/ 67 h 142"/>
                <a:gd name="T50" fmla="*/ 61 w 146"/>
                <a:gd name="T51" fmla="*/ 61 h 142"/>
                <a:gd name="T52" fmla="*/ 67 w 146"/>
                <a:gd name="T53" fmla="*/ 55 h 142"/>
                <a:gd name="T54" fmla="*/ 71 w 146"/>
                <a:gd name="T55" fmla="*/ 55 h 142"/>
                <a:gd name="T56" fmla="*/ 71 w 146"/>
                <a:gd name="T57" fmla="*/ 67 h 142"/>
                <a:gd name="T58" fmla="*/ 83 w 146"/>
                <a:gd name="T59" fmla="*/ 75 h 142"/>
                <a:gd name="T60" fmla="*/ 89 w 146"/>
                <a:gd name="T61" fmla="*/ 82 h 142"/>
                <a:gd name="T62" fmla="*/ 83 w 146"/>
                <a:gd name="T63" fmla="*/ 88 h 142"/>
                <a:gd name="T64" fmla="*/ 79 w 146"/>
                <a:gd name="T65" fmla="*/ 88 h 142"/>
                <a:gd name="T66" fmla="*/ 79 w 146"/>
                <a:gd name="T67" fmla="*/ 75 h 142"/>
                <a:gd name="T68" fmla="*/ 83 w 146"/>
                <a:gd name="T69" fmla="*/ 75 h 142"/>
                <a:gd name="T70" fmla="*/ 2 w 146"/>
                <a:gd name="T71" fmla="*/ 99 h 142"/>
                <a:gd name="T72" fmla="*/ 11 w 146"/>
                <a:gd name="T73" fmla="*/ 102 h 142"/>
                <a:gd name="T74" fmla="*/ 4 w 146"/>
                <a:gd name="T75" fmla="*/ 71 h 142"/>
                <a:gd name="T76" fmla="*/ 75 w 146"/>
                <a:gd name="T77" fmla="*/ 0 h 142"/>
                <a:gd name="T78" fmla="*/ 146 w 146"/>
                <a:gd name="T79" fmla="*/ 71 h 142"/>
                <a:gd name="T80" fmla="*/ 75 w 146"/>
                <a:gd name="T81" fmla="*/ 142 h 142"/>
                <a:gd name="T82" fmla="*/ 34 w 146"/>
                <a:gd name="T83" fmla="*/ 130 h 142"/>
                <a:gd name="T84" fmla="*/ 39 w 146"/>
                <a:gd name="T85" fmla="*/ 123 h 142"/>
                <a:gd name="T86" fmla="*/ 75 w 146"/>
                <a:gd name="T87" fmla="*/ 134 h 142"/>
                <a:gd name="T88" fmla="*/ 138 w 146"/>
                <a:gd name="T89" fmla="*/ 71 h 142"/>
                <a:gd name="T90" fmla="*/ 75 w 146"/>
                <a:gd name="T91" fmla="*/ 8 h 142"/>
                <a:gd name="T92" fmla="*/ 12 w 146"/>
                <a:gd name="T93" fmla="*/ 71 h 142"/>
                <a:gd name="T94" fmla="*/ 18 w 146"/>
                <a:gd name="T95" fmla="*/ 98 h 142"/>
                <a:gd name="T96" fmla="*/ 21 w 146"/>
                <a:gd name="T97" fmla="*/ 90 h 142"/>
                <a:gd name="T98" fmla="*/ 28 w 146"/>
                <a:gd name="T99" fmla="*/ 92 h 142"/>
                <a:gd name="T100" fmla="*/ 21 w 146"/>
                <a:gd name="T101" fmla="*/ 114 h 142"/>
                <a:gd name="T102" fmla="*/ 0 w 146"/>
                <a:gd name="T103" fmla="*/ 107 h 142"/>
                <a:gd name="T104" fmla="*/ 2 w 146"/>
                <a:gd name="T105" fmla="*/ 9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42">
                  <a:moveTo>
                    <a:pt x="71" y="39"/>
                  </a:moveTo>
                  <a:cubicBezTo>
                    <a:pt x="71" y="47"/>
                    <a:pt x="71" y="47"/>
                    <a:pt x="71" y="47"/>
                  </a:cubicBezTo>
                  <a:cubicBezTo>
                    <a:pt x="67" y="47"/>
                    <a:pt x="67" y="47"/>
                    <a:pt x="67" y="47"/>
                  </a:cubicBezTo>
                  <a:cubicBezTo>
                    <a:pt x="60" y="47"/>
                    <a:pt x="53" y="53"/>
                    <a:pt x="53" y="61"/>
                  </a:cubicBezTo>
                  <a:cubicBezTo>
                    <a:pt x="53" y="69"/>
                    <a:pt x="60" y="75"/>
                    <a:pt x="67" y="75"/>
                  </a:cubicBezTo>
                  <a:cubicBezTo>
                    <a:pt x="71" y="75"/>
                    <a:pt x="71" y="75"/>
                    <a:pt x="71" y="75"/>
                  </a:cubicBezTo>
                  <a:cubicBezTo>
                    <a:pt x="71" y="88"/>
                    <a:pt x="71" y="88"/>
                    <a:pt x="71" y="88"/>
                  </a:cubicBezTo>
                  <a:cubicBezTo>
                    <a:pt x="57" y="88"/>
                    <a:pt x="57" y="88"/>
                    <a:pt x="57" y="88"/>
                  </a:cubicBezTo>
                  <a:cubicBezTo>
                    <a:pt x="57" y="96"/>
                    <a:pt x="57" y="96"/>
                    <a:pt x="57" y="96"/>
                  </a:cubicBezTo>
                  <a:cubicBezTo>
                    <a:pt x="71" y="96"/>
                    <a:pt x="71" y="96"/>
                    <a:pt x="71" y="96"/>
                  </a:cubicBezTo>
                  <a:cubicBezTo>
                    <a:pt x="71" y="104"/>
                    <a:pt x="71" y="104"/>
                    <a:pt x="71" y="104"/>
                  </a:cubicBezTo>
                  <a:cubicBezTo>
                    <a:pt x="79" y="104"/>
                    <a:pt x="79" y="104"/>
                    <a:pt x="79" y="104"/>
                  </a:cubicBezTo>
                  <a:cubicBezTo>
                    <a:pt x="79" y="96"/>
                    <a:pt x="79" y="96"/>
                    <a:pt x="79" y="96"/>
                  </a:cubicBezTo>
                  <a:cubicBezTo>
                    <a:pt x="83" y="96"/>
                    <a:pt x="83" y="96"/>
                    <a:pt x="83" y="96"/>
                  </a:cubicBezTo>
                  <a:cubicBezTo>
                    <a:pt x="90" y="96"/>
                    <a:pt x="97" y="90"/>
                    <a:pt x="97" y="82"/>
                  </a:cubicBezTo>
                  <a:cubicBezTo>
                    <a:pt x="97" y="74"/>
                    <a:pt x="90" y="67"/>
                    <a:pt x="83" y="67"/>
                  </a:cubicBezTo>
                  <a:cubicBezTo>
                    <a:pt x="79" y="67"/>
                    <a:pt x="79" y="67"/>
                    <a:pt x="79" y="67"/>
                  </a:cubicBezTo>
                  <a:cubicBezTo>
                    <a:pt x="79" y="55"/>
                    <a:pt x="79" y="55"/>
                    <a:pt x="79" y="55"/>
                  </a:cubicBezTo>
                  <a:cubicBezTo>
                    <a:pt x="93" y="55"/>
                    <a:pt x="93" y="55"/>
                    <a:pt x="93" y="55"/>
                  </a:cubicBezTo>
                  <a:cubicBezTo>
                    <a:pt x="93" y="47"/>
                    <a:pt x="93" y="47"/>
                    <a:pt x="93" y="47"/>
                  </a:cubicBezTo>
                  <a:cubicBezTo>
                    <a:pt x="79" y="47"/>
                    <a:pt x="79" y="47"/>
                    <a:pt x="79" y="47"/>
                  </a:cubicBezTo>
                  <a:cubicBezTo>
                    <a:pt x="79" y="39"/>
                    <a:pt x="79" y="39"/>
                    <a:pt x="79" y="39"/>
                  </a:cubicBezTo>
                  <a:lnTo>
                    <a:pt x="71" y="39"/>
                  </a:lnTo>
                  <a:close/>
                  <a:moveTo>
                    <a:pt x="71" y="67"/>
                  </a:moveTo>
                  <a:cubicBezTo>
                    <a:pt x="67" y="67"/>
                    <a:pt x="67" y="67"/>
                    <a:pt x="67" y="67"/>
                  </a:cubicBezTo>
                  <a:cubicBezTo>
                    <a:pt x="64" y="67"/>
                    <a:pt x="61" y="65"/>
                    <a:pt x="61" y="61"/>
                  </a:cubicBezTo>
                  <a:cubicBezTo>
                    <a:pt x="61" y="58"/>
                    <a:pt x="64" y="55"/>
                    <a:pt x="67" y="55"/>
                  </a:cubicBezTo>
                  <a:cubicBezTo>
                    <a:pt x="71" y="55"/>
                    <a:pt x="71" y="55"/>
                    <a:pt x="71" y="55"/>
                  </a:cubicBezTo>
                  <a:lnTo>
                    <a:pt x="71" y="67"/>
                  </a:lnTo>
                  <a:close/>
                  <a:moveTo>
                    <a:pt x="83" y="75"/>
                  </a:moveTo>
                  <a:cubicBezTo>
                    <a:pt x="86" y="75"/>
                    <a:pt x="89" y="78"/>
                    <a:pt x="89" y="82"/>
                  </a:cubicBezTo>
                  <a:cubicBezTo>
                    <a:pt x="89" y="85"/>
                    <a:pt x="86" y="88"/>
                    <a:pt x="83" y="88"/>
                  </a:cubicBezTo>
                  <a:cubicBezTo>
                    <a:pt x="79" y="88"/>
                    <a:pt x="79" y="88"/>
                    <a:pt x="79" y="88"/>
                  </a:cubicBezTo>
                  <a:cubicBezTo>
                    <a:pt x="79" y="75"/>
                    <a:pt x="79" y="75"/>
                    <a:pt x="79" y="75"/>
                  </a:cubicBezTo>
                  <a:lnTo>
                    <a:pt x="83" y="75"/>
                  </a:lnTo>
                  <a:close/>
                  <a:moveTo>
                    <a:pt x="2" y="99"/>
                  </a:moveTo>
                  <a:cubicBezTo>
                    <a:pt x="11" y="102"/>
                    <a:pt x="11" y="102"/>
                    <a:pt x="11" y="102"/>
                  </a:cubicBezTo>
                  <a:cubicBezTo>
                    <a:pt x="6" y="92"/>
                    <a:pt x="4" y="82"/>
                    <a:pt x="4" y="71"/>
                  </a:cubicBezTo>
                  <a:cubicBezTo>
                    <a:pt x="4" y="32"/>
                    <a:pt x="36" y="0"/>
                    <a:pt x="75" y="0"/>
                  </a:cubicBezTo>
                  <a:cubicBezTo>
                    <a:pt x="114" y="0"/>
                    <a:pt x="146" y="32"/>
                    <a:pt x="146" y="71"/>
                  </a:cubicBezTo>
                  <a:cubicBezTo>
                    <a:pt x="146" y="110"/>
                    <a:pt x="114" y="142"/>
                    <a:pt x="75" y="142"/>
                  </a:cubicBezTo>
                  <a:cubicBezTo>
                    <a:pt x="60" y="142"/>
                    <a:pt x="46" y="138"/>
                    <a:pt x="34" y="130"/>
                  </a:cubicBezTo>
                  <a:cubicBezTo>
                    <a:pt x="39" y="123"/>
                    <a:pt x="39" y="123"/>
                    <a:pt x="39" y="123"/>
                  </a:cubicBezTo>
                  <a:cubicBezTo>
                    <a:pt x="50" y="130"/>
                    <a:pt x="62" y="134"/>
                    <a:pt x="75" y="134"/>
                  </a:cubicBezTo>
                  <a:cubicBezTo>
                    <a:pt x="110" y="134"/>
                    <a:pt x="138" y="106"/>
                    <a:pt x="138" y="71"/>
                  </a:cubicBezTo>
                  <a:cubicBezTo>
                    <a:pt x="138" y="37"/>
                    <a:pt x="110" y="8"/>
                    <a:pt x="75" y="8"/>
                  </a:cubicBezTo>
                  <a:cubicBezTo>
                    <a:pt x="40" y="8"/>
                    <a:pt x="12" y="37"/>
                    <a:pt x="12" y="71"/>
                  </a:cubicBezTo>
                  <a:cubicBezTo>
                    <a:pt x="12" y="81"/>
                    <a:pt x="14" y="90"/>
                    <a:pt x="18" y="98"/>
                  </a:cubicBezTo>
                  <a:cubicBezTo>
                    <a:pt x="21" y="90"/>
                    <a:pt x="21" y="90"/>
                    <a:pt x="21" y="90"/>
                  </a:cubicBezTo>
                  <a:cubicBezTo>
                    <a:pt x="28" y="92"/>
                    <a:pt x="28" y="92"/>
                    <a:pt x="28" y="92"/>
                  </a:cubicBezTo>
                  <a:cubicBezTo>
                    <a:pt x="21" y="114"/>
                    <a:pt x="21" y="114"/>
                    <a:pt x="21" y="114"/>
                  </a:cubicBezTo>
                  <a:cubicBezTo>
                    <a:pt x="0" y="107"/>
                    <a:pt x="0" y="107"/>
                    <a:pt x="0" y="107"/>
                  </a:cubicBezTo>
                  <a:lnTo>
                    <a:pt x="2" y="9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5" name="TextBox 124"/>
            <p:cNvSpPr txBox="1"/>
            <p:nvPr/>
          </p:nvSpPr>
          <p:spPr>
            <a:xfrm>
              <a:off x="4357121" y="5379331"/>
              <a:ext cx="1753425" cy="546256"/>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Reduced</a:t>
              </a:r>
              <a:br>
                <a:rPr lang="en-US" sz="1600" dirty="0">
                  <a:latin typeface="Segoe UI"/>
                </a:rPr>
              </a:br>
              <a:r>
                <a:rPr lang="en-US" sz="1600" dirty="0">
                  <a:latin typeface="Segoe UI"/>
                </a:rPr>
                <a:t>operations costs </a:t>
              </a:r>
            </a:p>
          </p:txBody>
        </p:sp>
      </p:grpSp>
      <p:grpSp>
        <p:nvGrpSpPr>
          <p:cNvPr id="36" name="Group 35"/>
          <p:cNvGrpSpPr/>
          <p:nvPr/>
        </p:nvGrpSpPr>
        <p:grpSpPr>
          <a:xfrm>
            <a:off x="6439333" y="4505172"/>
            <a:ext cx="1234607" cy="1304413"/>
            <a:chOff x="6568503" y="4595017"/>
            <a:chExt cx="1259542" cy="1330569"/>
          </a:xfrm>
        </p:grpSpPr>
        <p:sp>
          <p:nvSpPr>
            <p:cNvPr id="77" name="Freeform 149"/>
            <p:cNvSpPr>
              <a:spLocks noChangeAspect="1" noEditPoints="1"/>
            </p:cNvSpPr>
            <p:nvPr/>
          </p:nvSpPr>
          <p:spPr bwMode="auto">
            <a:xfrm>
              <a:off x="6895855" y="4595017"/>
              <a:ext cx="604838" cy="731045"/>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8" name="TextBox 127"/>
            <p:cNvSpPr txBox="1"/>
            <p:nvPr/>
          </p:nvSpPr>
          <p:spPr>
            <a:xfrm>
              <a:off x="6568503" y="5379331"/>
              <a:ext cx="1259542"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Backup and</a:t>
              </a:r>
              <a:br>
                <a:rPr lang="en-US" sz="1600" dirty="0">
                  <a:latin typeface="Segoe UI"/>
                </a:rPr>
              </a:br>
              <a:r>
                <a:rPr lang="en-US" sz="1600" dirty="0">
                  <a:latin typeface="Segoe UI"/>
                </a:rPr>
                <a:t>recovery </a:t>
              </a:r>
            </a:p>
          </p:txBody>
        </p:sp>
      </p:grpSp>
      <p:grpSp>
        <p:nvGrpSpPr>
          <p:cNvPr id="39" name="Group 38"/>
          <p:cNvGrpSpPr/>
          <p:nvPr/>
        </p:nvGrpSpPr>
        <p:grpSpPr>
          <a:xfrm>
            <a:off x="10312416" y="4558865"/>
            <a:ext cx="1292315" cy="1250719"/>
            <a:chOff x="10519809" y="4649786"/>
            <a:chExt cx="1318416" cy="1275799"/>
          </a:xfrm>
        </p:grpSpPr>
        <p:sp>
          <p:nvSpPr>
            <p:cNvPr id="24" name="Freeform 21"/>
            <p:cNvSpPr>
              <a:spLocks noChangeAspect="1" noEditPoints="1"/>
            </p:cNvSpPr>
            <p:nvPr/>
          </p:nvSpPr>
          <p:spPr bwMode="auto">
            <a:xfrm>
              <a:off x="10807542" y="4649786"/>
              <a:ext cx="742950" cy="621507"/>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40" name="TextBox 139"/>
            <p:cNvSpPr txBox="1"/>
            <p:nvPr/>
          </p:nvSpPr>
          <p:spPr>
            <a:xfrm>
              <a:off x="10519809" y="5379330"/>
              <a:ext cx="1318416"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pp gallery</a:t>
              </a:r>
              <a:br>
                <a:rPr lang="en-US" sz="1600" dirty="0">
                  <a:latin typeface="Segoe UI"/>
                </a:rPr>
              </a:br>
              <a:r>
                <a:rPr lang="en-US" sz="1600" dirty="0">
                  <a:latin typeface="Segoe UI"/>
                </a:rPr>
                <a:t>marketplace</a:t>
              </a:r>
            </a:p>
          </p:txBody>
        </p:sp>
      </p:grpSp>
      <p:grpSp>
        <p:nvGrpSpPr>
          <p:cNvPr id="29" name="Group 28"/>
          <p:cNvGrpSpPr/>
          <p:nvPr/>
        </p:nvGrpSpPr>
        <p:grpSpPr>
          <a:xfrm>
            <a:off x="401033" y="2617914"/>
            <a:ext cx="1662609" cy="1346605"/>
            <a:chOff x="408247" y="2669912"/>
            <a:chExt cx="1696189" cy="1373607"/>
          </a:xfrm>
        </p:grpSpPr>
        <p:sp>
          <p:nvSpPr>
            <p:cNvPr id="73" name="Freeform 90"/>
            <p:cNvSpPr>
              <a:spLocks noChangeAspect="1" noEditPoints="1"/>
            </p:cNvSpPr>
            <p:nvPr/>
          </p:nvSpPr>
          <p:spPr bwMode="auto">
            <a:xfrm>
              <a:off x="895581" y="2669912"/>
              <a:ext cx="721520" cy="72152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07" name="TextBox 106"/>
            <p:cNvSpPr txBox="1"/>
            <p:nvPr/>
          </p:nvSpPr>
          <p:spPr>
            <a:xfrm>
              <a:off x="408247" y="3497264"/>
              <a:ext cx="1696189" cy="546255"/>
            </a:xfrm>
            <a:prstGeom prst="rect">
              <a:avLst/>
            </a:prstGeom>
            <a:noFill/>
            <a:ln w="0">
              <a:noFill/>
            </a:ln>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Global data</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center footprint </a:t>
              </a:r>
            </a:p>
          </p:txBody>
        </p:sp>
      </p:grpSp>
      <p:grpSp>
        <p:nvGrpSpPr>
          <p:cNvPr id="32" name="Group 31"/>
          <p:cNvGrpSpPr/>
          <p:nvPr/>
        </p:nvGrpSpPr>
        <p:grpSpPr>
          <a:xfrm>
            <a:off x="2352224" y="2702656"/>
            <a:ext cx="1608107" cy="1040263"/>
            <a:chOff x="2398844" y="2756352"/>
            <a:chExt cx="1640584" cy="1061122"/>
          </a:xfrm>
        </p:grpSpPr>
        <p:sp>
          <p:nvSpPr>
            <p:cNvPr id="15" name="Freeform 9"/>
            <p:cNvSpPr>
              <a:spLocks noChangeAspect="1" noEditPoints="1"/>
            </p:cNvSpPr>
            <p:nvPr/>
          </p:nvSpPr>
          <p:spPr bwMode="auto">
            <a:xfrm>
              <a:off x="2826574" y="2756352"/>
              <a:ext cx="785123" cy="548640"/>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38 w 128"/>
                <a:gd name="T45" fmla="*/ 80 h 88"/>
                <a:gd name="T46" fmla="*/ 33 w 128"/>
                <a:gd name="T47" fmla="*/ 74 h 88"/>
                <a:gd name="T48" fmla="*/ 38 w 128"/>
                <a:gd name="T49" fmla="*/ 69 h 88"/>
                <a:gd name="T50" fmla="*/ 43 w 128"/>
                <a:gd name="T51" fmla="*/ 75 h 88"/>
                <a:gd name="T52" fmla="*/ 38 w 128"/>
                <a:gd name="T53" fmla="*/ 80 h 88"/>
                <a:gd name="T54" fmla="*/ 49 w 128"/>
                <a:gd name="T55" fmla="*/ 70 h 88"/>
                <a:gd name="T56" fmla="*/ 44 w 128"/>
                <a:gd name="T57" fmla="*/ 64 h 88"/>
                <a:gd name="T58" fmla="*/ 50 w 128"/>
                <a:gd name="T59" fmla="*/ 59 h 88"/>
                <a:gd name="T60" fmla="*/ 55 w 128"/>
                <a:gd name="T61" fmla="*/ 65 h 88"/>
                <a:gd name="T62" fmla="*/ 49 w 128"/>
                <a:gd name="T63" fmla="*/ 70 h 88"/>
                <a:gd name="T64" fmla="*/ 61 w 128"/>
                <a:gd name="T65" fmla="*/ 60 h 88"/>
                <a:gd name="T66" fmla="*/ 55 w 128"/>
                <a:gd name="T67" fmla="*/ 54 h 88"/>
                <a:gd name="T68" fmla="*/ 61 w 128"/>
                <a:gd name="T69" fmla="*/ 49 h 88"/>
                <a:gd name="T70" fmla="*/ 66 w 128"/>
                <a:gd name="T71" fmla="*/ 55 h 88"/>
                <a:gd name="T72" fmla="*/ 61 w 128"/>
                <a:gd name="T73" fmla="*/ 60 h 88"/>
                <a:gd name="T74" fmla="*/ 72 w 128"/>
                <a:gd name="T75" fmla="*/ 50 h 88"/>
                <a:gd name="T76" fmla="*/ 67 w 128"/>
                <a:gd name="T77" fmla="*/ 44 h 88"/>
                <a:gd name="T78" fmla="*/ 73 w 128"/>
                <a:gd name="T79" fmla="*/ 39 h 88"/>
                <a:gd name="T80" fmla="*/ 78 w 128"/>
                <a:gd name="T81" fmla="*/ 45 h 88"/>
                <a:gd name="T82" fmla="*/ 72 w 128"/>
                <a:gd name="T83" fmla="*/ 50 h 88"/>
                <a:gd name="T84" fmla="*/ 83 w 128"/>
                <a:gd name="T85" fmla="*/ 40 h 88"/>
                <a:gd name="T86" fmla="*/ 78 w 128"/>
                <a:gd name="T87" fmla="*/ 34 h 88"/>
                <a:gd name="T88" fmla="*/ 84 w 128"/>
                <a:gd name="T89" fmla="*/ 29 h 88"/>
                <a:gd name="T90" fmla="*/ 89 w 128"/>
                <a:gd name="T91" fmla="*/ 35 h 88"/>
                <a:gd name="T92" fmla="*/ 83 w 128"/>
                <a:gd name="T9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moveTo>
                    <a:pt x="38" y="80"/>
                  </a:moveTo>
                  <a:cubicBezTo>
                    <a:pt x="33" y="74"/>
                    <a:pt x="33" y="74"/>
                    <a:pt x="33" y="74"/>
                  </a:cubicBezTo>
                  <a:cubicBezTo>
                    <a:pt x="38" y="69"/>
                    <a:pt x="38" y="69"/>
                    <a:pt x="38" y="69"/>
                  </a:cubicBezTo>
                  <a:cubicBezTo>
                    <a:pt x="43" y="75"/>
                    <a:pt x="43" y="75"/>
                    <a:pt x="43" y="75"/>
                  </a:cubicBezTo>
                  <a:lnTo>
                    <a:pt x="38" y="80"/>
                  </a:lnTo>
                  <a:close/>
                  <a:moveTo>
                    <a:pt x="49" y="70"/>
                  </a:moveTo>
                  <a:cubicBezTo>
                    <a:pt x="44" y="64"/>
                    <a:pt x="44" y="64"/>
                    <a:pt x="44" y="64"/>
                  </a:cubicBezTo>
                  <a:cubicBezTo>
                    <a:pt x="50" y="59"/>
                    <a:pt x="50" y="59"/>
                    <a:pt x="50" y="59"/>
                  </a:cubicBezTo>
                  <a:cubicBezTo>
                    <a:pt x="55" y="65"/>
                    <a:pt x="55" y="65"/>
                    <a:pt x="55" y="65"/>
                  </a:cubicBezTo>
                  <a:lnTo>
                    <a:pt x="49" y="70"/>
                  </a:lnTo>
                  <a:close/>
                  <a:moveTo>
                    <a:pt x="61" y="60"/>
                  </a:moveTo>
                  <a:cubicBezTo>
                    <a:pt x="55" y="54"/>
                    <a:pt x="55" y="54"/>
                    <a:pt x="55" y="54"/>
                  </a:cubicBezTo>
                  <a:cubicBezTo>
                    <a:pt x="61" y="49"/>
                    <a:pt x="61" y="49"/>
                    <a:pt x="61" y="49"/>
                  </a:cubicBezTo>
                  <a:cubicBezTo>
                    <a:pt x="66" y="55"/>
                    <a:pt x="66" y="55"/>
                    <a:pt x="66" y="55"/>
                  </a:cubicBezTo>
                  <a:lnTo>
                    <a:pt x="61" y="60"/>
                  </a:lnTo>
                  <a:close/>
                  <a:moveTo>
                    <a:pt x="72" y="50"/>
                  </a:moveTo>
                  <a:cubicBezTo>
                    <a:pt x="67" y="44"/>
                    <a:pt x="67" y="44"/>
                    <a:pt x="67" y="44"/>
                  </a:cubicBezTo>
                  <a:cubicBezTo>
                    <a:pt x="73" y="39"/>
                    <a:pt x="73" y="39"/>
                    <a:pt x="73" y="39"/>
                  </a:cubicBezTo>
                  <a:cubicBezTo>
                    <a:pt x="78" y="45"/>
                    <a:pt x="78" y="45"/>
                    <a:pt x="78" y="45"/>
                  </a:cubicBezTo>
                  <a:lnTo>
                    <a:pt x="72" y="50"/>
                  </a:lnTo>
                  <a:close/>
                  <a:moveTo>
                    <a:pt x="83" y="40"/>
                  </a:moveTo>
                  <a:cubicBezTo>
                    <a:pt x="78" y="34"/>
                    <a:pt x="78" y="34"/>
                    <a:pt x="78" y="34"/>
                  </a:cubicBezTo>
                  <a:cubicBezTo>
                    <a:pt x="84" y="29"/>
                    <a:pt x="84" y="29"/>
                    <a:pt x="84" y="29"/>
                  </a:cubicBezTo>
                  <a:cubicBezTo>
                    <a:pt x="89" y="35"/>
                    <a:pt x="89" y="35"/>
                    <a:pt x="89" y="35"/>
                  </a:cubicBezTo>
                  <a:lnTo>
                    <a:pt x="83" y="4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3" name="TextBox 112"/>
            <p:cNvSpPr txBox="1"/>
            <p:nvPr/>
          </p:nvSpPr>
          <p:spPr>
            <a:xfrm>
              <a:off x="2398844" y="3497261"/>
              <a:ext cx="1640584" cy="320213"/>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ybrid support </a:t>
              </a:r>
            </a:p>
          </p:txBody>
        </p:sp>
      </p:grpSp>
      <p:grpSp>
        <p:nvGrpSpPr>
          <p:cNvPr id="33" name="Group 32"/>
          <p:cNvGrpSpPr/>
          <p:nvPr/>
        </p:nvGrpSpPr>
        <p:grpSpPr>
          <a:xfrm>
            <a:off x="4150704" y="2706624"/>
            <a:ext cx="1960767" cy="1257893"/>
            <a:chOff x="4233649" y="2760400"/>
            <a:chExt cx="2000367" cy="128311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9" name="TextBox 118"/>
            <p:cNvSpPr txBox="1"/>
            <p:nvPr/>
          </p:nvSpPr>
          <p:spPr>
            <a:xfrm>
              <a:off x="4233649" y="3497262"/>
              <a:ext cx="200036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Built-in auto scale</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077058" y="2623751"/>
            <a:ext cx="1959164" cy="1340765"/>
            <a:chOff x="6198909" y="2675866"/>
            <a:chExt cx="1998732" cy="136765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2" name="TextBox 121"/>
            <p:cNvSpPr txBox="1"/>
            <p:nvPr/>
          </p:nvSpPr>
          <p:spPr>
            <a:xfrm>
              <a:off x="6198909" y="3497262"/>
              <a:ext cx="1998732"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igh availability</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094279" y="2626085"/>
            <a:ext cx="1874205" cy="1338431"/>
            <a:chOff x="8256870" y="2678247"/>
            <a:chExt cx="1912057" cy="1365270"/>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1" name="TextBox 130"/>
            <p:cNvSpPr txBox="1"/>
            <p:nvPr/>
          </p:nvSpPr>
          <p:spPr>
            <a:xfrm>
              <a:off x="8256870" y="3497262"/>
              <a:ext cx="191205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NET, Java, PHP,</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Node, and Python </a:t>
              </a:r>
            </a:p>
          </p:txBody>
        </p:sp>
      </p:grpSp>
      <p:grpSp>
        <p:nvGrpSpPr>
          <p:cNvPr id="38" name="Group 37"/>
          <p:cNvGrpSpPr/>
          <p:nvPr/>
        </p:nvGrpSpPr>
        <p:grpSpPr>
          <a:xfrm>
            <a:off x="10323640" y="2638923"/>
            <a:ext cx="1269873" cy="1325592"/>
            <a:chOff x="10531257" y="2691344"/>
            <a:chExt cx="1295521" cy="1352174"/>
          </a:xfrm>
        </p:grpSpPr>
        <p:sp>
          <p:nvSpPr>
            <p:cNvPr id="21" name="Freeform 17"/>
            <p:cNvSpPr>
              <a:spLocks noChangeAspect="1" noEditPoints="1"/>
            </p:cNvSpPr>
            <p:nvPr/>
          </p:nvSpPr>
          <p:spPr bwMode="auto">
            <a:xfrm>
              <a:off x="10780157" y="2691344"/>
              <a:ext cx="797720" cy="678657"/>
            </a:xfrm>
            <a:custGeom>
              <a:avLst/>
              <a:gdLst>
                <a:gd name="T0" fmla="*/ 283 w 335"/>
                <a:gd name="T1" fmla="*/ 102 h 285"/>
                <a:gd name="T2" fmla="*/ 335 w 335"/>
                <a:gd name="T3" fmla="*/ 68 h 285"/>
                <a:gd name="T4" fmla="*/ 219 w 335"/>
                <a:gd name="T5" fmla="*/ 0 h 285"/>
                <a:gd name="T6" fmla="*/ 168 w 335"/>
                <a:gd name="T7" fmla="*/ 31 h 285"/>
                <a:gd name="T8" fmla="*/ 116 w 335"/>
                <a:gd name="T9" fmla="*/ 0 h 285"/>
                <a:gd name="T10" fmla="*/ 0 w 335"/>
                <a:gd name="T11" fmla="*/ 68 h 285"/>
                <a:gd name="T12" fmla="*/ 54 w 335"/>
                <a:gd name="T13" fmla="*/ 102 h 285"/>
                <a:gd name="T14" fmla="*/ 4 w 335"/>
                <a:gd name="T15" fmla="*/ 143 h 285"/>
                <a:gd name="T16" fmla="*/ 60 w 335"/>
                <a:gd name="T17" fmla="*/ 178 h 285"/>
                <a:gd name="T18" fmla="*/ 60 w 335"/>
                <a:gd name="T19" fmla="*/ 221 h 285"/>
                <a:gd name="T20" fmla="*/ 168 w 335"/>
                <a:gd name="T21" fmla="*/ 285 h 285"/>
                <a:gd name="T22" fmla="*/ 277 w 335"/>
                <a:gd name="T23" fmla="*/ 221 h 285"/>
                <a:gd name="T24" fmla="*/ 277 w 335"/>
                <a:gd name="T25" fmla="*/ 178 h 285"/>
                <a:gd name="T26" fmla="*/ 335 w 335"/>
                <a:gd name="T27" fmla="*/ 143 h 285"/>
                <a:gd name="T28" fmla="*/ 283 w 335"/>
                <a:gd name="T29" fmla="*/ 102 h 285"/>
                <a:gd name="T30" fmla="*/ 168 w 335"/>
                <a:gd name="T31" fmla="*/ 49 h 285"/>
                <a:gd name="T32" fmla="*/ 254 w 335"/>
                <a:gd name="T33" fmla="*/ 100 h 285"/>
                <a:gd name="T34" fmla="*/ 168 w 335"/>
                <a:gd name="T35" fmla="*/ 150 h 285"/>
                <a:gd name="T36" fmla="*/ 83 w 335"/>
                <a:gd name="T37" fmla="*/ 100 h 285"/>
                <a:gd name="T38" fmla="*/ 168 w 335"/>
                <a:gd name="T39" fmla="*/ 49 h 285"/>
                <a:gd name="T40" fmla="*/ 269 w 335"/>
                <a:gd name="T41" fmla="*/ 109 h 285"/>
                <a:gd name="T42" fmla="*/ 308 w 335"/>
                <a:gd name="T43" fmla="*/ 141 h 285"/>
                <a:gd name="T44" fmla="*/ 221 w 335"/>
                <a:gd name="T45" fmla="*/ 191 h 285"/>
                <a:gd name="T46" fmla="*/ 182 w 335"/>
                <a:gd name="T47" fmla="*/ 160 h 285"/>
                <a:gd name="T48" fmla="*/ 269 w 335"/>
                <a:gd name="T49" fmla="*/ 109 h 285"/>
                <a:gd name="T50" fmla="*/ 219 w 335"/>
                <a:gd name="T51" fmla="*/ 20 h 285"/>
                <a:gd name="T52" fmla="*/ 306 w 335"/>
                <a:gd name="T53" fmla="*/ 68 h 285"/>
                <a:gd name="T54" fmla="*/ 269 w 335"/>
                <a:gd name="T55" fmla="*/ 90 h 285"/>
                <a:gd name="T56" fmla="*/ 184 w 335"/>
                <a:gd name="T57" fmla="*/ 41 h 285"/>
                <a:gd name="T58" fmla="*/ 219 w 335"/>
                <a:gd name="T59" fmla="*/ 20 h 285"/>
                <a:gd name="T60" fmla="*/ 116 w 335"/>
                <a:gd name="T61" fmla="*/ 20 h 285"/>
                <a:gd name="T62" fmla="*/ 153 w 335"/>
                <a:gd name="T63" fmla="*/ 41 h 285"/>
                <a:gd name="T64" fmla="*/ 68 w 335"/>
                <a:gd name="T65" fmla="*/ 90 h 285"/>
                <a:gd name="T66" fmla="*/ 31 w 335"/>
                <a:gd name="T67" fmla="*/ 68 h 285"/>
                <a:gd name="T68" fmla="*/ 116 w 335"/>
                <a:gd name="T69" fmla="*/ 20 h 285"/>
                <a:gd name="T70" fmla="*/ 68 w 335"/>
                <a:gd name="T71" fmla="*/ 109 h 285"/>
                <a:gd name="T72" fmla="*/ 155 w 335"/>
                <a:gd name="T73" fmla="*/ 160 h 285"/>
                <a:gd name="T74" fmla="*/ 110 w 335"/>
                <a:gd name="T75" fmla="*/ 191 h 285"/>
                <a:gd name="T76" fmla="*/ 29 w 335"/>
                <a:gd name="T77" fmla="*/ 141 h 285"/>
                <a:gd name="T78" fmla="*/ 68 w 335"/>
                <a:gd name="T79" fmla="*/ 109 h 285"/>
                <a:gd name="T80" fmla="*/ 75 w 335"/>
                <a:gd name="T81" fmla="*/ 187 h 285"/>
                <a:gd name="T82" fmla="*/ 112 w 335"/>
                <a:gd name="T83" fmla="*/ 211 h 285"/>
                <a:gd name="T84" fmla="*/ 161 w 335"/>
                <a:gd name="T85" fmla="*/ 174 h 285"/>
                <a:gd name="T86" fmla="*/ 161 w 335"/>
                <a:gd name="T87" fmla="*/ 262 h 285"/>
                <a:gd name="T88" fmla="*/ 75 w 335"/>
                <a:gd name="T89" fmla="*/ 211 h 285"/>
                <a:gd name="T90" fmla="*/ 75 w 335"/>
                <a:gd name="T91" fmla="*/ 187 h 285"/>
                <a:gd name="T92" fmla="*/ 261 w 335"/>
                <a:gd name="T93" fmla="*/ 211 h 285"/>
                <a:gd name="T94" fmla="*/ 176 w 335"/>
                <a:gd name="T95" fmla="*/ 262 h 285"/>
                <a:gd name="T96" fmla="*/ 176 w 335"/>
                <a:gd name="T97" fmla="*/ 176 h 285"/>
                <a:gd name="T98" fmla="*/ 219 w 335"/>
                <a:gd name="T99" fmla="*/ 211 h 285"/>
                <a:gd name="T100" fmla="*/ 261 w 335"/>
                <a:gd name="T101" fmla="*/ 185 h 285"/>
                <a:gd name="T102" fmla="*/ 261 w 335"/>
                <a:gd name="T103" fmla="*/ 2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5" h="285">
                  <a:moveTo>
                    <a:pt x="283" y="102"/>
                  </a:moveTo>
                  <a:lnTo>
                    <a:pt x="335" y="68"/>
                  </a:lnTo>
                  <a:lnTo>
                    <a:pt x="219" y="0"/>
                  </a:lnTo>
                  <a:lnTo>
                    <a:pt x="168" y="31"/>
                  </a:lnTo>
                  <a:lnTo>
                    <a:pt x="116" y="0"/>
                  </a:lnTo>
                  <a:lnTo>
                    <a:pt x="0" y="68"/>
                  </a:lnTo>
                  <a:lnTo>
                    <a:pt x="54" y="102"/>
                  </a:lnTo>
                  <a:lnTo>
                    <a:pt x="4" y="143"/>
                  </a:lnTo>
                  <a:lnTo>
                    <a:pt x="60" y="178"/>
                  </a:lnTo>
                  <a:lnTo>
                    <a:pt x="60" y="221"/>
                  </a:lnTo>
                  <a:lnTo>
                    <a:pt x="168" y="285"/>
                  </a:lnTo>
                  <a:lnTo>
                    <a:pt x="277" y="221"/>
                  </a:lnTo>
                  <a:lnTo>
                    <a:pt x="277" y="178"/>
                  </a:lnTo>
                  <a:lnTo>
                    <a:pt x="335" y="143"/>
                  </a:lnTo>
                  <a:lnTo>
                    <a:pt x="283" y="102"/>
                  </a:lnTo>
                  <a:close/>
                  <a:moveTo>
                    <a:pt x="168" y="49"/>
                  </a:moveTo>
                  <a:lnTo>
                    <a:pt x="254" y="100"/>
                  </a:lnTo>
                  <a:lnTo>
                    <a:pt x="168" y="150"/>
                  </a:lnTo>
                  <a:lnTo>
                    <a:pt x="83" y="100"/>
                  </a:lnTo>
                  <a:lnTo>
                    <a:pt x="168" y="49"/>
                  </a:lnTo>
                  <a:close/>
                  <a:moveTo>
                    <a:pt x="269" y="109"/>
                  </a:moveTo>
                  <a:lnTo>
                    <a:pt x="308" y="141"/>
                  </a:lnTo>
                  <a:lnTo>
                    <a:pt x="221" y="191"/>
                  </a:lnTo>
                  <a:lnTo>
                    <a:pt x="182" y="160"/>
                  </a:lnTo>
                  <a:lnTo>
                    <a:pt x="269" y="109"/>
                  </a:lnTo>
                  <a:close/>
                  <a:moveTo>
                    <a:pt x="219" y="20"/>
                  </a:moveTo>
                  <a:lnTo>
                    <a:pt x="306" y="68"/>
                  </a:lnTo>
                  <a:lnTo>
                    <a:pt x="269" y="90"/>
                  </a:lnTo>
                  <a:lnTo>
                    <a:pt x="184" y="41"/>
                  </a:lnTo>
                  <a:lnTo>
                    <a:pt x="219" y="20"/>
                  </a:lnTo>
                  <a:close/>
                  <a:moveTo>
                    <a:pt x="116" y="20"/>
                  </a:moveTo>
                  <a:lnTo>
                    <a:pt x="153" y="41"/>
                  </a:lnTo>
                  <a:lnTo>
                    <a:pt x="68" y="90"/>
                  </a:lnTo>
                  <a:lnTo>
                    <a:pt x="31" y="68"/>
                  </a:lnTo>
                  <a:lnTo>
                    <a:pt x="116" y="20"/>
                  </a:lnTo>
                  <a:close/>
                  <a:moveTo>
                    <a:pt x="68" y="109"/>
                  </a:moveTo>
                  <a:lnTo>
                    <a:pt x="155" y="160"/>
                  </a:lnTo>
                  <a:lnTo>
                    <a:pt x="110" y="191"/>
                  </a:lnTo>
                  <a:lnTo>
                    <a:pt x="29" y="141"/>
                  </a:lnTo>
                  <a:lnTo>
                    <a:pt x="68" y="109"/>
                  </a:lnTo>
                  <a:close/>
                  <a:moveTo>
                    <a:pt x="75" y="187"/>
                  </a:moveTo>
                  <a:lnTo>
                    <a:pt x="112" y="211"/>
                  </a:lnTo>
                  <a:lnTo>
                    <a:pt x="161" y="174"/>
                  </a:lnTo>
                  <a:lnTo>
                    <a:pt x="161" y="262"/>
                  </a:lnTo>
                  <a:lnTo>
                    <a:pt x="75" y="211"/>
                  </a:lnTo>
                  <a:lnTo>
                    <a:pt x="75" y="187"/>
                  </a:lnTo>
                  <a:close/>
                  <a:moveTo>
                    <a:pt x="261" y="211"/>
                  </a:moveTo>
                  <a:lnTo>
                    <a:pt x="176" y="262"/>
                  </a:lnTo>
                  <a:lnTo>
                    <a:pt x="176" y="176"/>
                  </a:lnTo>
                  <a:lnTo>
                    <a:pt x="219" y="211"/>
                  </a:lnTo>
                  <a:lnTo>
                    <a:pt x="261" y="185"/>
                  </a:lnTo>
                  <a:lnTo>
                    <a:pt x="261" y="211"/>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4" name="TextBox 133"/>
            <p:cNvSpPr txBox="1"/>
            <p:nvPr/>
          </p:nvSpPr>
          <p:spPr>
            <a:xfrm>
              <a:off x="10531257" y="3497262"/>
              <a:ext cx="1295521" cy="546256"/>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taging and</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deployment</a:t>
              </a:r>
            </a:p>
          </p:txBody>
        </p:sp>
      </p:grpSp>
      <p:grpSp>
        <p:nvGrpSpPr>
          <p:cNvPr id="51" name="Group 50"/>
          <p:cNvGrpSpPr/>
          <p:nvPr/>
        </p:nvGrpSpPr>
        <p:grpSpPr>
          <a:xfrm>
            <a:off x="8112697" y="4562173"/>
            <a:ext cx="1832130" cy="1238528"/>
            <a:chOff x="6022194" y="5687270"/>
            <a:chExt cx="1869134" cy="1263363"/>
          </a:xfrm>
        </p:grpSpPr>
        <p:grpSp>
          <p:nvGrpSpPr>
            <p:cNvPr id="52" name="Group 51"/>
            <p:cNvGrpSpPr>
              <a:grpSpLocks noChangeAspect="1"/>
            </p:cNvGrpSpPr>
            <p:nvPr/>
          </p:nvGrpSpPr>
          <p:grpSpPr>
            <a:xfrm>
              <a:off x="6625323" y="5687270"/>
              <a:ext cx="731520" cy="633908"/>
              <a:chOff x="6596640" y="681108"/>
              <a:chExt cx="1125281" cy="876566"/>
            </a:xfrm>
          </p:grpSpPr>
          <p:pic>
            <p:nvPicPr>
              <p:cNvPr id="54" name="Picture 53"/>
              <p:cNvPicPr>
                <a:picLocks noChangeAspect="1"/>
              </p:cNvPicPr>
              <p:nvPr/>
            </p:nvPicPr>
            <p:blipFill>
              <a:blip r:embed="rId3">
                <a:biLevel thresh="25000"/>
              </a:blip>
              <a:stretch>
                <a:fillRect/>
              </a:stretch>
            </p:blipFill>
            <p:spPr>
              <a:xfrm>
                <a:off x="7156959" y="804575"/>
                <a:ext cx="564962" cy="561271"/>
              </a:xfrm>
              <a:prstGeom prst="rect">
                <a:avLst/>
              </a:prstGeom>
            </p:spPr>
          </p:pic>
          <p:pic>
            <p:nvPicPr>
              <p:cNvPr id="55" name="Picture 54"/>
              <p:cNvPicPr>
                <a:picLocks noChangeAspect="1"/>
              </p:cNvPicPr>
              <p:nvPr/>
            </p:nvPicPr>
            <p:blipFill>
              <a:blip r:embed="rId4">
                <a:biLevel thresh="25000"/>
              </a:blip>
              <a:stretch>
                <a:fillRect/>
              </a:stretch>
            </p:blipFill>
            <p:spPr>
              <a:xfrm>
                <a:off x="6596640" y="681108"/>
                <a:ext cx="509844" cy="506511"/>
              </a:xfrm>
              <a:prstGeom prst="rect">
                <a:avLst/>
              </a:prstGeom>
            </p:spPr>
          </p:pic>
          <p:pic>
            <p:nvPicPr>
              <p:cNvPr id="56" name="Picture 55"/>
              <p:cNvPicPr>
                <a:picLocks noChangeAspect="1"/>
              </p:cNvPicPr>
              <p:nvPr/>
            </p:nvPicPr>
            <p:blipFill>
              <a:blip r:embed="rId5">
                <a:biLevel thresh="25000"/>
              </a:blip>
              <a:stretch>
                <a:fillRect/>
              </a:stretch>
            </p:blipFill>
            <p:spPr>
              <a:xfrm>
                <a:off x="6842261" y="1023783"/>
                <a:ext cx="468505" cy="533891"/>
              </a:xfrm>
              <a:prstGeom prst="rect">
                <a:avLst/>
              </a:prstGeom>
            </p:spPr>
          </p:pic>
        </p:grpSp>
        <p:sp>
          <p:nvSpPr>
            <p:cNvPr id="53" name="TextBox 52"/>
            <p:cNvSpPr txBox="1"/>
            <p:nvPr/>
          </p:nvSpPr>
          <p:spPr>
            <a:xfrm>
              <a:off x="6022194" y="6178335"/>
              <a:ext cx="1869134" cy="772298"/>
            </a:xfrm>
            <a:prstGeom prst="rect">
              <a:avLst/>
            </a:prstGeom>
            <a:noFill/>
          </p:spPr>
          <p:txBody>
            <a:bodyPr wrap="square" lIns="91427" tIns="45713" rIns="91427" bIns="45713" rtlCol="0" anchor="b">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ource code control integration</a:t>
              </a:r>
            </a:p>
          </p:txBody>
        </p:sp>
      </p:grpSp>
      <p:sp>
        <p:nvSpPr>
          <p:cNvPr id="7" name="Freeform 5"/>
          <p:cNvSpPr>
            <a:spLocks noChangeAspect="1" noEditPoints="1"/>
          </p:cNvSpPr>
          <p:nvPr/>
        </p:nvSpPr>
        <p:spPr bwMode="auto">
          <a:xfrm>
            <a:off x="273907" y="314416"/>
            <a:ext cx="896425" cy="896552"/>
          </a:xfrm>
          <a:custGeom>
            <a:avLst/>
            <a:gdLst>
              <a:gd name="T0" fmla="*/ 0 w 1458"/>
              <a:gd name="T1" fmla="*/ 0 h 1456"/>
              <a:gd name="T2" fmla="*/ 688 w 1458"/>
              <a:gd name="T3" fmla="*/ 0 h 1456"/>
              <a:gd name="T4" fmla="*/ 688 w 1458"/>
              <a:gd name="T5" fmla="*/ 330 h 1456"/>
              <a:gd name="T6" fmla="*/ 587 w 1458"/>
              <a:gd name="T7" fmla="*/ 381 h 1456"/>
              <a:gd name="T8" fmla="*/ 587 w 1458"/>
              <a:gd name="T9" fmla="*/ 101 h 1456"/>
              <a:gd name="T10" fmla="*/ 101 w 1458"/>
              <a:gd name="T11" fmla="*/ 101 h 1456"/>
              <a:gd name="T12" fmla="*/ 101 w 1458"/>
              <a:gd name="T13" fmla="*/ 587 h 1456"/>
              <a:gd name="T14" fmla="*/ 259 w 1458"/>
              <a:gd name="T15" fmla="*/ 587 h 1456"/>
              <a:gd name="T16" fmla="*/ 199 w 1458"/>
              <a:gd name="T17" fmla="*/ 688 h 1456"/>
              <a:gd name="T18" fmla="*/ 0 w 1458"/>
              <a:gd name="T19" fmla="*/ 688 h 1456"/>
              <a:gd name="T20" fmla="*/ 0 w 1458"/>
              <a:gd name="T21" fmla="*/ 0 h 1456"/>
              <a:gd name="T22" fmla="*/ 770 w 1458"/>
              <a:gd name="T23" fmla="*/ 0 h 1456"/>
              <a:gd name="T24" fmla="*/ 1458 w 1458"/>
              <a:gd name="T25" fmla="*/ 0 h 1456"/>
              <a:gd name="T26" fmla="*/ 1458 w 1458"/>
              <a:gd name="T27" fmla="*/ 688 h 1456"/>
              <a:gd name="T28" fmla="*/ 1155 w 1458"/>
              <a:gd name="T29" fmla="*/ 688 h 1456"/>
              <a:gd name="T30" fmla="*/ 1155 w 1458"/>
              <a:gd name="T31" fmla="*/ 673 h 1456"/>
              <a:gd name="T32" fmla="*/ 1145 w 1458"/>
              <a:gd name="T33" fmla="*/ 587 h 1456"/>
              <a:gd name="T34" fmla="*/ 1357 w 1458"/>
              <a:gd name="T35" fmla="*/ 587 h 1456"/>
              <a:gd name="T36" fmla="*/ 1357 w 1458"/>
              <a:gd name="T37" fmla="*/ 101 h 1456"/>
              <a:gd name="T38" fmla="*/ 871 w 1458"/>
              <a:gd name="T39" fmla="*/ 101 h 1456"/>
              <a:gd name="T40" fmla="*/ 871 w 1458"/>
              <a:gd name="T41" fmla="*/ 322 h 1456"/>
              <a:gd name="T42" fmla="*/ 796 w 1458"/>
              <a:gd name="T43" fmla="*/ 314 h 1456"/>
              <a:gd name="T44" fmla="*/ 770 w 1458"/>
              <a:gd name="T45" fmla="*/ 314 h 1456"/>
              <a:gd name="T46" fmla="*/ 770 w 1458"/>
              <a:gd name="T47" fmla="*/ 0 h 1456"/>
              <a:gd name="T48" fmla="*/ 0 w 1458"/>
              <a:gd name="T49" fmla="*/ 768 h 1456"/>
              <a:gd name="T50" fmla="*/ 185 w 1458"/>
              <a:gd name="T51" fmla="*/ 768 h 1456"/>
              <a:gd name="T52" fmla="*/ 185 w 1458"/>
              <a:gd name="T53" fmla="*/ 774 h 1456"/>
              <a:gd name="T54" fmla="*/ 202 w 1458"/>
              <a:gd name="T55" fmla="*/ 869 h 1456"/>
              <a:gd name="T56" fmla="*/ 101 w 1458"/>
              <a:gd name="T57" fmla="*/ 869 h 1456"/>
              <a:gd name="T58" fmla="*/ 101 w 1458"/>
              <a:gd name="T59" fmla="*/ 1355 h 1456"/>
              <a:gd name="T60" fmla="*/ 587 w 1458"/>
              <a:gd name="T61" fmla="*/ 1355 h 1456"/>
              <a:gd name="T62" fmla="*/ 587 w 1458"/>
              <a:gd name="T63" fmla="*/ 1049 h 1456"/>
              <a:gd name="T64" fmla="*/ 688 w 1458"/>
              <a:gd name="T65" fmla="*/ 1049 h 1456"/>
              <a:gd name="T66" fmla="*/ 688 w 1458"/>
              <a:gd name="T67" fmla="*/ 1456 h 1456"/>
              <a:gd name="T68" fmla="*/ 0 w 1458"/>
              <a:gd name="T69" fmla="*/ 1456 h 1456"/>
              <a:gd name="T70" fmla="*/ 0 w 1458"/>
              <a:gd name="T71" fmla="*/ 768 h 1456"/>
              <a:gd name="T72" fmla="*/ 1243 w 1458"/>
              <a:gd name="T73" fmla="*/ 768 h 1456"/>
              <a:gd name="T74" fmla="*/ 1458 w 1458"/>
              <a:gd name="T75" fmla="*/ 768 h 1456"/>
              <a:gd name="T76" fmla="*/ 1458 w 1458"/>
              <a:gd name="T77" fmla="*/ 1456 h 1456"/>
              <a:gd name="T78" fmla="*/ 770 w 1458"/>
              <a:gd name="T79" fmla="*/ 1456 h 1456"/>
              <a:gd name="T80" fmla="*/ 770 w 1458"/>
              <a:gd name="T81" fmla="*/ 1049 h 1456"/>
              <a:gd name="T82" fmla="*/ 871 w 1458"/>
              <a:gd name="T83" fmla="*/ 1049 h 1456"/>
              <a:gd name="T84" fmla="*/ 871 w 1458"/>
              <a:gd name="T85" fmla="*/ 1355 h 1456"/>
              <a:gd name="T86" fmla="*/ 1357 w 1458"/>
              <a:gd name="T87" fmla="*/ 1355 h 1456"/>
              <a:gd name="T88" fmla="*/ 1357 w 1458"/>
              <a:gd name="T89" fmla="*/ 869 h 1456"/>
              <a:gd name="T90" fmla="*/ 1269 w 1458"/>
              <a:gd name="T91" fmla="*/ 869 h 1456"/>
              <a:gd name="T92" fmla="*/ 1269 w 1458"/>
              <a:gd name="T93" fmla="*/ 862 h 1456"/>
              <a:gd name="T94" fmla="*/ 1243 w 1458"/>
              <a:gd name="T95" fmla="*/ 768 h 1456"/>
              <a:gd name="T96" fmla="*/ 1192 w 1458"/>
              <a:gd name="T97" fmla="*/ 864 h 1456"/>
              <a:gd name="T98" fmla="*/ 1084 w 1458"/>
              <a:gd name="T99" fmla="*/ 972 h 1456"/>
              <a:gd name="T100" fmla="*/ 459 w 1458"/>
              <a:gd name="T101" fmla="*/ 972 h 1456"/>
              <a:gd name="T102" fmla="*/ 261 w 1458"/>
              <a:gd name="T103" fmla="*/ 774 h 1456"/>
              <a:gd name="T104" fmla="*/ 459 w 1458"/>
              <a:gd name="T105" fmla="*/ 576 h 1456"/>
              <a:gd name="T106" fmla="*/ 523 w 1458"/>
              <a:gd name="T107" fmla="*/ 586 h 1456"/>
              <a:gd name="T108" fmla="*/ 795 w 1458"/>
              <a:gd name="T109" fmla="*/ 387 h 1456"/>
              <a:gd name="T110" fmla="*/ 1081 w 1458"/>
              <a:gd name="T111" fmla="*/ 673 h 1456"/>
              <a:gd name="T112" fmla="*/ 1069 w 1458"/>
              <a:gd name="T113" fmla="*/ 757 h 1456"/>
              <a:gd name="T114" fmla="*/ 1084 w 1458"/>
              <a:gd name="T115" fmla="*/ 756 h 1456"/>
              <a:gd name="T116" fmla="*/ 1192 w 1458"/>
              <a:gd name="T117" fmla="*/ 864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58" h="1456">
                <a:moveTo>
                  <a:pt x="0" y="0"/>
                </a:moveTo>
                <a:cubicBezTo>
                  <a:pt x="688" y="0"/>
                  <a:pt x="688" y="0"/>
                  <a:pt x="688" y="0"/>
                </a:cubicBezTo>
                <a:cubicBezTo>
                  <a:pt x="688" y="330"/>
                  <a:pt x="688" y="330"/>
                  <a:pt x="688" y="330"/>
                </a:cubicBezTo>
                <a:cubicBezTo>
                  <a:pt x="652" y="342"/>
                  <a:pt x="618" y="359"/>
                  <a:pt x="587" y="381"/>
                </a:cubicBezTo>
                <a:cubicBezTo>
                  <a:pt x="587" y="101"/>
                  <a:pt x="587" y="101"/>
                  <a:pt x="587" y="101"/>
                </a:cubicBezTo>
                <a:cubicBezTo>
                  <a:pt x="101" y="101"/>
                  <a:pt x="101" y="101"/>
                  <a:pt x="101" y="101"/>
                </a:cubicBezTo>
                <a:cubicBezTo>
                  <a:pt x="101" y="587"/>
                  <a:pt x="101" y="587"/>
                  <a:pt x="101" y="587"/>
                </a:cubicBezTo>
                <a:cubicBezTo>
                  <a:pt x="259" y="587"/>
                  <a:pt x="259" y="587"/>
                  <a:pt x="259" y="587"/>
                </a:cubicBezTo>
                <a:cubicBezTo>
                  <a:pt x="232" y="616"/>
                  <a:pt x="211" y="650"/>
                  <a:pt x="199" y="688"/>
                </a:cubicBezTo>
                <a:cubicBezTo>
                  <a:pt x="0" y="688"/>
                  <a:pt x="0" y="688"/>
                  <a:pt x="0" y="688"/>
                </a:cubicBezTo>
                <a:cubicBezTo>
                  <a:pt x="0" y="0"/>
                  <a:pt x="0" y="0"/>
                  <a:pt x="0" y="0"/>
                </a:cubicBezTo>
                <a:moveTo>
                  <a:pt x="770" y="0"/>
                </a:moveTo>
                <a:cubicBezTo>
                  <a:pt x="1458" y="0"/>
                  <a:pt x="1458" y="0"/>
                  <a:pt x="1458" y="0"/>
                </a:cubicBezTo>
                <a:cubicBezTo>
                  <a:pt x="1458" y="688"/>
                  <a:pt x="1458" y="688"/>
                  <a:pt x="1458" y="688"/>
                </a:cubicBezTo>
                <a:cubicBezTo>
                  <a:pt x="1155" y="688"/>
                  <a:pt x="1155" y="688"/>
                  <a:pt x="1155" y="688"/>
                </a:cubicBezTo>
                <a:cubicBezTo>
                  <a:pt x="1155" y="683"/>
                  <a:pt x="1155" y="678"/>
                  <a:pt x="1155" y="673"/>
                </a:cubicBezTo>
                <a:cubicBezTo>
                  <a:pt x="1155" y="643"/>
                  <a:pt x="1151" y="614"/>
                  <a:pt x="1145" y="587"/>
                </a:cubicBezTo>
                <a:cubicBezTo>
                  <a:pt x="1357" y="587"/>
                  <a:pt x="1357" y="587"/>
                  <a:pt x="1357" y="587"/>
                </a:cubicBezTo>
                <a:cubicBezTo>
                  <a:pt x="1357" y="101"/>
                  <a:pt x="1357" y="101"/>
                  <a:pt x="1357" y="101"/>
                </a:cubicBezTo>
                <a:cubicBezTo>
                  <a:pt x="871" y="101"/>
                  <a:pt x="871" y="101"/>
                  <a:pt x="871" y="101"/>
                </a:cubicBezTo>
                <a:cubicBezTo>
                  <a:pt x="871" y="322"/>
                  <a:pt x="871" y="322"/>
                  <a:pt x="871" y="322"/>
                </a:cubicBezTo>
                <a:cubicBezTo>
                  <a:pt x="847" y="316"/>
                  <a:pt x="822" y="314"/>
                  <a:pt x="796" y="314"/>
                </a:cubicBezTo>
                <a:cubicBezTo>
                  <a:pt x="787" y="314"/>
                  <a:pt x="779" y="314"/>
                  <a:pt x="770" y="314"/>
                </a:cubicBezTo>
                <a:cubicBezTo>
                  <a:pt x="770" y="0"/>
                  <a:pt x="770" y="0"/>
                  <a:pt x="770" y="0"/>
                </a:cubicBezTo>
                <a:moveTo>
                  <a:pt x="0" y="768"/>
                </a:moveTo>
                <a:cubicBezTo>
                  <a:pt x="185" y="768"/>
                  <a:pt x="185" y="768"/>
                  <a:pt x="185" y="768"/>
                </a:cubicBezTo>
                <a:cubicBezTo>
                  <a:pt x="185" y="770"/>
                  <a:pt x="185" y="772"/>
                  <a:pt x="185" y="774"/>
                </a:cubicBezTo>
                <a:cubicBezTo>
                  <a:pt x="185" y="807"/>
                  <a:pt x="191" y="839"/>
                  <a:pt x="202" y="869"/>
                </a:cubicBezTo>
                <a:cubicBezTo>
                  <a:pt x="101" y="869"/>
                  <a:pt x="101" y="869"/>
                  <a:pt x="101" y="869"/>
                </a:cubicBezTo>
                <a:cubicBezTo>
                  <a:pt x="101" y="1355"/>
                  <a:pt x="101" y="1355"/>
                  <a:pt x="101" y="1355"/>
                </a:cubicBezTo>
                <a:cubicBezTo>
                  <a:pt x="587" y="1355"/>
                  <a:pt x="587" y="1355"/>
                  <a:pt x="587" y="1355"/>
                </a:cubicBezTo>
                <a:cubicBezTo>
                  <a:pt x="587" y="1049"/>
                  <a:pt x="587" y="1049"/>
                  <a:pt x="587" y="1049"/>
                </a:cubicBezTo>
                <a:cubicBezTo>
                  <a:pt x="688" y="1049"/>
                  <a:pt x="688" y="1049"/>
                  <a:pt x="688" y="1049"/>
                </a:cubicBezTo>
                <a:cubicBezTo>
                  <a:pt x="688" y="1456"/>
                  <a:pt x="688" y="1456"/>
                  <a:pt x="688" y="1456"/>
                </a:cubicBezTo>
                <a:cubicBezTo>
                  <a:pt x="0" y="1456"/>
                  <a:pt x="0" y="1456"/>
                  <a:pt x="0" y="1456"/>
                </a:cubicBezTo>
                <a:cubicBezTo>
                  <a:pt x="0" y="768"/>
                  <a:pt x="0" y="768"/>
                  <a:pt x="0" y="768"/>
                </a:cubicBezTo>
                <a:moveTo>
                  <a:pt x="1243" y="768"/>
                </a:moveTo>
                <a:cubicBezTo>
                  <a:pt x="1458" y="768"/>
                  <a:pt x="1458" y="768"/>
                  <a:pt x="1458" y="768"/>
                </a:cubicBezTo>
                <a:cubicBezTo>
                  <a:pt x="1458" y="1456"/>
                  <a:pt x="1458" y="1456"/>
                  <a:pt x="1458" y="1456"/>
                </a:cubicBezTo>
                <a:cubicBezTo>
                  <a:pt x="770" y="1456"/>
                  <a:pt x="770" y="1456"/>
                  <a:pt x="770" y="1456"/>
                </a:cubicBezTo>
                <a:cubicBezTo>
                  <a:pt x="770" y="1049"/>
                  <a:pt x="770" y="1049"/>
                  <a:pt x="770" y="1049"/>
                </a:cubicBezTo>
                <a:cubicBezTo>
                  <a:pt x="871" y="1049"/>
                  <a:pt x="871" y="1049"/>
                  <a:pt x="871" y="1049"/>
                </a:cubicBezTo>
                <a:cubicBezTo>
                  <a:pt x="871" y="1355"/>
                  <a:pt x="871" y="1355"/>
                  <a:pt x="871" y="1355"/>
                </a:cubicBezTo>
                <a:cubicBezTo>
                  <a:pt x="1357" y="1355"/>
                  <a:pt x="1357" y="1355"/>
                  <a:pt x="1357" y="1355"/>
                </a:cubicBezTo>
                <a:cubicBezTo>
                  <a:pt x="1357" y="869"/>
                  <a:pt x="1357" y="869"/>
                  <a:pt x="1357" y="869"/>
                </a:cubicBezTo>
                <a:cubicBezTo>
                  <a:pt x="1269" y="869"/>
                  <a:pt x="1269" y="869"/>
                  <a:pt x="1269" y="869"/>
                </a:cubicBezTo>
                <a:cubicBezTo>
                  <a:pt x="1269" y="867"/>
                  <a:pt x="1269" y="865"/>
                  <a:pt x="1269" y="862"/>
                </a:cubicBezTo>
                <a:cubicBezTo>
                  <a:pt x="1269" y="828"/>
                  <a:pt x="1260" y="796"/>
                  <a:pt x="1243" y="768"/>
                </a:cubicBezTo>
                <a:moveTo>
                  <a:pt x="1192" y="864"/>
                </a:moveTo>
                <a:cubicBezTo>
                  <a:pt x="1192" y="923"/>
                  <a:pt x="1144" y="972"/>
                  <a:pt x="1084" y="972"/>
                </a:cubicBezTo>
                <a:cubicBezTo>
                  <a:pt x="1055" y="972"/>
                  <a:pt x="488" y="972"/>
                  <a:pt x="459" y="972"/>
                </a:cubicBezTo>
                <a:cubicBezTo>
                  <a:pt x="351" y="972"/>
                  <a:pt x="261" y="883"/>
                  <a:pt x="261" y="774"/>
                </a:cubicBezTo>
                <a:cubicBezTo>
                  <a:pt x="261" y="665"/>
                  <a:pt x="351" y="576"/>
                  <a:pt x="459" y="576"/>
                </a:cubicBezTo>
                <a:cubicBezTo>
                  <a:pt x="481" y="576"/>
                  <a:pt x="503" y="579"/>
                  <a:pt x="523" y="586"/>
                </a:cubicBezTo>
                <a:cubicBezTo>
                  <a:pt x="560" y="471"/>
                  <a:pt x="669" y="387"/>
                  <a:pt x="795" y="387"/>
                </a:cubicBezTo>
                <a:cubicBezTo>
                  <a:pt x="952" y="387"/>
                  <a:pt x="1081" y="516"/>
                  <a:pt x="1081" y="673"/>
                </a:cubicBezTo>
                <a:cubicBezTo>
                  <a:pt x="1081" y="702"/>
                  <a:pt x="1077" y="730"/>
                  <a:pt x="1069" y="757"/>
                </a:cubicBezTo>
                <a:cubicBezTo>
                  <a:pt x="1074" y="756"/>
                  <a:pt x="1079" y="756"/>
                  <a:pt x="1084" y="756"/>
                </a:cubicBezTo>
                <a:cubicBezTo>
                  <a:pt x="1144" y="756"/>
                  <a:pt x="1192" y="805"/>
                  <a:pt x="1192" y="864"/>
                </a:cubicBezTo>
              </a:path>
            </a:pathLst>
          </a:custGeom>
          <a:solidFill>
            <a:schemeClr val="accent4"/>
          </a:solidFill>
          <a:ln>
            <a:noFill/>
          </a:ln>
        </p:spPr>
        <p:txBody>
          <a:bodyPr vert="horz" wrap="square" lIns="89623" tIns="44810" rIns="89623" bIns="44810" numCol="1" anchor="t" anchorCtr="0" compatLnSpc="1">
            <a:prstTxWarp prst="textNoShape">
              <a:avLst/>
            </a:prstTxWarp>
          </a:bodyPr>
          <a:lstStyle/>
          <a:p>
            <a:pPr defTabSz="914195"/>
            <a:endParaRPr lang="en-US">
              <a:solidFill>
                <a:srgbClr val="353535"/>
              </a:solidFill>
            </a:endParaRPr>
          </a:p>
        </p:txBody>
      </p:sp>
    </p:spTree>
    <p:extLst>
      <p:ext uri="{BB962C8B-B14F-4D97-AF65-F5344CB8AC3E}">
        <p14:creationId xmlns:p14="http://schemas.microsoft.com/office/powerpoint/2010/main" val="273816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8421" y="1533946"/>
            <a:ext cx="9015161" cy="4669427"/>
          </a:xfrm>
          <a:prstGeom prst="rect">
            <a:avLst/>
          </a:prstGeom>
        </p:spPr>
      </p:pic>
    </p:spTree>
    <p:extLst>
      <p:ext uri="{BB962C8B-B14F-4D97-AF65-F5344CB8AC3E}">
        <p14:creationId xmlns:p14="http://schemas.microsoft.com/office/powerpoint/2010/main" val="329230184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roved Scalability</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7140" y="1506447"/>
            <a:ext cx="9657723" cy="5216471"/>
          </a:xfrm>
          <a:prstGeom prst="rect">
            <a:avLst/>
          </a:prstGeom>
        </p:spPr>
      </p:pic>
    </p:spTree>
    <p:extLst>
      <p:ext uri="{BB962C8B-B14F-4D97-AF65-F5344CB8AC3E}">
        <p14:creationId xmlns:p14="http://schemas.microsoft.com/office/powerpoint/2010/main" val="13345211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3"/>
          <p:cNvSpPr>
            <a:spLocks noChangeAspect="1" noChangeArrowheads="1" noTextEdit="1"/>
          </p:cNvSpPr>
          <p:nvPr/>
        </p:nvSpPr>
        <p:spPr bwMode="auto">
          <a:xfrm>
            <a:off x="4266364" y="727353"/>
            <a:ext cx="10522788" cy="6134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 name="Rectangle 6"/>
          <p:cNvSpPr>
            <a:spLocks noChangeArrowheads="1"/>
          </p:cNvSpPr>
          <p:nvPr/>
        </p:nvSpPr>
        <p:spPr bwMode="auto">
          <a:xfrm>
            <a:off x="4191845" y="730524"/>
            <a:ext cx="10961966" cy="6134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 name="Rectangle 7"/>
          <p:cNvSpPr>
            <a:spLocks noChangeArrowheads="1"/>
          </p:cNvSpPr>
          <p:nvPr/>
        </p:nvSpPr>
        <p:spPr bwMode="auto">
          <a:xfrm>
            <a:off x="33149" y="28951"/>
            <a:ext cx="12151070" cy="6795531"/>
          </a:xfrm>
          <a:prstGeom prst="rect">
            <a:avLst/>
          </a:prstGeom>
          <a:solidFill>
            <a:srgbClr val="00188F"/>
          </a:solidFill>
          <a:ln>
            <a:noFill/>
          </a:ln>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1" name="Rectangle 8"/>
          <p:cNvSpPr>
            <a:spLocks noChangeArrowheads="1"/>
          </p:cNvSpPr>
          <p:nvPr/>
        </p:nvSpPr>
        <p:spPr bwMode="auto">
          <a:xfrm>
            <a:off x="4599313" y="1373242"/>
            <a:ext cx="8220681" cy="6134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2" name="Freeform 9"/>
          <p:cNvSpPr>
            <a:spLocks/>
          </p:cNvSpPr>
          <p:nvPr/>
        </p:nvSpPr>
        <p:spPr bwMode="auto">
          <a:xfrm>
            <a:off x="5943795" y="5608042"/>
            <a:ext cx="1198618" cy="153791"/>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3" name="Freeform 10"/>
          <p:cNvSpPr>
            <a:spLocks/>
          </p:cNvSpPr>
          <p:nvPr/>
        </p:nvSpPr>
        <p:spPr bwMode="auto">
          <a:xfrm>
            <a:off x="9916992" y="3020549"/>
            <a:ext cx="1303259" cy="692853"/>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4" name="Freeform 11"/>
          <p:cNvSpPr>
            <a:spLocks/>
          </p:cNvSpPr>
          <p:nvPr/>
        </p:nvSpPr>
        <p:spPr bwMode="auto">
          <a:xfrm>
            <a:off x="8737399" y="5600115"/>
            <a:ext cx="2798361" cy="153791"/>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5" name="Freeform 12"/>
          <p:cNvSpPr>
            <a:spLocks/>
          </p:cNvSpPr>
          <p:nvPr/>
        </p:nvSpPr>
        <p:spPr bwMode="auto">
          <a:xfrm>
            <a:off x="7086922" y="6001239"/>
            <a:ext cx="1880372" cy="20452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6" name="Freeform 13"/>
          <p:cNvSpPr>
            <a:spLocks/>
          </p:cNvSpPr>
          <p:nvPr/>
        </p:nvSpPr>
        <p:spPr bwMode="auto">
          <a:xfrm>
            <a:off x="6714335" y="4556873"/>
            <a:ext cx="61834" cy="144279"/>
          </a:xfrm>
          <a:custGeom>
            <a:avLst/>
            <a:gdLst>
              <a:gd name="T0" fmla="*/ 0 w 39"/>
              <a:gd name="T1" fmla="*/ 0 h 91"/>
              <a:gd name="T2" fmla="*/ 1 w 39"/>
              <a:gd name="T3" fmla="*/ 18 h 91"/>
              <a:gd name="T4" fmla="*/ 0 w 39"/>
              <a:gd name="T5" fmla="*/ 91 h 91"/>
              <a:gd name="T6" fmla="*/ 22 w 39"/>
              <a:gd name="T7" fmla="*/ 91 h 91"/>
              <a:gd name="T8" fmla="*/ 39 w 39"/>
              <a:gd name="T9" fmla="*/ 20 h 91"/>
              <a:gd name="T10" fmla="*/ 39 w 39"/>
              <a:gd name="T11" fmla="*/ 0 h 91"/>
              <a:gd name="T12" fmla="*/ 0 w 3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39" h="91">
                <a:moveTo>
                  <a:pt x="0" y="0"/>
                </a:moveTo>
                <a:lnTo>
                  <a:pt x="1" y="18"/>
                </a:lnTo>
                <a:lnTo>
                  <a:pt x="0" y="91"/>
                </a:lnTo>
                <a:lnTo>
                  <a:pt x="22" y="91"/>
                </a:lnTo>
                <a:lnTo>
                  <a:pt x="39" y="20"/>
                </a:lnTo>
                <a:lnTo>
                  <a:pt x="39"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7" name="Freeform 14"/>
          <p:cNvSpPr>
            <a:spLocks/>
          </p:cNvSpPr>
          <p:nvPr/>
        </p:nvSpPr>
        <p:spPr bwMode="auto">
          <a:xfrm>
            <a:off x="6749214" y="4556873"/>
            <a:ext cx="26954" cy="144279"/>
          </a:xfrm>
          <a:custGeom>
            <a:avLst/>
            <a:gdLst>
              <a:gd name="T0" fmla="*/ 9 w 17"/>
              <a:gd name="T1" fmla="*/ 0 h 91"/>
              <a:gd name="T2" fmla="*/ 9 w 17"/>
              <a:gd name="T3" fmla="*/ 20 h 91"/>
              <a:gd name="T4" fmla="*/ 0 w 17"/>
              <a:gd name="T5" fmla="*/ 91 h 91"/>
              <a:gd name="T6" fmla="*/ 17 w 17"/>
              <a:gd name="T7" fmla="*/ 20 h 91"/>
              <a:gd name="T8" fmla="*/ 17 w 17"/>
              <a:gd name="T9" fmla="*/ 0 h 91"/>
              <a:gd name="T10" fmla="*/ 9 w 17"/>
              <a:gd name="T11" fmla="*/ 0 h 91"/>
            </a:gdLst>
            <a:ahLst/>
            <a:cxnLst>
              <a:cxn ang="0">
                <a:pos x="T0" y="T1"/>
              </a:cxn>
              <a:cxn ang="0">
                <a:pos x="T2" y="T3"/>
              </a:cxn>
              <a:cxn ang="0">
                <a:pos x="T4" y="T5"/>
              </a:cxn>
              <a:cxn ang="0">
                <a:pos x="T6" y="T7"/>
              </a:cxn>
              <a:cxn ang="0">
                <a:pos x="T8" y="T9"/>
              </a:cxn>
              <a:cxn ang="0">
                <a:pos x="T10" y="T11"/>
              </a:cxn>
            </a:cxnLst>
            <a:rect l="0" t="0" r="r" b="b"/>
            <a:pathLst>
              <a:path w="17" h="91">
                <a:moveTo>
                  <a:pt x="9" y="0"/>
                </a:moveTo>
                <a:lnTo>
                  <a:pt x="9" y="20"/>
                </a:lnTo>
                <a:lnTo>
                  <a:pt x="0" y="91"/>
                </a:lnTo>
                <a:lnTo>
                  <a:pt x="17" y="20"/>
                </a:lnTo>
                <a:lnTo>
                  <a:pt x="17" y="0"/>
                </a:lnTo>
                <a:lnTo>
                  <a:pt x="9"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8" name="Freeform 15"/>
          <p:cNvSpPr>
            <a:spLocks/>
          </p:cNvSpPr>
          <p:nvPr/>
        </p:nvSpPr>
        <p:spPr bwMode="auto">
          <a:xfrm>
            <a:off x="6714335" y="4556873"/>
            <a:ext cx="12684" cy="144279"/>
          </a:xfrm>
          <a:custGeom>
            <a:avLst/>
            <a:gdLst>
              <a:gd name="T0" fmla="*/ 0 w 8"/>
              <a:gd name="T1" fmla="*/ 0 h 91"/>
              <a:gd name="T2" fmla="*/ 1 w 8"/>
              <a:gd name="T3" fmla="*/ 18 h 91"/>
              <a:gd name="T4" fmla="*/ 0 w 8"/>
              <a:gd name="T5" fmla="*/ 91 h 91"/>
              <a:gd name="T6" fmla="*/ 8 w 8"/>
              <a:gd name="T7" fmla="*/ 18 h 91"/>
              <a:gd name="T8" fmla="*/ 6 w 8"/>
              <a:gd name="T9" fmla="*/ 0 h 91"/>
              <a:gd name="T10" fmla="*/ 0 w 8"/>
              <a:gd name="T11" fmla="*/ 0 h 91"/>
            </a:gdLst>
            <a:ahLst/>
            <a:cxnLst>
              <a:cxn ang="0">
                <a:pos x="T0" y="T1"/>
              </a:cxn>
              <a:cxn ang="0">
                <a:pos x="T2" y="T3"/>
              </a:cxn>
              <a:cxn ang="0">
                <a:pos x="T4" y="T5"/>
              </a:cxn>
              <a:cxn ang="0">
                <a:pos x="T6" y="T7"/>
              </a:cxn>
              <a:cxn ang="0">
                <a:pos x="T8" y="T9"/>
              </a:cxn>
              <a:cxn ang="0">
                <a:pos x="T10" y="T11"/>
              </a:cxn>
            </a:cxnLst>
            <a:rect l="0" t="0" r="r" b="b"/>
            <a:pathLst>
              <a:path w="8" h="91">
                <a:moveTo>
                  <a:pt x="0" y="0"/>
                </a:moveTo>
                <a:lnTo>
                  <a:pt x="1" y="18"/>
                </a:lnTo>
                <a:lnTo>
                  <a:pt x="0" y="91"/>
                </a:lnTo>
                <a:lnTo>
                  <a:pt x="8" y="18"/>
                </a:lnTo>
                <a:lnTo>
                  <a:pt x="6"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9" name="Freeform 16"/>
          <p:cNvSpPr>
            <a:spLocks/>
          </p:cNvSpPr>
          <p:nvPr/>
        </p:nvSpPr>
        <p:spPr bwMode="auto">
          <a:xfrm>
            <a:off x="6715921" y="4672613"/>
            <a:ext cx="61834" cy="87201"/>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0" name="Freeform 17"/>
          <p:cNvSpPr>
            <a:spLocks/>
          </p:cNvSpPr>
          <p:nvPr/>
        </p:nvSpPr>
        <p:spPr bwMode="auto">
          <a:xfrm>
            <a:off x="6715921" y="4753472"/>
            <a:ext cx="61834" cy="11098"/>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1" name="Freeform 18"/>
          <p:cNvSpPr>
            <a:spLocks/>
          </p:cNvSpPr>
          <p:nvPr/>
        </p:nvSpPr>
        <p:spPr bwMode="auto">
          <a:xfrm>
            <a:off x="6755557" y="4713836"/>
            <a:ext cx="22197" cy="45979"/>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2" name="Freeform 19"/>
          <p:cNvSpPr>
            <a:spLocks/>
          </p:cNvSpPr>
          <p:nvPr/>
        </p:nvSpPr>
        <p:spPr bwMode="auto">
          <a:xfrm>
            <a:off x="6644574" y="4556873"/>
            <a:ext cx="61834" cy="144279"/>
          </a:xfrm>
          <a:custGeom>
            <a:avLst/>
            <a:gdLst>
              <a:gd name="T0" fmla="*/ 0 w 39"/>
              <a:gd name="T1" fmla="*/ 0 h 91"/>
              <a:gd name="T2" fmla="*/ 2 w 39"/>
              <a:gd name="T3" fmla="*/ 18 h 91"/>
              <a:gd name="T4" fmla="*/ 2 w 39"/>
              <a:gd name="T5" fmla="*/ 91 h 91"/>
              <a:gd name="T6" fmla="*/ 24 w 39"/>
              <a:gd name="T7" fmla="*/ 91 h 91"/>
              <a:gd name="T8" fmla="*/ 39 w 39"/>
              <a:gd name="T9" fmla="*/ 20 h 91"/>
              <a:gd name="T10" fmla="*/ 39 w 39"/>
              <a:gd name="T11" fmla="*/ 0 h 91"/>
              <a:gd name="T12" fmla="*/ 0 w 3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39" h="91">
                <a:moveTo>
                  <a:pt x="0" y="0"/>
                </a:moveTo>
                <a:lnTo>
                  <a:pt x="2" y="18"/>
                </a:lnTo>
                <a:lnTo>
                  <a:pt x="2" y="91"/>
                </a:lnTo>
                <a:lnTo>
                  <a:pt x="24" y="91"/>
                </a:lnTo>
                <a:lnTo>
                  <a:pt x="39" y="20"/>
                </a:lnTo>
                <a:lnTo>
                  <a:pt x="39"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3" name="Freeform 20"/>
          <p:cNvSpPr>
            <a:spLocks/>
          </p:cNvSpPr>
          <p:nvPr/>
        </p:nvSpPr>
        <p:spPr bwMode="auto">
          <a:xfrm>
            <a:off x="6682626" y="4556873"/>
            <a:ext cx="23782" cy="144279"/>
          </a:xfrm>
          <a:custGeom>
            <a:avLst/>
            <a:gdLst>
              <a:gd name="T0" fmla="*/ 8 w 15"/>
              <a:gd name="T1" fmla="*/ 0 h 91"/>
              <a:gd name="T2" fmla="*/ 8 w 15"/>
              <a:gd name="T3" fmla="*/ 20 h 91"/>
              <a:gd name="T4" fmla="*/ 0 w 15"/>
              <a:gd name="T5" fmla="*/ 91 h 91"/>
              <a:gd name="T6" fmla="*/ 15 w 15"/>
              <a:gd name="T7" fmla="*/ 20 h 91"/>
              <a:gd name="T8" fmla="*/ 15 w 15"/>
              <a:gd name="T9" fmla="*/ 0 h 91"/>
              <a:gd name="T10" fmla="*/ 8 w 15"/>
              <a:gd name="T11" fmla="*/ 0 h 91"/>
            </a:gdLst>
            <a:ahLst/>
            <a:cxnLst>
              <a:cxn ang="0">
                <a:pos x="T0" y="T1"/>
              </a:cxn>
              <a:cxn ang="0">
                <a:pos x="T2" y="T3"/>
              </a:cxn>
              <a:cxn ang="0">
                <a:pos x="T4" y="T5"/>
              </a:cxn>
              <a:cxn ang="0">
                <a:pos x="T6" y="T7"/>
              </a:cxn>
              <a:cxn ang="0">
                <a:pos x="T8" y="T9"/>
              </a:cxn>
              <a:cxn ang="0">
                <a:pos x="T10" y="T11"/>
              </a:cxn>
            </a:cxnLst>
            <a:rect l="0" t="0" r="r" b="b"/>
            <a:pathLst>
              <a:path w="15" h="91">
                <a:moveTo>
                  <a:pt x="8" y="0"/>
                </a:moveTo>
                <a:lnTo>
                  <a:pt x="8" y="20"/>
                </a:lnTo>
                <a:lnTo>
                  <a:pt x="0" y="91"/>
                </a:lnTo>
                <a:lnTo>
                  <a:pt x="15" y="20"/>
                </a:lnTo>
                <a:lnTo>
                  <a:pt x="15" y="0"/>
                </a:lnTo>
                <a:lnTo>
                  <a:pt x="8"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4" name="Freeform 21"/>
          <p:cNvSpPr>
            <a:spLocks/>
          </p:cNvSpPr>
          <p:nvPr/>
        </p:nvSpPr>
        <p:spPr bwMode="auto">
          <a:xfrm>
            <a:off x="6644574" y="4556873"/>
            <a:ext cx="12684" cy="144279"/>
          </a:xfrm>
          <a:custGeom>
            <a:avLst/>
            <a:gdLst>
              <a:gd name="T0" fmla="*/ 0 w 8"/>
              <a:gd name="T1" fmla="*/ 0 h 91"/>
              <a:gd name="T2" fmla="*/ 2 w 8"/>
              <a:gd name="T3" fmla="*/ 18 h 91"/>
              <a:gd name="T4" fmla="*/ 2 w 8"/>
              <a:gd name="T5" fmla="*/ 91 h 91"/>
              <a:gd name="T6" fmla="*/ 8 w 8"/>
              <a:gd name="T7" fmla="*/ 18 h 91"/>
              <a:gd name="T8" fmla="*/ 8 w 8"/>
              <a:gd name="T9" fmla="*/ 0 h 91"/>
              <a:gd name="T10" fmla="*/ 0 w 8"/>
              <a:gd name="T11" fmla="*/ 0 h 91"/>
            </a:gdLst>
            <a:ahLst/>
            <a:cxnLst>
              <a:cxn ang="0">
                <a:pos x="T0" y="T1"/>
              </a:cxn>
              <a:cxn ang="0">
                <a:pos x="T2" y="T3"/>
              </a:cxn>
              <a:cxn ang="0">
                <a:pos x="T4" y="T5"/>
              </a:cxn>
              <a:cxn ang="0">
                <a:pos x="T6" y="T7"/>
              </a:cxn>
              <a:cxn ang="0">
                <a:pos x="T8" y="T9"/>
              </a:cxn>
              <a:cxn ang="0">
                <a:pos x="T10" y="T11"/>
              </a:cxn>
            </a:cxnLst>
            <a:rect l="0" t="0" r="r" b="b"/>
            <a:pathLst>
              <a:path w="8" h="91">
                <a:moveTo>
                  <a:pt x="0" y="0"/>
                </a:moveTo>
                <a:lnTo>
                  <a:pt x="2" y="18"/>
                </a:lnTo>
                <a:lnTo>
                  <a:pt x="2" y="91"/>
                </a:lnTo>
                <a:lnTo>
                  <a:pt x="8" y="18"/>
                </a:lnTo>
                <a:lnTo>
                  <a:pt x="8"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5" name="Freeform 22"/>
          <p:cNvSpPr>
            <a:spLocks/>
          </p:cNvSpPr>
          <p:nvPr/>
        </p:nvSpPr>
        <p:spPr bwMode="auto">
          <a:xfrm>
            <a:off x="6647745" y="4672613"/>
            <a:ext cx="63419" cy="87201"/>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6" name="Freeform 23"/>
          <p:cNvSpPr>
            <a:spLocks/>
          </p:cNvSpPr>
          <p:nvPr/>
        </p:nvSpPr>
        <p:spPr bwMode="auto">
          <a:xfrm>
            <a:off x="6647745" y="4753472"/>
            <a:ext cx="61834" cy="11098"/>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7" name="Freeform 24"/>
          <p:cNvSpPr>
            <a:spLocks/>
          </p:cNvSpPr>
          <p:nvPr/>
        </p:nvSpPr>
        <p:spPr bwMode="auto">
          <a:xfrm>
            <a:off x="6688967" y="4713836"/>
            <a:ext cx="20612" cy="45979"/>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8" name="Freeform 25"/>
          <p:cNvSpPr>
            <a:spLocks/>
          </p:cNvSpPr>
          <p:nvPr/>
        </p:nvSpPr>
        <p:spPr bwMode="auto">
          <a:xfrm>
            <a:off x="6749216" y="4222339"/>
            <a:ext cx="19025" cy="3171"/>
          </a:xfrm>
          <a:custGeom>
            <a:avLst/>
            <a:gdLst>
              <a:gd name="T0" fmla="*/ 0 w 12"/>
              <a:gd name="T1" fmla="*/ 0 h 2"/>
              <a:gd name="T2" fmla="*/ 12 w 12"/>
              <a:gd name="T3" fmla="*/ 2 h 2"/>
              <a:gd name="T4" fmla="*/ 12 w 12"/>
              <a:gd name="T5" fmla="*/ 2 h 2"/>
              <a:gd name="T6" fmla="*/ 0 w 12"/>
              <a:gd name="T7" fmla="*/ 0 h 2"/>
              <a:gd name="T8" fmla="*/ 0 w 12"/>
              <a:gd name="T9" fmla="*/ 0 h 2"/>
            </a:gdLst>
            <a:ahLst/>
            <a:cxnLst>
              <a:cxn ang="0">
                <a:pos x="T0" y="T1"/>
              </a:cxn>
              <a:cxn ang="0">
                <a:pos x="T2" y="T3"/>
              </a:cxn>
              <a:cxn ang="0">
                <a:pos x="T4" y="T5"/>
              </a:cxn>
              <a:cxn ang="0">
                <a:pos x="T6" y="T7"/>
              </a:cxn>
              <a:cxn ang="0">
                <a:pos x="T8" y="T9"/>
              </a:cxn>
            </a:cxnLst>
            <a:rect l="0" t="0" r="r" b="b"/>
            <a:pathLst>
              <a:path w="12" h="2">
                <a:moveTo>
                  <a:pt x="0" y="0"/>
                </a:moveTo>
                <a:lnTo>
                  <a:pt x="12" y="2"/>
                </a:lnTo>
                <a:lnTo>
                  <a:pt x="12" y="2"/>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9" name="Freeform 26"/>
          <p:cNvSpPr>
            <a:spLocks/>
          </p:cNvSpPr>
          <p:nvPr/>
        </p:nvSpPr>
        <p:spPr bwMode="auto">
          <a:xfrm>
            <a:off x="6727019" y="4176360"/>
            <a:ext cx="0" cy="3171"/>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0" name="Freeform 27"/>
          <p:cNvSpPr>
            <a:spLocks/>
          </p:cNvSpPr>
          <p:nvPr/>
        </p:nvSpPr>
        <p:spPr bwMode="auto">
          <a:xfrm>
            <a:off x="6693725" y="4163675"/>
            <a:ext cx="91957" cy="107812"/>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1" name="Freeform 28"/>
          <p:cNvSpPr>
            <a:spLocks/>
          </p:cNvSpPr>
          <p:nvPr/>
        </p:nvSpPr>
        <p:spPr bwMode="auto">
          <a:xfrm>
            <a:off x="6709580" y="4252462"/>
            <a:ext cx="30125" cy="7928"/>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2" name="Freeform 29"/>
          <p:cNvSpPr>
            <a:spLocks/>
          </p:cNvSpPr>
          <p:nvPr/>
        </p:nvSpPr>
        <p:spPr bwMode="auto">
          <a:xfrm>
            <a:off x="6757144" y="4225509"/>
            <a:ext cx="11098" cy="9513"/>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3" name="Freeform 30"/>
          <p:cNvSpPr>
            <a:spLocks/>
          </p:cNvSpPr>
          <p:nvPr/>
        </p:nvSpPr>
        <p:spPr bwMode="auto">
          <a:xfrm>
            <a:off x="6763485" y="4225510"/>
            <a:ext cx="4757" cy="7928"/>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4" name="Freeform 31"/>
          <p:cNvSpPr>
            <a:spLocks/>
          </p:cNvSpPr>
          <p:nvPr/>
        </p:nvSpPr>
        <p:spPr bwMode="auto">
          <a:xfrm>
            <a:off x="6757143" y="4189043"/>
            <a:ext cx="7928" cy="7928"/>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5" name="Freeform 32"/>
          <p:cNvSpPr>
            <a:spLocks/>
          </p:cNvSpPr>
          <p:nvPr/>
        </p:nvSpPr>
        <p:spPr bwMode="auto">
          <a:xfrm>
            <a:off x="6681041" y="4252463"/>
            <a:ext cx="66590" cy="41222"/>
          </a:xfrm>
          <a:custGeom>
            <a:avLst/>
            <a:gdLst>
              <a:gd name="T0" fmla="*/ 0 w 42"/>
              <a:gd name="T1" fmla="*/ 15 h 26"/>
              <a:gd name="T2" fmla="*/ 5 w 42"/>
              <a:gd name="T3" fmla="*/ 0 h 26"/>
              <a:gd name="T4" fmla="*/ 42 w 42"/>
              <a:gd name="T5" fmla="*/ 9 h 26"/>
              <a:gd name="T6" fmla="*/ 42 w 42"/>
              <a:gd name="T7" fmla="*/ 26 h 26"/>
              <a:gd name="T8" fmla="*/ 0 w 42"/>
              <a:gd name="T9" fmla="*/ 15 h 26"/>
            </a:gdLst>
            <a:ahLst/>
            <a:cxnLst>
              <a:cxn ang="0">
                <a:pos x="T0" y="T1"/>
              </a:cxn>
              <a:cxn ang="0">
                <a:pos x="T2" y="T3"/>
              </a:cxn>
              <a:cxn ang="0">
                <a:pos x="T4" y="T5"/>
              </a:cxn>
              <a:cxn ang="0">
                <a:pos x="T6" y="T7"/>
              </a:cxn>
              <a:cxn ang="0">
                <a:pos x="T8" y="T9"/>
              </a:cxn>
            </a:cxnLst>
            <a:rect l="0" t="0" r="r" b="b"/>
            <a:pathLst>
              <a:path w="42" h="26">
                <a:moveTo>
                  <a:pt x="0" y="15"/>
                </a:moveTo>
                <a:lnTo>
                  <a:pt x="5" y="0"/>
                </a:lnTo>
                <a:lnTo>
                  <a:pt x="42" y="9"/>
                </a:lnTo>
                <a:lnTo>
                  <a:pt x="42" y="26"/>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6" name="Freeform 33"/>
          <p:cNvSpPr>
            <a:spLocks/>
          </p:cNvSpPr>
          <p:nvPr/>
        </p:nvSpPr>
        <p:spPr bwMode="auto">
          <a:xfrm>
            <a:off x="6611280" y="4260390"/>
            <a:ext cx="190257" cy="309168"/>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7" name="Freeform 34"/>
          <p:cNvSpPr>
            <a:spLocks/>
          </p:cNvSpPr>
          <p:nvPr/>
        </p:nvSpPr>
        <p:spPr bwMode="auto">
          <a:xfrm>
            <a:off x="6611280" y="4268317"/>
            <a:ext cx="128424" cy="296484"/>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8" name="Freeform 35"/>
          <p:cNvSpPr>
            <a:spLocks/>
          </p:cNvSpPr>
          <p:nvPr/>
        </p:nvSpPr>
        <p:spPr bwMode="auto">
          <a:xfrm>
            <a:off x="6674700" y="4396741"/>
            <a:ext cx="163304" cy="10464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9" name="Freeform 36"/>
          <p:cNvSpPr>
            <a:spLocks/>
          </p:cNvSpPr>
          <p:nvPr/>
        </p:nvSpPr>
        <p:spPr bwMode="auto">
          <a:xfrm>
            <a:off x="6803122" y="4485526"/>
            <a:ext cx="36467" cy="38051"/>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0" name="Freeform 37"/>
          <p:cNvSpPr>
            <a:spLocks/>
          </p:cNvSpPr>
          <p:nvPr/>
        </p:nvSpPr>
        <p:spPr bwMode="auto">
          <a:xfrm>
            <a:off x="6806293" y="4477600"/>
            <a:ext cx="28539" cy="11098"/>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1" name="Freeform 38"/>
          <p:cNvSpPr>
            <a:spLocks/>
          </p:cNvSpPr>
          <p:nvPr/>
        </p:nvSpPr>
        <p:spPr bwMode="auto">
          <a:xfrm>
            <a:off x="6681041" y="4298441"/>
            <a:ext cx="145863" cy="215624"/>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2" name="Freeform 39"/>
          <p:cNvSpPr>
            <a:spLocks/>
          </p:cNvSpPr>
          <p:nvPr/>
        </p:nvSpPr>
        <p:spPr bwMode="auto">
          <a:xfrm>
            <a:off x="6681041" y="4304783"/>
            <a:ext cx="130009" cy="209282"/>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3" name="Freeform 40"/>
          <p:cNvSpPr>
            <a:spLocks/>
          </p:cNvSpPr>
          <p:nvPr/>
        </p:nvSpPr>
        <p:spPr bwMode="auto">
          <a:xfrm>
            <a:off x="6636648" y="4109770"/>
            <a:ext cx="136351" cy="136351"/>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4" name="Freeform 41"/>
          <p:cNvSpPr>
            <a:spLocks/>
          </p:cNvSpPr>
          <p:nvPr/>
        </p:nvSpPr>
        <p:spPr bwMode="auto">
          <a:xfrm>
            <a:off x="6620793" y="4087574"/>
            <a:ext cx="155376" cy="118911"/>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5" name="Freeform 42"/>
          <p:cNvSpPr>
            <a:spLocks/>
          </p:cNvSpPr>
          <p:nvPr/>
        </p:nvSpPr>
        <p:spPr bwMode="auto">
          <a:xfrm>
            <a:off x="6668356" y="4087573"/>
            <a:ext cx="107812" cy="71346"/>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6" name="Freeform 43"/>
          <p:cNvSpPr>
            <a:spLocks/>
          </p:cNvSpPr>
          <p:nvPr/>
        </p:nvSpPr>
        <p:spPr bwMode="auto">
          <a:xfrm>
            <a:off x="6627134" y="4105013"/>
            <a:ext cx="50736" cy="101470"/>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7" name="Freeform 44"/>
          <p:cNvSpPr>
            <a:spLocks/>
          </p:cNvSpPr>
          <p:nvPr/>
        </p:nvSpPr>
        <p:spPr bwMode="auto">
          <a:xfrm>
            <a:off x="6627135" y="4135136"/>
            <a:ext cx="155376" cy="74518"/>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8" name="Freeform 45"/>
          <p:cNvSpPr>
            <a:spLocks noEditPoints="1"/>
          </p:cNvSpPr>
          <p:nvPr/>
        </p:nvSpPr>
        <p:spPr bwMode="auto">
          <a:xfrm>
            <a:off x="6308453" y="4885067"/>
            <a:ext cx="456617" cy="559672"/>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9" name="Freeform 46"/>
          <p:cNvSpPr>
            <a:spLocks/>
          </p:cNvSpPr>
          <p:nvPr/>
        </p:nvSpPr>
        <p:spPr bwMode="auto">
          <a:xfrm>
            <a:off x="6214911" y="5395589"/>
            <a:ext cx="642117" cy="207697"/>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0" name="Freeform 47"/>
          <p:cNvSpPr>
            <a:spLocks/>
          </p:cNvSpPr>
          <p:nvPr/>
        </p:nvSpPr>
        <p:spPr bwMode="auto">
          <a:xfrm>
            <a:off x="6214912" y="5428884"/>
            <a:ext cx="607237" cy="17440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1" name="Freeform 48"/>
          <p:cNvSpPr>
            <a:spLocks/>
          </p:cNvSpPr>
          <p:nvPr/>
        </p:nvSpPr>
        <p:spPr bwMode="auto">
          <a:xfrm>
            <a:off x="6214911" y="5395589"/>
            <a:ext cx="642117" cy="207697"/>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2" name="Oval 49"/>
          <p:cNvSpPr>
            <a:spLocks noChangeArrowheads="1"/>
          </p:cNvSpPr>
          <p:nvPr/>
        </p:nvSpPr>
        <p:spPr bwMode="auto">
          <a:xfrm>
            <a:off x="6275160" y="5520842"/>
            <a:ext cx="161718" cy="163304"/>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3" name="Oval 50"/>
          <p:cNvSpPr>
            <a:spLocks noChangeArrowheads="1"/>
          </p:cNvSpPr>
          <p:nvPr/>
        </p:nvSpPr>
        <p:spPr bwMode="auto">
          <a:xfrm>
            <a:off x="6308454" y="5557308"/>
            <a:ext cx="91957" cy="919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4" name="Freeform 51"/>
          <p:cNvSpPr>
            <a:spLocks/>
          </p:cNvSpPr>
          <p:nvPr/>
        </p:nvSpPr>
        <p:spPr bwMode="auto">
          <a:xfrm>
            <a:off x="6308455" y="5569992"/>
            <a:ext cx="79273" cy="79273"/>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5" name="Oval 52"/>
          <p:cNvSpPr>
            <a:spLocks noChangeArrowheads="1"/>
          </p:cNvSpPr>
          <p:nvPr/>
        </p:nvSpPr>
        <p:spPr bwMode="auto">
          <a:xfrm>
            <a:off x="6636648" y="5520842"/>
            <a:ext cx="161718" cy="163304"/>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6" name="Oval 53"/>
          <p:cNvSpPr>
            <a:spLocks noChangeArrowheads="1"/>
          </p:cNvSpPr>
          <p:nvPr/>
        </p:nvSpPr>
        <p:spPr bwMode="auto">
          <a:xfrm>
            <a:off x="6669943" y="5557308"/>
            <a:ext cx="93543" cy="919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7" name="Freeform 54"/>
          <p:cNvSpPr>
            <a:spLocks/>
          </p:cNvSpPr>
          <p:nvPr/>
        </p:nvSpPr>
        <p:spPr bwMode="auto">
          <a:xfrm>
            <a:off x="6669943" y="5569992"/>
            <a:ext cx="79273" cy="79273"/>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8" name="Freeform 55"/>
          <p:cNvSpPr>
            <a:spLocks noEditPoints="1"/>
          </p:cNvSpPr>
          <p:nvPr/>
        </p:nvSpPr>
        <p:spPr bwMode="auto">
          <a:xfrm>
            <a:off x="6194300" y="4502967"/>
            <a:ext cx="683340" cy="416980"/>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9" name="Freeform 56"/>
          <p:cNvSpPr>
            <a:spLocks/>
          </p:cNvSpPr>
          <p:nvPr/>
        </p:nvSpPr>
        <p:spPr bwMode="auto">
          <a:xfrm>
            <a:off x="6214912" y="4799451"/>
            <a:ext cx="607237" cy="120496"/>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0" name="Freeform 57"/>
          <p:cNvSpPr>
            <a:spLocks/>
          </p:cNvSpPr>
          <p:nvPr/>
        </p:nvSpPr>
        <p:spPr bwMode="auto">
          <a:xfrm>
            <a:off x="6214911" y="4764570"/>
            <a:ext cx="642117" cy="155376"/>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1" name="Freeform 58"/>
          <p:cNvSpPr>
            <a:spLocks/>
          </p:cNvSpPr>
          <p:nvPr/>
        </p:nvSpPr>
        <p:spPr bwMode="auto">
          <a:xfrm>
            <a:off x="10207134" y="4526749"/>
            <a:ext cx="115740" cy="577113"/>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2" name="Freeform 59"/>
          <p:cNvSpPr>
            <a:spLocks/>
          </p:cNvSpPr>
          <p:nvPr/>
        </p:nvSpPr>
        <p:spPr bwMode="auto">
          <a:xfrm>
            <a:off x="10272137" y="4526749"/>
            <a:ext cx="50736" cy="577113"/>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3" name="Freeform 60"/>
          <p:cNvSpPr>
            <a:spLocks/>
          </p:cNvSpPr>
          <p:nvPr/>
        </p:nvSpPr>
        <p:spPr bwMode="auto">
          <a:xfrm>
            <a:off x="10207134" y="4526749"/>
            <a:ext cx="49150" cy="577113"/>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4" name="Freeform 61"/>
          <p:cNvSpPr>
            <a:spLocks/>
          </p:cNvSpPr>
          <p:nvPr/>
        </p:nvSpPr>
        <p:spPr bwMode="auto">
          <a:xfrm>
            <a:off x="8864237" y="3136289"/>
            <a:ext cx="448690" cy="447104"/>
          </a:xfrm>
          <a:custGeom>
            <a:avLst/>
            <a:gdLst>
              <a:gd name="T0" fmla="*/ 283 w 283"/>
              <a:gd name="T1" fmla="*/ 184 h 282"/>
              <a:gd name="T2" fmla="*/ 186 w 283"/>
              <a:gd name="T3" fmla="*/ 282 h 282"/>
              <a:gd name="T4" fmla="*/ 0 w 283"/>
              <a:gd name="T5" fmla="*/ 98 h 282"/>
              <a:gd name="T6" fmla="*/ 99 w 283"/>
              <a:gd name="T7" fmla="*/ 0 h 282"/>
              <a:gd name="T8" fmla="*/ 283 w 283"/>
              <a:gd name="T9" fmla="*/ 184 h 282"/>
            </a:gdLst>
            <a:ahLst/>
            <a:cxnLst>
              <a:cxn ang="0">
                <a:pos x="T0" y="T1"/>
              </a:cxn>
              <a:cxn ang="0">
                <a:pos x="T2" y="T3"/>
              </a:cxn>
              <a:cxn ang="0">
                <a:pos x="T4" y="T5"/>
              </a:cxn>
              <a:cxn ang="0">
                <a:pos x="T6" y="T7"/>
              </a:cxn>
              <a:cxn ang="0">
                <a:pos x="T8" y="T9"/>
              </a:cxn>
            </a:cxnLst>
            <a:rect l="0" t="0" r="r" b="b"/>
            <a:pathLst>
              <a:path w="283" h="282">
                <a:moveTo>
                  <a:pt x="283" y="184"/>
                </a:moveTo>
                <a:lnTo>
                  <a:pt x="186" y="282"/>
                </a:lnTo>
                <a:lnTo>
                  <a:pt x="0" y="98"/>
                </a:lnTo>
                <a:lnTo>
                  <a:pt x="99" y="0"/>
                </a:lnTo>
                <a:lnTo>
                  <a:pt x="283" y="18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5" name="Freeform 62"/>
          <p:cNvSpPr>
            <a:spLocks/>
          </p:cNvSpPr>
          <p:nvPr/>
        </p:nvSpPr>
        <p:spPr bwMode="auto">
          <a:xfrm>
            <a:off x="7919295" y="2196104"/>
            <a:ext cx="1076537" cy="1070195"/>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6" name="Freeform 63"/>
          <p:cNvSpPr>
            <a:spLocks/>
          </p:cNvSpPr>
          <p:nvPr/>
        </p:nvSpPr>
        <p:spPr bwMode="auto">
          <a:xfrm>
            <a:off x="9083033" y="3353499"/>
            <a:ext cx="1980257" cy="1967573"/>
          </a:xfrm>
          <a:custGeom>
            <a:avLst/>
            <a:gdLst>
              <a:gd name="T0" fmla="*/ 1249 w 1249"/>
              <a:gd name="T1" fmla="*/ 1104 h 1241"/>
              <a:gd name="T2" fmla="*/ 1109 w 1249"/>
              <a:gd name="T3" fmla="*/ 1241 h 1241"/>
              <a:gd name="T4" fmla="*/ 0 w 1249"/>
              <a:gd name="T5" fmla="*/ 137 h 1241"/>
              <a:gd name="T6" fmla="*/ 137 w 1249"/>
              <a:gd name="T7" fmla="*/ 0 h 1241"/>
              <a:gd name="T8" fmla="*/ 1249 w 1249"/>
              <a:gd name="T9" fmla="*/ 1104 h 1241"/>
            </a:gdLst>
            <a:ahLst/>
            <a:cxnLst>
              <a:cxn ang="0">
                <a:pos x="T0" y="T1"/>
              </a:cxn>
              <a:cxn ang="0">
                <a:pos x="T2" y="T3"/>
              </a:cxn>
              <a:cxn ang="0">
                <a:pos x="T4" y="T5"/>
              </a:cxn>
              <a:cxn ang="0">
                <a:pos x="T6" y="T7"/>
              </a:cxn>
              <a:cxn ang="0">
                <a:pos x="T8" y="T9"/>
              </a:cxn>
            </a:cxnLst>
            <a:rect l="0" t="0" r="r" b="b"/>
            <a:pathLst>
              <a:path w="1249" h="1241">
                <a:moveTo>
                  <a:pt x="1249" y="1104"/>
                </a:moveTo>
                <a:lnTo>
                  <a:pt x="1109" y="1241"/>
                </a:lnTo>
                <a:lnTo>
                  <a:pt x="0" y="137"/>
                </a:lnTo>
                <a:lnTo>
                  <a:pt x="137" y="0"/>
                </a:lnTo>
                <a:lnTo>
                  <a:pt x="1249" y="110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7" name="Freeform 64"/>
          <p:cNvSpPr>
            <a:spLocks/>
          </p:cNvSpPr>
          <p:nvPr/>
        </p:nvSpPr>
        <p:spPr bwMode="auto">
          <a:xfrm>
            <a:off x="8840455" y="3112507"/>
            <a:ext cx="202941" cy="198185"/>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8" name="Freeform 65"/>
          <p:cNvSpPr>
            <a:spLocks/>
          </p:cNvSpPr>
          <p:nvPr/>
        </p:nvSpPr>
        <p:spPr bwMode="auto">
          <a:xfrm>
            <a:off x="8339446" y="2614668"/>
            <a:ext cx="149035" cy="145863"/>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9" name="Freeform 66"/>
          <p:cNvSpPr>
            <a:spLocks/>
          </p:cNvSpPr>
          <p:nvPr/>
        </p:nvSpPr>
        <p:spPr bwMode="auto">
          <a:xfrm>
            <a:off x="9049739" y="3320203"/>
            <a:ext cx="283800" cy="280630"/>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0" name="Freeform 67"/>
          <p:cNvSpPr>
            <a:spLocks/>
          </p:cNvSpPr>
          <p:nvPr/>
        </p:nvSpPr>
        <p:spPr bwMode="auto">
          <a:xfrm>
            <a:off x="9238410" y="3366183"/>
            <a:ext cx="1824880" cy="1756704"/>
          </a:xfrm>
          <a:custGeom>
            <a:avLst/>
            <a:gdLst>
              <a:gd name="T0" fmla="*/ 1151 w 1151"/>
              <a:gd name="T1" fmla="*/ 1096 h 1108"/>
              <a:gd name="T2" fmla="*/ 1139 w 1151"/>
              <a:gd name="T3" fmla="*/ 1108 h 1108"/>
              <a:gd name="T4" fmla="*/ 0 w 1151"/>
              <a:gd name="T5" fmla="*/ 50 h 1108"/>
              <a:gd name="T6" fmla="*/ 49 w 1151"/>
              <a:gd name="T7" fmla="*/ 0 h 1108"/>
              <a:gd name="T8" fmla="*/ 1151 w 1151"/>
              <a:gd name="T9" fmla="*/ 1096 h 1108"/>
            </a:gdLst>
            <a:ahLst/>
            <a:cxnLst>
              <a:cxn ang="0">
                <a:pos x="T0" y="T1"/>
              </a:cxn>
              <a:cxn ang="0">
                <a:pos x="T2" y="T3"/>
              </a:cxn>
              <a:cxn ang="0">
                <a:pos x="T4" y="T5"/>
              </a:cxn>
              <a:cxn ang="0">
                <a:pos x="T6" y="T7"/>
              </a:cxn>
              <a:cxn ang="0">
                <a:pos x="T8" y="T9"/>
              </a:cxn>
            </a:cxnLst>
            <a:rect l="0" t="0" r="r" b="b"/>
            <a:pathLst>
              <a:path w="1151" h="1108">
                <a:moveTo>
                  <a:pt x="1151" y="1096"/>
                </a:moveTo>
                <a:lnTo>
                  <a:pt x="1139" y="1108"/>
                </a:lnTo>
                <a:lnTo>
                  <a:pt x="0" y="50"/>
                </a:lnTo>
                <a:lnTo>
                  <a:pt x="49" y="0"/>
                </a:lnTo>
                <a:lnTo>
                  <a:pt x="1151" y="1096"/>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1" name="Freeform 68"/>
          <p:cNvSpPr>
            <a:spLocks/>
          </p:cNvSpPr>
          <p:nvPr/>
        </p:nvSpPr>
        <p:spPr bwMode="auto">
          <a:xfrm>
            <a:off x="9097303" y="3507289"/>
            <a:ext cx="1763046" cy="1813782"/>
          </a:xfrm>
          <a:custGeom>
            <a:avLst/>
            <a:gdLst>
              <a:gd name="T0" fmla="*/ 1100 w 1112"/>
              <a:gd name="T1" fmla="*/ 1144 h 1144"/>
              <a:gd name="T2" fmla="*/ 1112 w 1112"/>
              <a:gd name="T3" fmla="*/ 1135 h 1144"/>
              <a:gd name="T4" fmla="*/ 49 w 1112"/>
              <a:gd name="T5" fmla="*/ 0 h 1144"/>
              <a:gd name="T6" fmla="*/ 0 w 1112"/>
              <a:gd name="T7" fmla="*/ 50 h 1144"/>
              <a:gd name="T8" fmla="*/ 1100 w 1112"/>
              <a:gd name="T9" fmla="*/ 1144 h 1144"/>
            </a:gdLst>
            <a:ahLst/>
            <a:cxnLst>
              <a:cxn ang="0">
                <a:pos x="T0" y="T1"/>
              </a:cxn>
              <a:cxn ang="0">
                <a:pos x="T2" y="T3"/>
              </a:cxn>
              <a:cxn ang="0">
                <a:pos x="T4" y="T5"/>
              </a:cxn>
              <a:cxn ang="0">
                <a:pos x="T6" y="T7"/>
              </a:cxn>
              <a:cxn ang="0">
                <a:pos x="T8" y="T9"/>
              </a:cxn>
            </a:cxnLst>
            <a:rect l="0" t="0" r="r" b="b"/>
            <a:pathLst>
              <a:path w="1112" h="1144">
                <a:moveTo>
                  <a:pt x="1100" y="1144"/>
                </a:moveTo>
                <a:lnTo>
                  <a:pt x="1112" y="1135"/>
                </a:lnTo>
                <a:lnTo>
                  <a:pt x="49" y="0"/>
                </a:lnTo>
                <a:lnTo>
                  <a:pt x="0" y="50"/>
                </a:lnTo>
                <a:lnTo>
                  <a:pt x="1100" y="114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2" name="Freeform 69"/>
          <p:cNvSpPr>
            <a:spLocks/>
          </p:cNvSpPr>
          <p:nvPr/>
        </p:nvSpPr>
        <p:spPr bwMode="auto">
          <a:xfrm>
            <a:off x="9880527" y="5103862"/>
            <a:ext cx="1236669" cy="177573"/>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3" name="Oval 70"/>
          <p:cNvSpPr>
            <a:spLocks noChangeArrowheads="1"/>
          </p:cNvSpPr>
          <p:nvPr/>
        </p:nvSpPr>
        <p:spPr bwMode="auto">
          <a:xfrm>
            <a:off x="9316097" y="5332171"/>
            <a:ext cx="355147"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4" name="Oval 71"/>
          <p:cNvSpPr>
            <a:spLocks noChangeArrowheads="1"/>
          </p:cNvSpPr>
          <p:nvPr/>
        </p:nvSpPr>
        <p:spPr bwMode="auto">
          <a:xfrm>
            <a:off x="10027975" y="5332171"/>
            <a:ext cx="353561"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5" name="Oval 72"/>
          <p:cNvSpPr>
            <a:spLocks noChangeArrowheads="1"/>
          </p:cNvSpPr>
          <p:nvPr/>
        </p:nvSpPr>
        <p:spPr bwMode="auto">
          <a:xfrm>
            <a:off x="10567035" y="5332171"/>
            <a:ext cx="355147"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6" name="Freeform 73"/>
          <p:cNvSpPr>
            <a:spLocks/>
          </p:cNvSpPr>
          <p:nvPr/>
        </p:nvSpPr>
        <p:spPr bwMode="auto">
          <a:xfrm>
            <a:off x="9064006" y="4753472"/>
            <a:ext cx="634189" cy="754685"/>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7" name="Freeform 74"/>
          <p:cNvSpPr>
            <a:spLocks/>
          </p:cNvSpPr>
          <p:nvPr/>
        </p:nvSpPr>
        <p:spPr bwMode="auto">
          <a:xfrm>
            <a:off x="10086638" y="5281434"/>
            <a:ext cx="4757" cy="1586"/>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8" name="Freeform 75"/>
          <p:cNvSpPr>
            <a:spLocks/>
          </p:cNvSpPr>
          <p:nvPr/>
        </p:nvSpPr>
        <p:spPr bwMode="auto">
          <a:xfrm>
            <a:off x="9688684" y="5281434"/>
            <a:ext cx="7928" cy="1586"/>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9" name="Freeform 76"/>
          <p:cNvSpPr>
            <a:spLocks/>
          </p:cNvSpPr>
          <p:nvPr/>
        </p:nvSpPr>
        <p:spPr bwMode="auto">
          <a:xfrm>
            <a:off x="9064007" y="4753472"/>
            <a:ext cx="236236" cy="754685"/>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0" name="Rectangle 77"/>
          <p:cNvSpPr>
            <a:spLocks noChangeArrowheads="1"/>
          </p:cNvSpPr>
          <p:nvPr/>
        </p:nvSpPr>
        <p:spPr bwMode="auto">
          <a:xfrm>
            <a:off x="7946249" y="2313429"/>
            <a:ext cx="41222" cy="12905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1" name="Freeform 78"/>
          <p:cNvSpPr>
            <a:spLocks/>
          </p:cNvSpPr>
          <p:nvPr/>
        </p:nvSpPr>
        <p:spPr bwMode="auto">
          <a:xfrm>
            <a:off x="9468303" y="4753472"/>
            <a:ext cx="1685359" cy="754685"/>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2" name="Freeform 79"/>
          <p:cNvSpPr>
            <a:spLocks/>
          </p:cNvSpPr>
          <p:nvPr/>
        </p:nvSpPr>
        <p:spPr bwMode="auto">
          <a:xfrm>
            <a:off x="9468304" y="4753472"/>
            <a:ext cx="556502" cy="754685"/>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3" name="Freeform 80"/>
          <p:cNvSpPr>
            <a:spLocks/>
          </p:cNvSpPr>
          <p:nvPr/>
        </p:nvSpPr>
        <p:spPr bwMode="auto">
          <a:xfrm>
            <a:off x="9506354" y="547169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4" name="Freeform 81"/>
          <p:cNvSpPr>
            <a:spLocks/>
          </p:cNvSpPr>
          <p:nvPr/>
        </p:nvSpPr>
        <p:spPr bwMode="auto">
          <a:xfrm>
            <a:off x="9506354" y="5479620"/>
            <a:ext cx="0" cy="3171"/>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5" name="Freeform 82"/>
          <p:cNvSpPr>
            <a:spLocks/>
          </p:cNvSpPr>
          <p:nvPr/>
        </p:nvSpPr>
        <p:spPr bwMode="auto">
          <a:xfrm>
            <a:off x="9506354" y="549547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6" name="Freeform 83"/>
          <p:cNvSpPr>
            <a:spLocks/>
          </p:cNvSpPr>
          <p:nvPr/>
        </p:nvSpPr>
        <p:spPr bwMode="auto">
          <a:xfrm>
            <a:off x="9542819" y="5281435"/>
            <a:ext cx="1610841" cy="226723"/>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7" name="Freeform 84"/>
          <p:cNvSpPr>
            <a:spLocks/>
          </p:cNvSpPr>
          <p:nvPr/>
        </p:nvSpPr>
        <p:spPr bwMode="auto">
          <a:xfrm>
            <a:off x="9577701" y="4835916"/>
            <a:ext cx="375757" cy="445518"/>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8" name="Freeform 85"/>
          <p:cNvSpPr>
            <a:spLocks/>
          </p:cNvSpPr>
          <p:nvPr/>
        </p:nvSpPr>
        <p:spPr bwMode="auto">
          <a:xfrm>
            <a:off x="9577701" y="4835916"/>
            <a:ext cx="375757" cy="445518"/>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9" name="Oval 86"/>
          <p:cNvSpPr>
            <a:spLocks noChangeArrowheads="1"/>
          </p:cNvSpPr>
          <p:nvPr/>
        </p:nvSpPr>
        <p:spPr bwMode="auto">
          <a:xfrm>
            <a:off x="9588800" y="5332171"/>
            <a:ext cx="351975"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0" name="Oval 87"/>
          <p:cNvSpPr>
            <a:spLocks noChangeArrowheads="1"/>
          </p:cNvSpPr>
          <p:nvPr/>
        </p:nvSpPr>
        <p:spPr bwMode="auto">
          <a:xfrm>
            <a:off x="9671244" y="5413028"/>
            <a:ext cx="187086" cy="1902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1" name="Oval 88"/>
          <p:cNvSpPr>
            <a:spLocks noChangeArrowheads="1"/>
          </p:cNvSpPr>
          <p:nvPr/>
        </p:nvSpPr>
        <p:spPr bwMode="auto">
          <a:xfrm>
            <a:off x="10673264" y="5332171"/>
            <a:ext cx="353561"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2" name="Oval 89"/>
          <p:cNvSpPr>
            <a:spLocks noChangeArrowheads="1"/>
          </p:cNvSpPr>
          <p:nvPr/>
        </p:nvSpPr>
        <p:spPr bwMode="auto">
          <a:xfrm>
            <a:off x="10297506" y="5332171"/>
            <a:ext cx="351975"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3" name="Freeform 90"/>
          <p:cNvSpPr>
            <a:spLocks/>
          </p:cNvSpPr>
          <p:nvPr/>
        </p:nvSpPr>
        <p:spPr bwMode="auto">
          <a:xfrm>
            <a:off x="9671243" y="5441567"/>
            <a:ext cx="158548" cy="161718"/>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4" name="Freeform 91"/>
          <p:cNvSpPr>
            <a:spLocks/>
          </p:cNvSpPr>
          <p:nvPr/>
        </p:nvSpPr>
        <p:spPr bwMode="auto">
          <a:xfrm>
            <a:off x="9184503" y="5344854"/>
            <a:ext cx="223552" cy="3012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5" name="Freeform 92"/>
          <p:cNvSpPr>
            <a:spLocks/>
          </p:cNvSpPr>
          <p:nvPr/>
        </p:nvSpPr>
        <p:spPr bwMode="auto">
          <a:xfrm>
            <a:off x="9184503" y="5413029"/>
            <a:ext cx="223552" cy="31709"/>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6" name="Freeform 93"/>
          <p:cNvSpPr>
            <a:spLocks/>
          </p:cNvSpPr>
          <p:nvPr/>
        </p:nvSpPr>
        <p:spPr bwMode="auto">
          <a:xfrm>
            <a:off x="9125841" y="4835917"/>
            <a:ext cx="421736" cy="447104"/>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7" name="Freeform 94"/>
          <p:cNvSpPr>
            <a:spLocks/>
          </p:cNvSpPr>
          <p:nvPr/>
        </p:nvSpPr>
        <p:spPr bwMode="auto">
          <a:xfrm>
            <a:off x="9125841" y="4835917"/>
            <a:ext cx="344048" cy="447104"/>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8" name="Freeform 95"/>
          <p:cNvSpPr>
            <a:spLocks noEditPoints="1"/>
          </p:cNvSpPr>
          <p:nvPr/>
        </p:nvSpPr>
        <p:spPr bwMode="auto">
          <a:xfrm>
            <a:off x="7356453" y="3738769"/>
            <a:ext cx="521621" cy="520035"/>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9" name="Freeform 96"/>
          <p:cNvSpPr>
            <a:spLocks noEditPoints="1"/>
          </p:cNvSpPr>
          <p:nvPr/>
        </p:nvSpPr>
        <p:spPr bwMode="auto">
          <a:xfrm>
            <a:off x="7080581" y="4160505"/>
            <a:ext cx="474057" cy="474057"/>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0" name="Freeform 97"/>
          <p:cNvSpPr>
            <a:spLocks noEditPoints="1"/>
          </p:cNvSpPr>
          <p:nvPr/>
        </p:nvSpPr>
        <p:spPr bwMode="auto">
          <a:xfrm>
            <a:off x="7743307" y="4025741"/>
            <a:ext cx="665899" cy="662728"/>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1" name="Freeform 98"/>
          <p:cNvSpPr>
            <a:spLocks noEditPoints="1"/>
          </p:cNvSpPr>
          <p:nvPr/>
        </p:nvSpPr>
        <p:spPr bwMode="auto">
          <a:xfrm>
            <a:off x="8399694" y="4041595"/>
            <a:ext cx="423322" cy="423322"/>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2" name="Freeform 99"/>
          <p:cNvSpPr>
            <a:spLocks/>
          </p:cNvSpPr>
          <p:nvPr/>
        </p:nvSpPr>
        <p:spPr bwMode="auto">
          <a:xfrm>
            <a:off x="6993378" y="4502967"/>
            <a:ext cx="1921594" cy="391612"/>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3" name="Freeform 100"/>
          <p:cNvSpPr>
            <a:spLocks/>
          </p:cNvSpPr>
          <p:nvPr/>
        </p:nvSpPr>
        <p:spPr bwMode="auto">
          <a:xfrm>
            <a:off x="7067896" y="4502967"/>
            <a:ext cx="1847077" cy="391612"/>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4" name="Freeform 101"/>
          <p:cNvSpPr>
            <a:spLocks/>
          </p:cNvSpPr>
          <p:nvPr/>
        </p:nvSpPr>
        <p:spPr bwMode="auto">
          <a:xfrm>
            <a:off x="6999719" y="3177510"/>
            <a:ext cx="1910497" cy="69919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5" name="Freeform 102"/>
          <p:cNvSpPr>
            <a:spLocks/>
          </p:cNvSpPr>
          <p:nvPr/>
        </p:nvSpPr>
        <p:spPr bwMode="auto">
          <a:xfrm>
            <a:off x="7377063" y="3177510"/>
            <a:ext cx="1533153" cy="69919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6" name="Oval 103"/>
          <p:cNvSpPr>
            <a:spLocks noChangeArrowheads="1"/>
          </p:cNvSpPr>
          <p:nvPr/>
        </p:nvSpPr>
        <p:spPr bwMode="auto">
          <a:xfrm>
            <a:off x="10754121" y="5413028"/>
            <a:ext cx="190257" cy="1902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7" name="Oval 104"/>
          <p:cNvSpPr>
            <a:spLocks noChangeArrowheads="1"/>
          </p:cNvSpPr>
          <p:nvPr/>
        </p:nvSpPr>
        <p:spPr bwMode="auto">
          <a:xfrm>
            <a:off x="10379950" y="5413028"/>
            <a:ext cx="187086" cy="1902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8" name="Freeform 105"/>
          <p:cNvSpPr>
            <a:spLocks/>
          </p:cNvSpPr>
          <p:nvPr/>
        </p:nvSpPr>
        <p:spPr bwMode="auto">
          <a:xfrm>
            <a:off x="10379950" y="5441567"/>
            <a:ext cx="158548" cy="161718"/>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9" name="Freeform 106"/>
          <p:cNvSpPr>
            <a:spLocks/>
          </p:cNvSpPr>
          <p:nvPr/>
        </p:nvSpPr>
        <p:spPr bwMode="auto">
          <a:xfrm>
            <a:off x="10754123" y="5441567"/>
            <a:ext cx="161718" cy="161718"/>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 name="Title 1"/>
          <p:cNvSpPr>
            <a:spLocks noGrp="1"/>
          </p:cNvSpPr>
          <p:nvPr>
            <p:ph type="title"/>
          </p:nvPr>
        </p:nvSpPr>
        <p:spPr>
          <a:xfrm>
            <a:off x="232801" y="2529197"/>
            <a:ext cx="7741986" cy="4324426"/>
          </a:xfrm>
        </p:spPr>
        <p:txBody>
          <a:bodyPr/>
          <a:lstStyle/>
          <a:p>
            <a:br>
              <a:rPr lang="en-US" dirty="0"/>
            </a:br>
            <a:r>
              <a:rPr lang="en-US" sz="2797" dirty="0">
                <a:solidFill>
                  <a:schemeClr val="tx2"/>
                </a:solidFill>
              </a:rPr>
              <a:t>Exam 70-535 Certification Jump Start</a:t>
            </a:r>
            <a:br>
              <a:rPr lang="en-US" sz="2797" dirty="0">
                <a:solidFill>
                  <a:schemeClr val="tx2"/>
                </a:solidFill>
              </a:rPr>
            </a:br>
            <a:br>
              <a:rPr lang="en-US" sz="2797" dirty="0">
                <a:solidFill>
                  <a:schemeClr val="tx2"/>
                </a:solidFill>
              </a:rPr>
            </a:br>
            <a:br>
              <a:rPr lang="en-US" sz="2797" dirty="0">
                <a:solidFill>
                  <a:schemeClr val="tx2"/>
                </a:solidFill>
              </a:rPr>
            </a:br>
            <a:br>
              <a:rPr lang="en-US" sz="2797" dirty="0">
                <a:solidFill>
                  <a:schemeClr val="tx2"/>
                </a:solidFill>
              </a:rPr>
            </a:br>
            <a:br>
              <a:rPr lang="en-US" sz="2797" dirty="0">
                <a:solidFill>
                  <a:schemeClr val="tx2"/>
                </a:solidFill>
              </a:rPr>
            </a:br>
            <a:br>
              <a:rPr lang="en-US" sz="1765" dirty="0">
                <a:solidFill>
                  <a:schemeClr val="tx2"/>
                </a:solidFill>
              </a:rPr>
            </a:br>
            <a:r>
              <a:rPr lang="en-US" sz="2797" dirty="0">
                <a:solidFill>
                  <a:schemeClr val="tx1"/>
                </a:solidFill>
              </a:rPr>
              <a:t>Dave Burnison </a:t>
            </a:r>
            <a:br>
              <a:rPr lang="en-US" sz="2797" dirty="0">
                <a:solidFill>
                  <a:schemeClr val="tx1"/>
                </a:solidFill>
              </a:rPr>
            </a:br>
            <a:r>
              <a:rPr lang="en-US" sz="2797" dirty="0">
                <a:solidFill>
                  <a:schemeClr val="tx1"/>
                </a:solidFill>
              </a:rPr>
              <a:t>Technology Solutions Professional  - Azure App Dev</a:t>
            </a:r>
            <a:br>
              <a:rPr lang="en-US" sz="2797" dirty="0">
                <a:solidFill>
                  <a:schemeClr val="tx1"/>
                </a:solidFill>
              </a:rPr>
            </a:br>
            <a:r>
              <a:rPr lang="en-US" sz="2797" dirty="0">
                <a:solidFill>
                  <a:schemeClr val="tx1"/>
                </a:solidFill>
                <a:hlinkClick r:id="rId3"/>
              </a:rPr>
              <a:t>Dave.Burnison@Microsoft.com </a:t>
            </a:r>
            <a:br>
              <a:rPr lang="en-US" sz="2797" dirty="0">
                <a:solidFill>
                  <a:schemeClr val="tx2"/>
                </a:solidFill>
              </a:rPr>
            </a:br>
            <a:endParaRPr lang="en-US" sz="3596" dirty="0">
              <a:solidFill>
                <a:schemeClr val="tx2"/>
              </a:solidFill>
            </a:endParaRPr>
          </a:p>
        </p:txBody>
      </p:sp>
      <p:sp>
        <p:nvSpPr>
          <p:cNvPr id="110" name="Freeform 10"/>
          <p:cNvSpPr>
            <a:spLocks/>
          </p:cNvSpPr>
          <p:nvPr/>
        </p:nvSpPr>
        <p:spPr bwMode="auto">
          <a:xfrm>
            <a:off x="8364278" y="1393597"/>
            <a:ext cx="1077073" cy="57260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11" name="Freeform 10"/>
          <p:cNvSpPr>
            <a:spLocks/>
          </p:cNvSpPr>
          <p:nvPr/>
        </p:nvSpPr>
        <p:spPr bwMode="auto">
          <a:xfrm>
            <a:off x="10429102" y="791968"/>
            <a:ext cx="735655" cy="355542"/>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13" name="Digital Transformation"/>
          <p:cNvSpPr txBox="1">
            <a:spLocks/>
          </p:cNvSpPr>
          <p:nvPr/>
        </p:nvSpPr>
        <p:spPr>
          <a:xfrm>
            <a:off x="232802" y="2421944"/>
            <a:ext cx="7754944" cy="898261"/>
          </a:xfrm>
          <a:prstGeom prst="rect">
            <a:avLst/>
          </a:prstGeom>
        </p:spPr>
        <p:txBody>
          <a:bodyPr vert="horz" wrap="square" lIns="143224" tIns="89516" rIns="143224" bIns="8951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3031">
              <a:defRPr/>
            </a:pPr>
            <a:r>
              <a:rPr lang="en-US" sz="4395" spc="0" dirty="0">
                <a:solidFill>
                  <a:srgbClr val="FFFFFF"/>
                </a:solidFill>
              </a:rPr>
              <a:t>Azure Compute</a:t>
            </a:r>
            <a:endParaRPr lang="en-US" sz="4395" spc="0" dirty="0">
              <a:solidFill>
                <a:srgbClr val="FFFFFF"/>
              </a:solidFill>
              <a:latin typeface="Segoe UI Light"/>
            </a:endParaRPr>
          </a:p>
        </p:txBody>
      </p:sp>
    </p:spTree>
    <p:extLst>
      <p:ext uri="{BB962C8B-B14F-4D97-AF65-F5344CB8AC3E}">
        <p14:creationId xmlns:p14="http://schemas.microsoft.com/office/powerpoint/2010/main" val="21328683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region</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39553" y="1420073"/>
            <a:ext cx="8312894" cy="5334018"/>
          </a:xfrm>
          <a:prstGeom prst="rect">
            <a:avLst/>
          </a:prstGeom>
        </p:spPr>
      </p:pic>
    </p:spTree>
    <p:extLst>
      <p:ext uri="{BB962C8B-B14F-4D97-AF65-F5344CB8AC3E}">
        <p14:creationId xmlns:p14="http://schemas.microsoft.com/office/powerpoint/2010/main" val="164085384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PI Management</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800" y="1746540"/>
            <a:ext cx="10058400" cy="4759778"/>
          </a:xfrm>
          <a:prstGeom prst="rect">
            <a:avLst/>
          </a:prstGeom>
        </p:spPr>
      </p:pic>
    </p:spTree>
    <p:extLst>
      <p:ext uri="{BB962C8B-B14F-4D97-AF65-F5344CB8AC3E}">
        <p14:creationId xmlns:p14="http://schemas.microsoft.com/office/powerpoint/2010/main" val="405155240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a:t>Design solutions for </a:t>
            </a:r>
            <a:r>
              <a:rPr lang="en-US" dirty="0" err="1"/>
              <a:t>serverless</a:t>
            </a:r>
            <a:r>
              <a:rPr lang="en-US" dirty="0"/>
              <a:t> computing</a:t>
            </a:r>
          </a:p>
        </p:txBody>
      </p:sp>
    </p:spTree>
    <p:extLst>
      <p:ext uri="{BB962C8B-B14F-4D97-AF65-F5344CB8AC3E}">
        <p14:creationId xmlns:p14="http://schemas.microsoft.com/office/powerpoint/2010/main" val="363689659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4018631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is “</a:t>
            </a:r>
            <a:r>
              <a:rPr lang="en-US" dirty="0" err="1"/>
              <a:t>serverless</a:t>
            </a:r>
            <a:r>
              <a:rPr lang="en-US" dirty="0"/>
              <a:t>” and proposed Benefits</a:t>
            </a:r>
          </a:p>
        </p:txBody>
      </p:sp>
      <p:grpSp>
        <p:nvGrpSpPr>
          <p:cNvPr id="203" name="Group 202"/>
          <p:cNvGrpSpPr/>
          <p:nvPr/>
        </p:nvGrpSpPr>
        <p:grpSpPr>
          <a:xfrm>
            <a:off x="3859609" y="1189176"/>
            <a:ext cx="4192342" cy="5162149"/>
            <a:chOff x="4158354" y="1189176"/>
            <a:chExt cx="4192342" cy="5162149"/>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vent-driven scale</a:t>
              </a:r>
            </a:p>
          </p:txBody>
        </p:sp>
      </p:grpSp>
      <p:grpSp>
        <p:nvGrpSpPr>
          <p:cNvPr id="204" name="Group 203"/>
          <p:cNvGrpSpPr/>
          <p:nvPr/>
        </p:nvGrpSpPr>
        <p:grpSpPr>
          <a:xfrm>
            <a:off x="7567771" y="840651"/>
            <a:ext cx="4889392" cy="5510674"/>
            <a:chOff x="7567771" y="840651"/>
            <a:chExt cx="4889392" cy="5510674"/>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Sub-second billing</a:t>
              </a:r>
            </a:p>
          </p:txBody>
        </p:sp>
      </p:grpSp>
      <p:grpSp>
        <p:nvGrpSpPr>
          <p:cNvPr id="202" name="Group 201"/>
          <p:cNvGrpSpPr/>
          <p:nvPr/>
        </p:nvGrpSpPr>
        <p:grpSpPr>
          <a:xfrm>
            <a:off x="825302" y="779528"/>
            <a:ext cx="2560320" cy="5571797"/>
            <a:chOff x="825302" y="779528"/>
            <a:chExt cx="2560320" cy="5571797"/>
          </a:xfrm>
        </p:grpSpPr>
        <p:sp>
          <p:nvSpPr>
            <p:cNvPr id="60" name="TextBox 59"/>
            <p:cNvSpPr txBox="1"/>
            <p:nvPr/>
          </p:nvSpPr>
          <p:spPr>
            <a:xfrm>
              <a:off x="1300172"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5292824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spect="1" noChangeArrowheads="1" noTextEdit="1"/>
          </p:cNvSpPr>
          <p:nvPr/>
        </p:nvSpPr>
        <p:spPr bwMode="auto">
          <a:xfrm>
            <a:off x="2197100" y="2438400"/>
            <a:ext cx="77978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3" name="Group 2"/>
          <p:cNvGrpSpPr/>
          <p:nvPr/>
        </p:nvGrpSpPr>
        <p:grpSpPr>
          <a:xfrm>
            <a:off x="2200275" y="2709863"/>
            <a:ext cx="1698626" cy="1738313"/>
            <a:chOff x="2200275" y="2709863"/>
            <a:chExt cx="1698626" cy="1738313"/>
          </a:xfrm>
        </p:grpSpPr>
        <p:sp>
          <p:nvSpPr>
            <p:cNvPr id="7" name="Freeform 5"/>
            <p:cNvSpPr>
              <a:spLocks/>
            </p:cNvSpPr>
            <p:nvPr/>
          </p:nvSpPr>
          <p:spPr bwMode="auto">
            <a:xfrm>
              <a:off x="2362200" y="2819400"/>
              <a:ext cx="954088" cy="947738"/>
            </a:xfrm>
            <a:custGeom>
              <a:avLst/>
              <a:gdLst>
                <a:gd name="T0" fmla="*/ 114 w 254"/>
                <a:gd name="T1" fmla="*/ 0 h 251"/>
                <a:gd name="T2" fmla="*/ 30 w 254"/>
                <a:gd name="T3" fmla="*/ 46 h 251"/>
                <a:gd name="T4" fmla="*/ 3 w 254"/>
                <a:gd name="T5" fmla="*/ 137 h 251"/>
                <a:gd name="T6" fmla="*/ 49 w 254"/>
                <a:gd name="T7" fmla="*/ 221 h 251"/>
                <a:gd name="T8" fmla="*/ 140 w 254"/>
                <a:gd name="T9" fmla="*/ 248 h 251"/>
                <a:gd name="T10" fmla="*/ 224 w 254"/>
                <a:gd name="T11" fmla="*/ 202 h 251"/>
                <a:gd name="T12" fmla="*/ 251 w 254"/>
                <a:gd name="T13" fmla="*/ 111 h 251"/>
                <a:gd name="T14" fmla="*/ 204 w 254"/>
                <a:gd name="T15" fmla="*/ 27 h 251"/>
                <a:gd name="T16" fmla="*/ 127 w 254"/>
                <a:gd name="T17" fmla="*/ 0 h 251"/>
                <a:gd name="T18" fmla="*/ 114 w 254"/>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251">
                  <a:moveTo>
                    <a:pt x="114" y="0"/>
                  </a:moveTo>
                  <a:cubicBezTo>
                    <a:pt x="80" y="4"/>
                    <a:pt x="50" y="21"/>
                    <a:pt x="30" y="46"/>
                  </a:cubicBezTo>
                  <a:cubicBezTo>
                    <a:pt x="10" y="70"/>
                    <a:pt x="0" y="103"/>
                    <a:pt x="3" y="137"/>
                  </a:cubicBezTo>
                  <a:cubicBezTo>
                    <a:pt x="7" y="171"/>
                    <a:pt x="24" y="201"/>
                    <a:pt x="49" y="221"/>
                  </a:cubicBezTo>
                  <a:cubicBezTo>
                    <a:pt x="74" y="241"/>
                    <a:pt x="106" y="251"/>
                    <a:pt x="140" y="248"/>
                  </a:cubicBezTo>
                  <a:cubicBezTo>
                    <a:pt x="174" y="244"/>
                    <a:pt x="204" y="227"/>
                    <a:pt x="224" y="202"/>
                  </a:cubicBezTo>
                  <a:cubicBezTo>
                    <a:pt x="244" y="178"/>
                    <a:pt x="254" y="145"/>
                    <a:pt x="251" y="111"/>
                  </a:cubicBezTo>
                  <a:cubicBezTo>
                    <a:pt x="247" y="76"/>
                    <a:pt x="230" y="47"/>
                    <a:pt x="204" y="27"/>
                  </a:cubicBezTo>
                  <a:cubicBezTo>
                    <a:pt x="183" y="9"/>
                    <a:pt x="156" y="0"/>
                    <a:pt x="127" y="0"/>
                  </a:cubicBezTo>
                  <a:cubicBezTo>
                    <a:pt x="123" y="0"/>
                    <a:pt x="118" y="0"/>
                    <a:pt x="11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 name="Freeform 6"/>
            <p:cNvSpPr>
              <a:spLocks/>
            </p:cNvSpPr>
            <p:nvPr/>
          </p:nvSpPr>
          <p:spPr bwMode="auto">
            <a:xfrm>
              <a:off x="2603500" y="2797175"/>
              <a:ext cx="814388" cy="1063625"/>
            </a:xfrm>
            <a:custGeom>
              <a:avLst/>
              <a:gdLst>
                <a:gd name="T0" fmla="*/ 212 w 217"/>
                <a:gd name="T1" fmla="*/ 114 h 282"/>
                <a:gd name="T2" fmla="*/ 157 w 217"/>
                <a:gd name="T3" fmla="*/ 13 h 282"/>
                <a:gd name="T4" fmla="*/ 138 w 217"/>
                <a:gd name="T5" fmla="*/ 0 h 282"/>
                <a:gd name="T6" fmla="*/ 126 w 217"/>
                <a:gd name="T7" fmla="*/ 23 h 282"/>
                <a:gd name="T8" fmla="*/ 140 w 217"/>
                <a:gd name="T9" fmla="*/ 33 h 282"/>
                <a:gd name="T10" fmla="*/ 187 w 217"/>
                <a:gd name="T11" fmla="*/ 117 h 282"/>
                <a:gd name="T12" fmla="*/ 160 w 217"/>
                <a:gd name="T13" fmla="*/ 208 h 282"/>
                <a:gd name="T14" fmla="*/ 76 w 217"/>
                <a:gd name="T15" fmla="*/ 254 h 282"/>
                <a:gd name="T16" fmla="*/ 12 w 217"/>
                <a:gd name="T17" fmla="*/ 243 h 282"/>
                <a:gd name="T18" fmla="*/ 0 w 217"/>
                <a:gd name="T19" fmla="*/ 266 h 282"/>
                <a:gd name="T20" fmla="*/ 79 w 217"/>
                <a:gd name="T21" fmla="*/ 279 h 282"/>
                <a:gd name="T22" fmla="*/ 180 w 217"/>
                <a:gd name="T23" fmla="*/ 224 h 282"/>
                <a:gd name="T24" fmla="*/ 212 w 217"/>
                <a:gd name="T25" fmla="*/ 11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7" h="282">
                  <a:moveTo>
                    <a:pt x="212" y="114"/>
                  </a:moveTo>
                  <a:cubicBezTo>
                    <a:pt x="208" y="73"/>
                    <a:pt x="187" y="37"/>
                    <a:pt x="157" y="13"/>
                  </a:cubicBezTo>
                  <a:cubicBezTo>
                    <a:pt x="151" y="8"/>
                    <a:pt x="144" y="4"/>
                    <a:pt x="138" y="0"/>
                  </a:cubicBezTo>
                  <a:cubicBezTo>
                    <a:pt x="126" y="23"/>
                    <a:pt x="126" y="23"/>
                    <a:pt x="126" y="23"/>
                  </a:cubicBezTo>
                  <a:cubicBezTo>
                    <a:pt x="131" y="26"/>
                    <a:pt x="136" y="29"/>
                    <a:pt x="140" y="33"/>
                  </a:cubicBezTo>
                  <a:cubicBezTo>
                    <a:pt x="166" y="53"/>
                    <a:pt x="183" y="82"/>
                    <a:pt x="187" y="117"/>
                  </a:cubicBezTo>
                  <a:cubicBezTo>
                    <a:pt x="190" y="151"/>
                    <a:pt x="180" y="184"/>
                    <a:pt x="160" y="208"/>
                  </a:cubicBezTo>
                  <a:cubicBezTo>
                    <a:pt x="140" y="233"/>
                    <a:pt x="110" y="250"/>
                    <a:pt x="76" y="254"/>
                  </a:cubicBezTo>
                  <a:cubicBezTo>
                    <a:pt x="53" y="256"/>
                    <a:pt x="31" y="252"/>
                    <a:pt x="12" y="243"/>
                  </a:cubicBezTo>
                  <a:cubicBezTo>
                    <a:pt x="0" y="266"/>
                    <a:pt x="0" y="266"/>
                    <a:pt x="0" y="266"/>
                  </a:cubicBezTo>
                  <a:cubicBezTo>
                    <a:pt x="24" y="277"/>
                    <a:pt x="51" y="282"/>
                    <a:pt x="79" y="279"/>
                  </a:cubicBezTo>
                  <a:cubicBezTo>
                    <a:pt x="120" y="275"/>
                    <a:pt x="155" y="254"/>
                    <a:pt x="180" y="224"/>
                  </a:cubicBezTo>
                  <a:cubicBezTo>
                    <a:pt x="204" y="195"/>
                    <a:pt x="217" y="155"/>
                    <a:pt x="212" y="114"/>
                  </a:cubicBezTo>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7"/>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8"/>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9"/>
            <p:cNvSpPr>
              <a:spLocks/>
            </p:cNvSpPr>
            <p:nvPr/>
          </p:nvSpPr>
          <p:spPr bwMode="auto">
            <a:xfrm>
              <a:off x="2824163" y="3265488"/>
              <a:ext cx="319088" cy="180975"/>
            </a:xfrm>
            <a:custGeom>
              <a:avLst/>
              <a:gdLst>
                <a:gd name="T0" fmla="*/ 67 w 85"/>
                <a:gd name="T1" fmla="*/ 45 h 48"/>
                <a:gd name="T2" fmla="*/ 9 w 85"/>
                <a:gd name="T3" fmla="*/ 25 h 48"/>
                <a:gd name="T4" fmla="*/ 2 w 85"/>
                <a:gd name="T5" fmla="*/ 10 h 48"/>
                <a:gd name="T6" fmla="*/ 17 w 85"/>
                <a:gd name="T7" fmla="*/ 2 h 48"/>
                <a:gd name="T8" fmla="*/ 75 w 85"/>
                <a:gd name="T9" fmla="*/ 23 h 48"/>
                <a:gd name="T10" fmla="*/ 82 w 85"/>
                <a:gd name="T11" fmla="*/ 38 h 48"/>
                <a:gd name="T12" fmla="*/ 67 w 85"/>
                <a:gd name="T13" fmla="*/ 45 h 48"/>
              </a:gdLst>
              <a:ahLst/>
              <a:cxnLst>
                <a:cxn ang="0">
                  <a:pos x="T0" y="T1"/>
                </a:cxn>
                <a:cxn ang="0">
                  <a:pos x="T2" y="T3"/>
                </a:cxn>
                <a:cxn ang="0">
                  <a:pos x="T4" y="T5"/>
                </a:cxn>
                <a:cxn ang="0">
                  <a:pos x="T6" y="T7"/>
                </a:cxn>
                <a:cxn ang="0">
                  <a:pos x="T8" y="T9"/>
                </a:cxn>
                <a:cxn ang="0">
                  <a:pos x="T10" y="T11"/>
                </a:cxn>
                <a:cxn ang="0">
                  <a:pos x="T12" y="T13"/>
                </a:cxn>
              </a:cxnLst>
              <a:rect l="0" t="0" r="r" b="b"/>
              <a:pathLst>
                <a:path w="85" h="48">
                  <a:moveTo>
                    <a:pt x="67" y="45"/>
                  </a:moveTo>
                  <a:cubicBezTo>
                    <a:pt x="9" y="25"/>
                    <a:pt x="9" y="25"/>
                    <a:pt x="9" y="25"/>
                  </a:cubicBezTo>
                  <a:cubicBezTo>
                    <a:pt x="3" y="23"/>
                    <a:pt x="0" y="16"/>
                    <a:pt x="2" y="10"/>
                  </a:cubicBezTo>
                  <a:cubicBezTo>
                    <a:pt x="4" y="3"/>
                    <a:pt x="11" y="0"/>
                    <a:pt x="17" y="2"/>
                  </a:cubicBezTo>
                  <a:cubicBezTo>
                    <a:pt x="75" y="23"/>
                    <a:pt x="75" y="23"/>
                    <a:pt x="75" y="23"/>
                  </a:cubicBezTo>
                  <a:cubicBezTo>
                    <a:pt x="81" y="25"/>
                    <a:pt x="85" y="32"/>
                    <a:pt x="82" y="38"/>
                  </a:cubicBezTo>
                  <a:cubicBezTo>
                    <a:pt x="80" y="44"/>
                    <a:pt x="73" y="48"/>
                    <a:pt x="67" y="45"/>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0"/>
            <p:cNvSpPr>
              <a:spLocks/>
            </p:cNvSpPr>
            <p:nvPr/>
          </p:nvSpPr>
          <p:spPr bwMode="auto">
            <a:xfrm>
              <a:off x="2790825" y="2876550"/>
              <a:ext cx="90488" cy="474663"/>
            </a:xfrm>
            <a:custGeom>
              <a:avLst/>
              <a:gdLst>
                <a:gd name="T0" fmla="*/ 12 w 24"/>
                <a:gd name="T1" fmla="*/ 126 h 126"/>
                <a:gd name="T2" fmla="*/ 0 w 24"/>
                <a:gd name="T3" fmla="*/ 114 h 126"/>
                <a:gd name="T4" fmla="*/ 0 w 24"/>
                <a:gd name="T5" fmla="*/ 12 h 126"/>
                <a:gd name="T6" fmla="*/ 12 w 24"/>
                <a:gd name="T7" fmla="*/ 0 h 126"/>
                <a:gd name="T8" fmla="*/ 24 w 24"/>
                <a:gd name="T9" fmla="*/ 12 h 126"/>
                <a:gd name="T10" fmla="*/ 24 w 24"/>
                <a:gd name="T11" fmla="*/ 114 h 126"/>
                <a:gd name="T12" fmla="*/ 12 w 24"/>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24" h="126">
                  <a:moveTo>
                    <a:pt x="12" y="126"/>
                  </a:moveTo>
                  <a:cubicBezTo>
                    <a:pt x="5" y="126"/>
                    <a:pt x="0" y="120"/>
                    <a:pt x="0" y="114"/>
                  </a:cubicBezTo>
                  <a:cubicBezTo>
                    <a:pt x="0" y="12"/>
                    <a:pt x="0" y="12"/>
                    <a:pt x="0" y="12"/>
                  </a:cubicBezTo>
                  <a:cubicBezTo>
                    <a:pt x="0" y="5"/>
                    <a:pt x="5" y="0"/>
                    <a:pt x="12" y="0"/>
                  </a:cubicBezTo>
                  <a:cubicBezTo>
                    <a:pt x="18" y="0"/>
                    <a:pt x="24" y="5"/>
                    <a:pt x="24" y="12"/>
                  </a:cubicBezTo>
                  <a:cubicBezTo>
                    <a:pt x="24" y="114"/>
                    <a:pt x="24" y="114"/>
                    <a:pt x="24" y="114"/>
                  </a:cubicBezTo>
                  <a:cubicBezTo>
                    <a:pt x="24" y="120"/>
                    <a:pt x="18" y="126"/>
                    <a:pt x="12" y="126"/>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Oval 11"/>
            <p:cNvSpPr>
              <a:spLocks noChangeArrowheads="1"/>
            </p:cNvSpPr>
            <p:nvPr/>
          </p:nvSpPr>
          <p:spPr bwMode="auto">
            <a:xfrm>
              <a:off x="2768600" y="3238500"/>
              <a:ext cx="131763" cy="131763"/>
            </a:xfrm>
            <a:prstGeom prst="ellipse">
              <a:avLst/>
            </a:pr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2"/>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3"/>
            <p:cNvSpPr>
              <a:spLocks noChangeArrowheads="1"/>
            </p:cNvSpPr>
            <p:nvPr/>
          </p:nvSpPr>
          <p:spPr bwMode="auto">
            <a:xfrm>
              <a:off x="2828925" y="2879725"/>
              <a:ext cx="22225" cy="82550"/>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4"/>
            <p:cNvSpPr>
              <a:spLocks/>
            </p:cNvSpPr>
            <p:nvPr/>
          </p:nvSpPr>
          <p:spPr bwMode="auto">
            <a:xfrm>
              <a:off x="3057525" y="2992438"/>
              <a:ext cx="74613" cy="76200"/>
            </a:xfrm>
            <a:custGeom>
              <a:avLst/>
              <a:gdLst>
                <a:gd name="T0" fmla="*/ 35 w 47"/>
                <a:gd name="T1" fmla="*/ 0 h 48"/>
                <a:gd name="T2" fmla="*/ 47 w 47"/>
                <a:gd name="T3" fmla="*/ 12 h 48"/>
                <a:gd name="T4" fmla="*/ 12 w 47"/>
                <a:gd name="T5" fmla="*/ 48 h 48"/>
                <a:gd name="T6" fmla="*/ 0 w 47"/>
                <a:gd name="T7" fmla="*/ 36 h 48"/>
                <a:gd name="T8" fmla="*/ 35 w 47"/>
                <a:gd name="T9" fmla="*/ 0 h 48"/>
              </a:gdLst>
              <a:ahLst/>
              <a:cxnLst>
                <a:cxn ang="0">
                  <a:pos x="T0" y="T1"/>
                </a:cxn>
                <a:cxn ang="0">
                  <a:pos x="T2" y="T3"/>
                </a:cxn>
                <a:cxn ang="0">
                  <a:pos x="T4" y="T5"/>
                </a:cxn>
                <a:cxn ang="0">
                  <a:pos x="T6" y="T7"/>
                </a:cxn>
                <a:cxn ang="0">
                  <a:pos x="T8" y="T9"/>
                </a:cxn>
              </a:cxnLst>
              <a:rect l="0" t="0" r="r" b="b"/>
              <a:pathLst>
                <a:path w="47" h="48">
                  <a:moveTo>
                    <a:pt x="35" y="0"/>
                  </a:moveTo>
                  <a:lnTo>
                    <a:pt x="47" y="12"/>
                  </a:lnTo>
                  <a:lnTo>
                    <a:pt x="12" y="48"/>
                  </a:lnTo>
                  <a:lnTo>
                    <a:pt x="0" y="36"/>
                  </a:lnTo>
                  <a:lnTo>
                    <a:pt x="35"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Rectangle 15"/>
            <p:cNvSpPr>
              <a:spLocks noChangeArrowheads="1"/>
            </p:cNvSpPr>
            <p:nvPr/>
          </p:nvSpPr>
          <p:spPr bwMode="auto">
            <a:xfrm>
              <a:off x="3154363" y="3271838"/>
              <a:ext cx="8413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6"/>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7"/>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Rectangle 18"/>
            <p:cNvSpPr>
              <a:spLocks noChangeArrowheads="1"/>
            </p:cNvSpPr>
            <p:nvPr/>
          </p:nvSpPr>
          <p:spPr bwMode="auto">
            <a:xfrm>
              <a:off x="2828925" y="3605213"/>
              <a:ext cx="22225" cy="79375"/>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19"/>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0"/>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1"/>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2"/>
            <p:cNvSpPr>
              <a:spLocks noChangeArrowheads="1"/>
            </p:cNvSpPr>
            <p:nvPr/>
          </p:nvSpPr>
          <p:spPr bwMode="auto">
            <a:xfrm>
              <a:off x="2438400" y="3271838"/>
              <a:ext cx="7778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2"/>
            <p:cNvSpPr>
              <a:spLocks noChangeArrowheads="1"/>
            </p:cNvSpPr>
            <p:nvPr/>
          </p:nvSpPr>
          <p:spPr bwMode="auto">
            <a:xfrm>
              <a:off x="2200275" y="4154488"/>
              <a:ext cx="3794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5" name="Rectangle 93"/>
            <p:cNvSpPr>
              <a:spLocks noChangeArrowheads="1"/>
            </p:cNvSpPr>
            <p:nvPr/>
          </p:nvSpPr>
          <p:spPr bwMode="auto">
            <a:xfrm>
              <a:off x="2463800" y="4154488"/>
              <a:ext cx="1619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6" name="Rectangle 94"/>
            <p:cNvSpPr>
              <a:spLocks noChangeArrowheads="1"/>
            </p:cNvSpPr>
            <p:nvPr/>
          </p:nvSpPr>
          <p:spPr bwMode="auto">
            <a:xfrm>
              <a:off x="2535238" y="4154488"/>
              <a:ext cx="1074738"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y 15 minut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9" name="Freeform 97"/>
            <p:cNvSpPr>
              <a:spLocks noEditPoints="1"/>
            </p:cNvSpPr>
            <p:nvPr/>
          </p:nvSpPr>
          <p:spPr bwMode="auto">
            <a:xfrm>
              <a:off x="3492500"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98"/>
            <p:cNvSpPr>
              <a:spLocks/>
            </p:cNvSpPr>
            <p:nvPr/>
          </p:nvSpPr>
          <p:spPr bwMode="auto">
            <a:xfrm>
              <a:off x="3767138"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4" name="Group 3"/>
          <p:cNvGrpSpPr/>
          <p:nvPr/>
        </p:nvGrpSpPr>
        <p:grpSpPr>
          <a:xfrm>
            <a:off x="7820025" y="2435225"/>
            <a:ext cx="2178051" cy="2012951"/>
            <a:chOff x="7820025" y="2435225"/>
            <a:chExt cx="2178051" cy="2012951"/>
          </a:xfrm>
        </p:grpSpPr>
        <p:sp>
          <p:nvSpPr>
            <p:cNvPr id="51" name="Freeform 49"/>
            <p:cNvSpPr>
              <a:spLocks/>
            </p:cNvSpPr>
            <p:nvPr/>
          </p:nvSpPr>
          <p:spPr bwMode="auto">
            <a:xfrm>
              <a:off x="8609013" y="2940050"/>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0"/>
            <p:cNvSpPr>
              <a:spLocks/>
            </p:cNvSpPr>
            <p:nvPr/>
          </p:nvSpPr>
          <p:spPr bwMode="auto">
            <a:xfrm>
              <a:off x="8609013" y="2767013"/>
              <a:ext cx="1127125"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1"/>
            <p:cNvSpPr>
              <a:spLocks noChangeArrowheads="1"/>
            </p:cNvSpPr>
            <p:nvPr/>
          </p:nvSpPr>
          <p:spPr bwMode="auto">
            <a:xfrm>
              <a:off x="9032875"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2"/>
            <p:cNvSpPr>
              <a:spLocks noChangeArrowheads="1"/>
            </p:cNvSpPr>
            <p:nvPr/>
          </p:nvSpPr>
          <p:spPr bwMode="auto">
            <a:xfrm>
              <a:off x="9032875"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Rectangle 53"/>
            <p:cNvSpPr>
              <a:spLocks noChangeArrowheads="1"/>
            </p:cNvSpPr>
            <p:nvPr/>
          </p:nvSpPr>
          <p:spPr bwMode="auto">
            <a:xfrm>
              <a:off x="9032875"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4"/>
            <p:cNvSpPr>
              <a:spLocks noChangeArrowheads="1"/>
            </p:cNvSpPr>
            <p:nvPr/>
          </p:nvSpPr>
          <p:spPr bwMode="auto">
            <a:xfrm>
              <a:off x="9032875"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5"/>
            <p:cNvSpPr>
              <a:spLocks noChangeArrowheads="1"/>
            </p:cNvSpPr>
            <p:nvPr/>
          </p:nvSpPr>
          <p:spPr bwMode="auto">
            <a:xfrm>
              <a:off x="9371013"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6"/>
            <p:cNvSpPr>
              <a:spLocks noChangeArrowheads="1"/>
            </p:cNvSpPr>
            <p:nvPr/>
          </p:nvSpPr>
          <p:spPr bwMode="auto">
            <a:xfrm>
              <a:off x="9371013"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7"/>
            <p:cNvSpPr>
              <a:spLocks noChangeArrowheads="1"/>
            </p:cNvSpPr>
            <p:nvPr/>
          </p:nvSpPr>
          <p:spPr bwMode="auto">
            <a:xfrm>
              <a:off x="9371013"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58"/>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59"/>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Rectangle 60"/>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Rectangle 61"/>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Rectangle 62"/>
            <p:cNvSpPr>
              <a:spLocks noChangeArrowheads="1"/>
            </p:cNvSpPr>
            <p:nvPr/>
          </p:nvSpPr>
          <p:spPr bwMode="auto">
            <a:xfrm>
              <a:off x="8694738"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3"/>
            <p:cNvSpPr>
              <a:spLocks noChangeArrowheads="1"/>
            </p:cNvSpPr>
            <p:nvPr/>
          </p:nvSpPr>
          <p:spPr bwMode="auto">
            <a:xfrm>
              <a:off x="8694738" y="34766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4"/>
            <p:cNvSpPr>
              <a:spLocks noChangeArrowheads="1"/>
            </p:cNvSpPr>
            <p:nvPr/>
          </p:nvSpPr>
          <p:spPr bwMode="auto">
            <a:xfrm>
              <a:off x="9032875"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5"/>
            <p:cNvSpPr>
              <a:spLocks noChangeArrowheads="1"/>
            </p:cNvSpPr>
            <p:nvPr/>
          </p:nvSpPr>
          <p:spPr bwMode="auto">
            <a:xfrm>
              <a:off x="9371013"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6"/>
            <p:cNvSpPr>
              <a:spLocks noEditPoints="1"/>
            </p:cNvSpPr>
            <p:nvPr/>
          </p:nvSpPr>
          <p:spPr bwMode="auto">
            <a:xfrm>
              <a:off x="8609013" y="2940050"/>
              <a:ext cx="822325" cy="792163"/>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7"/>
            <p:cNvSpPr>
              <a:spLocks/>
            </p:cNvSpPr>
            <p:nvPr/>
          </p:nvSpPr>
          <p:spPr bwMode="auto">
            <a:xfrm>
              <a:off x="8609013" y="27670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8"/>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69"/>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0"/>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1"/>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2"/>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3"/>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4"/>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5"/>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6"/>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7"/>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1"/>
            <p:cNvSpPr>
              <a:spLocks noEditPoints="1"/>
            </p:cNvSpPr>
            <p:nvPr/>
          </p:nvSpPr>
          <p:spPr bwMode="auto">
            <a:xfrm>
              <a:off x="8345488" y="2435225"/>
              <a:ext cx="1652588" cy="1660525"/>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cubicBezTo>
                    <a:pt x="425" y="401"/>
                    <a:pt x="425" y="401"/>
                    <a:pt x="425" y="401"/>
                  </a:cubicBez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lnTo>
                    <a:pt x="10" y="51"/>
                  </a:ln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6"/>
            <p:cNvSpPr>
              <a:spLocks noChangeArrowheads="1"/>
            </p:cNvSpPr>
            <p:nvPr/>
          </p:nvSpPr>
          <p:spPr bwMode="auto">
            <a:xfrm>
              <a:off x="8751888" y="4154488"/>
              <a:ext cx="9874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lean tab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1" name="Freeform 99"/>
            <p:cNvSpPr>
              <a:spLocks noEditPoints="1"/>
            </p:cNvSpPr>
            <p:nvPr/>
          </p:nvSpPr>
          <p:spPr bwMode="auto">
            <a:xfrm>
              <a:off x="7820025"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Freeform 100"/>
            <p:cNvSpPr>
              <a:spLocks/>
            </p:cNvSpPr>
            <p:nvPr/>
          </p:nvSpPr>
          <p:spPr bwMode="auto">
            <a:xfrm>
              <a:off x="8094663"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2" name="Group 1"/>
          <p:cNvGrpSpPr/>
          <p:nvPr/>
        </p:nvGrpSpPr>
        <p:grpSpPr>
          <a:xfrm>
            <a:off x="4019550" y="2435225"/>
            <a:ext cx="3544888" cy="2012951"/>
            <a:chOff x="4019550" y="2435225"/>
            <a:chExt cx="3544888" cy="2012951"/>
          </a:xfrm>
        </p:grpSpPr>
        <p:sp>
          <p:nvSpPr>
            <p:cNvPr id="25" name="Freeform 23"/>
            <p:cNvSpPr>
              <a:spLocks/>
            </p:cNvSpPr>
            <p:nvPr/>
          </p:nvSpPr>
          <p:spPr bwMode="auto">
            <a:xfrm>
              <a:off x="5367338" y="2986088"/>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4"/>
            <p:cNvSpPr>
              <a:spLocks/>
            </p:cNvSpPr>
            <p:nvPr/>
          </p:nvSpPr>
          <p:spPr bwMode="auto">
            <a:xfrm>
              <a:off x="5367338" y="2811463"/>
              <a:ext cx="1127125" cy="174625"/>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5"/>
            <p:cNvSpPr>
              <a:spLocks noChangeArrowheads="1"/>
            </p:cNvSpPr>
            <p:nvPr/>
          </p:nvSpPr>
          <p:spPr bwMode="auto">
            <a:xfrm>
              <a:off x="5791200"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6"/>
            <p:cNvSpPr>
              <a:spLocks noChangeArrowheads="1"/>
            </p:cNvSpPr>
            <p:nvPr/>
          </p:nvSpPr>
          <p:spPr bwMode="auto">
            <a:xfrm>
              <a:off x="5791200" y="30575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7"/>
            <p:cNvSpPr>
              <a:spLocks noChangeArrowheads="1"/>
            </p:cNvSpPr>
            <p:nvPr/>
          </p:nvSpPr>
          <p:spPr bwMode="auto">
            <a:xfrm>
              <a:off x="5791200"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8"/>
            <p:cNvSpPr>
              <a:spLocks noChangeArrowheads="1"/>
            </p:cNvSpPr>
            <p:nvPr/>
          </p:nvSpPr>
          <p:spPr bwMode="auto">
            <a:xfrm>
              <a:off x="5791200" y="32908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29"/>
            <p:cNvSpPr>
              <a:spLocks noChangeArrowheads="1"/>
            </p:cNvSpPr>
            <p:nvPr/>
          </p:nvSpPr>
          <p:spPr bwMode="auto">
            <a:xfrm>
              <a:off x="6129338"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0"/>
            <p:cNvSpPr>
              <a:spLocks noChangeArrowheads="1"/>
            </p:cNvSpPr>
            <p:nvPr/>
          </p:nvSpPr>
          <p:spPr bwMode="auto">
            <a:xfrm>
              <a:off x="6129338"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1"/>
            <p:cNvSpPr>
              <a:spLocks noChangeArrowheads="1"/>
            </p:cNvSpPr>
            <p:nvPr/>
          </p:nvSpPr>
          <p:spPr bwMode="auto">
            <a:xfrm>
              <a:off x="5454650" y="3057525"/>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2"/>
            <p:cNvSpPr>
              <a:spLocks noChangeArrowheads="1"/>
            </p:cNvSpPr>
            <p:nvPr/>
          </p:nvSpPr>
          <p:spPr bwMode="auto">
            <a:xfrm>
              <a:off x="5454650" y="3057525"/>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3"/>
            <p:cNvSpPr>
              <a:spLocks noChangeArrowheads="1"/>
            </p:cNvSpPr>
            <p:nvPr/>
          </p:nvSpPr>
          <p:spPr bwMode="auto">
            <a:xfrm>
              <a:off x="5454650" y="3290888"/>
              <a:ext cx="280988"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4"/>
            <p:cNvSpPr>
              <a:spLocks noChangeArrowheads="1"/>
            </p:cNvSpPr>
            <p:nvPr/>
          </p:nvSpPr>
          <p:spPr bwMode="auto">
            <a:xfrm>
              <a:off x="5454650" y="3290888"/>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5"/>
            <p:cNvSpPr>
              <a:spLocks noChangeArrowheads="1"/>
            </p:cNvSpPr>
            <p:nvPr/>
          </p:nvSpPr>
          <p:spPr bwMode="auto">
            <a:xfrm>
              <a:off x="5454650" y="3521075"/>
              <a:ext cx="280988"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6"/>
            <p:cNvSpPr>
              <a:spLocks noChangeArrowheads="1"/>
            </p:cNvSpPr>
            <p:nvPr/>
          </p:nvSpPr>
          <p:spPr bwMode="auto">
            <a:xfrm>
              <a:off x="5454650" y="3521075"/>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7"/>
            <p:cNvSpPr>
              <a:spLocks noChangeArrowheads="1"/>
            </p:cNvSpPr>
            <p:nvPr/>
          </p:nvSpPr>
          <p:spPr bwMode="auto">
            <a:xfrm>
              <a:off x="5791200"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Rectangle 38"/>
            <p:cNvSpPr>
              <a:spLocks noChangeArrowheads="1"/>
            </p:cNvSpPr>
            <p:nvPr/>
          </p:nvSpPr>
          <p:spPr bwMode="auto">
            <a:xfrm>
              <a:off x="6129338"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39"/>
            <p:cNvSpPr>
              <a:spLocks/>
            </p:cNvSpPr>
            <p:nvPr/>
          </p:nvSpPr>
          <p:spPr bwMode="auto">
            <a:xfrm>
              <a:off x="5367338" y="2986088"/>
              <a:ext cx="822325" cy="792163"/>
            </a:xfrm>
            <a:custGeom>
              <a:avLst/>
              <a:gdLst>
                <a:gd name="T0" fmla="*/ 219 w 219"/>
                <a:gd name="T1" fmla="*/ 0 h 210"/>
                <a:gd name="T2" fmla="*/ 49 w 219"/>
                <a:gd name="T3" fmla="*/ 0 h 210"/>
                <a:gd name="T4" fmla="*/ 61 w 219"/>
                <a:gd name="T5" fmla="*/ 15 h 210"/>
                <a:gd name="T6" fmla="*/ 64 w 219"/>
                <a:gd name="T7" fmla="*/ 19 h 210"/>
                <a:gd name="T8" fmla="*/ 98 w 219"/>
                <a:gd name="T9" fmla="*/ 19 h 210"/>
                <a:gd name="T10" fmla="*/ 98 w 219"/>
                <a:gd name="T11" fmla="*/ 65 h 210"/>
                <a:gd name="T12" fmla="*/ 71 w 219"/>
                <a:gd name="T13" fmla="*/ 65 h 210"/>
                <a:gd name="T14" fmla="*/ 70 w 219"/>
                <a:gd name="T15" fmla="*/ 71 h 210"/>
                <a:gd name="T16" fmla="*/ 67 w 219"/>
                <a:gd name="T17" fmla="*/ 81 h 210"/>
                <a:gd name="T18" fmla="*/ 98 w 219"/>
                <a:gd name="T19" fmla="*/ 81 h 210"/>
                <a:gd name="T20" fmla="*/ 98 w 219"/>
                <a:gd name="T21" fmla="*/ 127 h 210"/>
                <a:gd name="T22" fmla="*/ 23 w 219"/>
                <a:gd name="T23" fmla="*/ 127 h 210"/>
                <a:gd name="T24" fmla="*/ 23 w 219"/>
                <a:gd name="T25" fmla="*/ 123 h 210"/>
                <a:gd name="T26" fmla="*/ 0 w 219"/>
                <a:gd name="T27" fmla="*/ 127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19" y="0"/>
                  </a:moveTo>
                  <a:cubicBezTo>
                    <a:pt x="49" y="0"/>
                    <a:pt x="49" y="0"/>
                    <a:pt x="49" y="0"/>
                  </a:cubicBezTo>
                  <a:cubicBezTo>
                    <a:pt x="53" y="4"/>
                    <a:pt x="58" y="10"/>
                    <a:pt x="61" y="15"/>
                  </a:cubicBezTo>
                  <a:cubicBezTo>
                    <a:pt x="62" y="17"/>
                    <a:pt x="63" y="18"/>
                    <a:pt x="64" y="19"/>
                  </a:cubicBezTo>
                  <a:cubicBezTo>
                    <a:pt x="98" y="19"/>
                    <a:pt x="98" y="19"/>
                    <a:pt x="98" y="19"/>
                  </a:cubicBezTo>
                  <a:cubicBezTo>
                    <a:pt x="98" y="65"/>
                    <a:pt x="98" y="65"/>
                    <a:pt x="98" y="65"/>
                  </a:cubicBezTo>
                  <a:cubicBezTo>
                    <a:pt x="71" y="65"/>
                    <a:pt x="71" y="65"/>
                    <a:pt x="71" y="65"/>
                  </a:cubicBezTo>
                  <a:cubicBezTo>
                    <a:pt x="71" y="67"/>
                    <a:pt x="70" y="69"/>
                    <a:pt x="70" y="71"/>
                  </a:cubicBezTo>
                  <a:cubicBezTo>
                    <a:pt x="69" y="75"/>
                    <a:pt x="68" y="78"/>
                    <a:pt x="67" y="81"/>
                  </a:cubicBezTo>
                  <a:cubicBezTo>
                    <a:pt x="98" y="81"/>
                    <a:pt x="98" y="81"/>
                    <a:pt x="98" y="81"/>
                  </a:cubicBezTo>
                  <a:cubicBezTo>
                    <a:pt x="98" y="127"/>
                    <a:pt x="98" y="127"/>
                    <a:pt x="98" y="127"/>
                  </a:cubicBezTo>
                  <a:cubicBezTo>
                    <a:pt x="23" y="127"/>
                    <a:pt x="23" y="127"/>
                    <a:pt x="23" y="127"/>
                  </a:cubicBezTo>
                  <a:cubicBezTo>
                    <a:pt x="23" y="123"/>
                    <a:pt x="23" y="123"/>
                    <a:pt x="23" y="123"/>
                  </a:cubicBezTo>
                  <a:cubicBezTo>
                    <a:pt x="16" y="126"/>
                    <a:pt x="8" y="127"/>
                    <a:pt x="0" y="127"/>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0"/>
            <p:cNvSpPr>
              <a:spLocks/>
            </p:cNvSpPr>
            <p:nvPr/>
          </p:nvSpPr>
          <p:spPr bwMode="auto">
            <a:xfrm>
              <a:off x="5367338" y="2811463"/>
              <a:ext cx="984250" cy="174625"/>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26 h 46"/>
                <a:gd name="T12" fmla="*/ 16 w 262"/>
                <a:gd name="T13" fmla="*/ 28 h 46"/>
                <a:gd name="T14" fmla="*/ 49 w 262"/>
                <a:gd name="T15" fmla="*/ 46 h 46"/>
                <a:gd name="T16" fmla="*/ 219 w 262"/>
                <a:gd name="T17" fmla="*/ 46 h 46"/>
                <a:gd name="T18" fmla="*/ 262 w 262"/>
                <a:gd name="T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26"/>
                    <a:pt x="0" y="26"/>
                    <a:pt x="0" y="26"/>
                  </a:cubicBezTo>
                  <a:cubicBezTo>
                    <a:pt x="5" y="26"/>
                    <a:pt x="11" y="27"/>
                    <a:pt x="16" y="28"/>
                  </a:cubicBezTo>
                  <a:cubicBezTo>
                    <a:pt x="28" y="31"/>
                    <a:pt x="39" y="37"/>
                    <a:pt x="49"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1"/>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2"/>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3"/>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Freeform 44"/>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Freeform 45"/>
            <p:cNvSpPr>
              <a:spLocks/>
            </p:cNvSpPr>
            <p:nvPr/>
          </p:nvSpPr>
          <p:spPr bwMode="auto">
            <a:xfrm>
              <a:off x="5608638" y="3057525"/>
              <a:ext cx="127000" cy="173038"/>
            </a:xfrm>
            <a:custGeom>
              <a:avLst/>
              <a:gdLst>
                <a:gd name="T0" fmla="*/ 34 w 34"/>
                <a:gd name="T1" fmla="*/ 0 h 46"/>
                <a:gd name="T2" fmla="*/ 0 w 34"/>
                <a:gd name="T3" fmla="*/ 0 h 46"/>
                <a:gd name="T4" fmla="*/ 7 w 34"/>
                <a:gd name="T5" fmla="*/ 46 h 46"/>
                <a:gd name="T6" fmla="*/ 34 w 34"/>
                <a:gd name="T7" fmla="*/ 46 h 46"/>
                <a:gd name="T8" fmla="*/ 34 w 34"/>
                <a:gd name="T9" fmla="*/ 0 h 46"/>
              </a:gdLst>
              <a:ahLst/>
              <a:cxnLst>
                <a:cxn ang="0">
                  <a:pos x="T0" y="T1"/>
                </a:cxn>
                <a:cxn ang="0">
                  <a:pos x="T2" y="T3"/>
                </a:cxn>
                <a:cxn ang="0">
                  <a:pos x="T4" y="T5"/>
                </a:cxn>
                <a:cxn ang="0">
                  <a:pos x="T6" y="T7"/>
                </a:cxn>
                <a:cxn ang="0">
                  <a:pos x="T8" y="T9"/>
                </a:cxn>
              </a:cxnLst>
              <a:rect l="0" t="0" r="r" b="b"/>
              <a:pathLst>
                <a:path w="34" h="46">
                  <a:moveTo>
                    <a:pt x="34" y="0"/>
                  </a:moveTo>
                  <a:cubicBezTo>
                    <a:pt x="0" y="0"/>
                    <a:pt x="0" y="0"/>
                    <a:pt x="0" y="0"/>
                  </a:cubicBezTo>
                  <a:cubicBezTo>
                    <a:pt x="7" y="14"/>
                    <a:pt x="10" y="30"/>
                    <a:pt x="7" y="46"/>
                  </a:cubicBezTo>
                  <a:cubicBezTo>
                    <a:pt x="34" y="46"/>
                    <a:pt x="34" y="46"/>
                    <a:pt x="34" y="46"/>
                  </a:cubicBezTo>
                  <a:cubicBezTo>
                    <a:pt x="34" y="0"/>
                    <a:pt x="34" y="0"/>
                    <a:pt x="3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6"/>
            <p:cNvSpPr>
              <a:spLocks/>
            </p:cNvSpPr>
            <p:nvPr/>
          </p:nvSpPr>
          <p:spPr bwMode="auto">
            <a:xfrm>
              <a:off x="5454650" y="3290888"/>
              <a:ext cx="280988" cy="174625"/>
            </a:xfrm>
            <a:custGeom>
              <a:avLst/>
              <a:gdLst>
                <a:gd name="T0" fmla="*/ 75 w 75"/>
                <a:gd name="T1" fmla="*/ 0 h 46"/>
                <a:gd name="T2" fmla="*/ 44 w 75"/>
                <a:gd name="T3" fmla="*/ 0 h 46"/>
                <a:gd name="T4" fmla="*/ 0 w 75"/>
                <a:gd name="T5" fmla="*/ 42 h 46"/>
                <a:gd name="T6" fmla="*/ 0 w 75"/>
                <a:gd name="T7" fmla="*/ 46 h 46"/>
                <a:gd name="T8" fmla="*/ 75 w 75"/>
                <a:gd name="T9" fmla="*/ 46 h 46"/>
                <a:gd name="T10" fmla="*/ 75 w 75"/>
                <a:gd name="T11" fmla="*/ 0 h 46"/>
              </a:gdLst>
              <a:ahLst/>
              <a:cxnLst>
                <a:cxn ang="0">
                  <a:pos x="T0" y="T1"/>
                </a:cxn>
                <a:cxn ang="0">
                  <a:pos x="T2" y="T3"/>
                </a:cxn>
                <a:cxn ang="0">
                  <a:pos x="T4" y="T5"/>
                </a:cxn>
                <a:cxn ang="0">
                  <a:pos x="T6" y="T7"/>
                </a:cxn>
                <a:cxn ang="0">
                  <a:pos x="T8" y="T9"/>
                </a:cxn>
                <a:cxn ang="0">
                  <a:pos x="T10" y="T11"/>
                </a:cxn>
              </a:cxnLst>
              <a:rect l="0" t="0" r="r" b="b"/>
              <a:pathLst>
                <a:path w="75" h="46">
                  <a:moveTo>
                    <a:pt x="75" y="0"/>
                  </a:moveTo>
                  <a:cubicBezTo>
                    <a:pt x="44" y="0"/>
                    <a:pt x="44" y="0"/>
                    <a:pt x="44" y="0"/>
                  </a:cubicBezTo>
                  <a:cubicBezTo>
                    <a:pt x="36" y="20"/>
                    <a:pt x="20" y="35"/>
                    <a:pt x="0" y="42"/>
                  </a:cubicBezTo>
                  <a:cubicBezTo>
                    <a:pt x="0" y="46"/>
                    <a:pt x="0" y="46"/>
                    <a:pt x="0" y="46"/>
                  </a:cubicBezTo>
                  <a:cubicBezTo>
                    <a:pt x="75" y="46"/>
                    <a:pt x="75" y="46"/>
                    <a:pt x="75" y="46"/>
                  </a:cubicBezTo>
                  <a:cubicBezTo>
                    <a:pt x="75" y="0"/>
                    <a:pt x="75" y="0"/>
                    <a:pt x="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7"/>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8"/>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8"/>
            <p:cNvSpPr>
              <a:spLocks/>
            </p:cNvSpPr>
            <p:nvPr/>
          </p:nvSpPr>
          <p:spPr bwMode="auto">
            <a:xfrm>
              <a:off x="4883150" y="2909888"/>
              <a:ext cx="766763" cy="750888"/>
            </a:xfrm>
            <a:custGeom>
              <a:avLst/>
              <a:gdLst>
                <a:gd name="T0" fmla="*/ 190 w 204"/>
                <a:gd name="T1" fmla="*/ 35 h 199"/>
                <a:gd name="T2" fmla="*/ 145 w 204"/>
                <a:gd name="T3" fmla="*/ 2 h 199"/>
                <a:gd name="T4" fmla="*/ 127 w 204"/>
                <a:gd name="T5" fmla="*/ 0 h 199"/>
                <a:gd name="T6" fmla="*/ 56 w 204"/>
                <a:gd name="T7" fmla="*/ 56 h 199"/>
                <a:gd name="T8" fmla="*/ 64 w 204"/>
                <a:gd name="T9" fmla="*/ 110 h 199"/>
                <a:gd name="T10" fmla="*/ 7 w 204"/>
                <a:gd name="T11" fmla="*/ 167 h 199"/>
                <a:gd name="T12" fmla="*/ 8 w 204"/>
                <a:gd name="T13" fmla="*/ 194 h 199"/>
                <a:gd name="T14" fmla="*/ 21 w 204"/>
                <a:gd name="T15" fmla="*/ 199 h 199"/>
                <a:gd name="T16" fmla="*/ 34 w 204"/>
                <a:gd name="T17" fmla="*/ 194 h 199"/>
                <a:gd name="T18" fmla="*/ 90 w 204"/>
                <a:gd name="T19" fmla="*/ 137 h 199"/>
                <a:gd name="T20" fmla="*/ 110 w 204"/>
                <a:gd name="T21" fmla="*/ 145 h 199"/>
                <a:gd name="T22" fmla="*/ 127 w 204"/>
                <a:gd name="T23" fmla="*/ 147 h 199"/>
                <a:gd name="T24" fmla="*/ 199 w 204"/>
                <a:gd name="T25" fmla="*/ 91 h 199"/>
                <a:gd name="T26" fmla="*/ 190 w 204"/>
                <a:gd name="T27" fmla="*/ 3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4" h="199">
                  <a:moveTo>
                    <a:pt x="190" y="35"/>
                  </a:moveTo>
                  <a:cubicBezTo>
                    <a:pt x="180" y="19"/>
                    <a:pt x="164" y="7"/>
                    <a:pt x="145" y="2"/>
                  </a:cubicBezTo>
                  <a:cubicBezTo>
                    <a:pt x="139" y="1"/>
                    <a:pt x="133" y="0"/>
                    <a:pt x="127" y="0"/>
                  </a:cubicBezTo>
                  <a:cubicBezTo>
                    <a:pt x="93" y="0"/>
                    <a:pt x="64" y="23"/>
                    <a:pt x="56" y="56"/>
                  </a:cubicBezTo>
                  <a:cubicBezTo>
                    <a:pt x="51" y="74"/>
                    <a:pt x="54" y="94"/>
                    <a:pt x="64" y="110"/>
                  </a:cubicBezTo>
                  <a:cubicBezTo>
                    <a:pt x="7" y="167"/>
                    <a:pt x="7" y="167"/>
                    <a:pt x="7" y="167"/>
                  </a:cubicBezTo>
                  <a:cubicBezTo>
                    <a:pt x="0" y="174"/>
                    <a:pt x="0" y="186"/>
                    <a:pt x="8" y="194"/>
                  </a:cubicBezTo>
                  <a:cubicBezTo>
                    <a:pt x="11" y="197"/>
                    <a:pt x="16" y="199"/>
                    <a:pt x="21" y="199"/>
                  </a:cubicBezTo>
                  <a:cubicBezTo>
                    <a:pt x="26" y="199"/>
                    <a:pt x="31" y="197"/>
                    <a:pt x="34" y="194"/>
                  </a:cubicBezTo>
                  <a:cubicBezTo>
                    <a:pt x="90" y="137"/>
                    <a:pt x="90" y="137"/>
                    <a:pt x="90" y="137"/>
                  </a:cubicBezTo>
                  <a:cubicBezTo>
                    <a:pt x="97" y="141"/>
                    <a:pt x="103" y="143"/>
                    <a:pt x="110" y="145"/>
                  </a:cubicBezTo>
                  <a:cubicBezTo>
                    <a:pt x="116" y="146"/>
                    <a:pt x="121" y="147"/>
                    <a:pt x="127" y="147"/>
                  </a:cubicBezTo>
                  <a:cubicBezTo>
                    <a:pt x="161" y="147"/>
                    <a:pt x="191" y="124"/>
                    <a:pt x="199" y="91"/>
                  </a:cubicBezTo>
                  <a:cubicBezTo>
                    <a:pt x="204" y="72"/>
                    <a:pt x="201" y="52"/>
                    <a:pt x="190" y="35"/>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79"/>
            <p:cNvSpPr>
              <a:spLocks/>
            </p:cNvSpPr>
            <p:nvPr/>
          </p:nvSpPr>
          <p:spPr bwMode="auto">
            <a:xfrm>
              <a:off x="5160963" y="2992438"/>
              <a:ext cx="401638" cy="388938"/>
            </a:xfrm>
            <a:custGeom>
              <a:avLst/>
              <a:gdLst>
                <a:gd name="T0" fmla="*/ 103 w 107"/>
                <a:gd name="T1" fmla="*/ 64 h 103"/>
                <a:gd name="T2" fmla="*/ 53 w 107"/>
                <a:gd name="T3" fmla="*/ 103 h 103"/>
                <a:gd name="T4" fmla="*/ 41 w 107"/>
                <a:gd name="T5" fmla="*/ 102 h 103"/>
                <a:gd name="T6" fmla="*/ 24 w 107"/>
                <a:gd name="T7" fmla="*/ 94 h 103"/>
                <a:gd name="T8" fmla="*/ 11 w 107"/>
                <a:gd name="T9" fmla="*/ 81 h 103"/>
                <a:gd name="T10" fmla="*/ 3 w 107"/>
                <a:gd name="T11" fmla="*/ 39 h 103"/>
                <a:gd name="T12" fmla="*/ 53 w 107"/>
                <a:gd name="T13" fmla="*/ 0 h 103"/>
                <a:gd name="T14" fmla="*/ 66 w 107"/>
                <a:gd name="T15" fmla="*/ 1 h 103"/>
                <a:gd name="T16" fmla="*/ 97 w 107"/>
                <a:gd name="T17" fmla="*/ 25 h 103"/>
                <a:gd name="T18" fmla="*/ 103 w 107"/>
                <a:gd name="T19" fmla="*/ 6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3">
                  <a:moveTo>
                    <a:pt x="103" y="64"/>
                  </a:moveTo>
                  <a:cubicBezTo>
                    <a:pt x="98" y="87"/>
                    <a:pt x="77" y="103"/>
                    <a:pt x="53" y="103"/>
                  </a:cubicBezTo>
                  <a:cubicBezTo>
                    <a:pt x="49" y="103"/>
                    <a:pt x="45" y="103"/>
                    <a:pt x="41" y="102"/>
                  </a:cubicBezTo>
                  <a:cubicBezTo>
                    <a:pt x="35" y="100"/>
                    <a:pt x="29" y="97"/>
                    <a:pt x="24" y="94"/>
                  </a:cubicBezTo>
                  <a:cubicBezTo>
                    <a:pt x="19" y="90"/>
                    <a:pt x="14" y="86"/>
                    <a:pt x="11" y="81"/>
                  </a:cubicBezTo>
                  <a:cubicBezTo>
                    <a:pt x="3" y="69"/>
                    <a:pt x="0" y="54"/>
                    <a:pt x="3" y="39"/>
                  </a:cubicBezTo>
                  <a:cubicBezTo>
                    <a:pt x="9" y="16"/>
                    <a:pt x="30" y="0"/>
                    <a:pt x="53" y="0"/>
                  </a:cubicBezTo>
                  <a:cubicBezTo>
                    <a:pt x="57" y="0"/>
                    <a:pt x="62" y="0"/>
                    <a:pt x="66" y="1"/>
                  </a:cubicBezTo>
                  <a:cubicBezTo>
                    <a:pt x="79" y="5"/>
                    <a:pt x="90" y="13"/>
                    <a:pt x="97" y="25"/>
                  </a:cubicBezTo>
                  <a:cubicBezTo>
                    <a:pt x="105" y="37"/>
                    <a:pt x="107" y="51"/>
                    <a:pt x="103"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0"/>
            <p:cNvSpPr>
              <a:spLocks noEditPoints="1"/>
            </p:cNvSpPr>
            <p:nvPr/>
          </p:nvSpPr>
          <p:spPr bwMode="auto">
            <a:xfrm>
              <a:off x="5160963" y="2997200"/>
              <a:ext cx="393700" cy="384175"/>
            </a:xfrm>
            <a:custGeom>
              <a:avLst/>
              <a:gdLst>
                <a:gd name="T0" fmla="*/ 3 w 105"/>
                <a:gd name="T1" fmla="*/ 38 h 102"/>
                <a:gd name="T2" fmla="*/ 2 w 105"/>
                <a:gd name="T3" fmla="*/ 50 h 102"/>
                <a:gd name="T4" fmla="*/ 8 w 105"/>
                <a:gd name="T5" fmla="*/ 74 h 102"/>
                <a:gd name="T6" fmla="*/ 3 w 105"/>
                <a:gd name="T7" fmla="*/ 38 h 102"/>
                <a:gd name="T8" fmla="*/ 66 w 105"/>
                <a:gd name="T9" fmla="*/ 0 h 102"/>
                <a:gd name="T10" fmla="*/ 81 w 105"/>
                <a:gd name="T11" fmla="*/ 7 h 102"/>
                <a:gd name="T12" fmla="*/ 16 w 105"/>
                <a:gd name="T13" fmla="*/ 85 h 102"/>
                <a:gd name="T14" fmla="*/ 11 w 105"/>
                <a:gd name="T15" fmla="*/ 80 h 102"/>
                <a:gd name="T16" fmla="*/ 24 w 105"/>
                <a:gd name="T17" fmla="*/ 93 h 102"/>
                <a:gd name="T18" fmla="*/ 41 w 105"/>
                <a:gd name="T19" fmla="*/ 101 h 102"/>
                <a:gd name="T20" fmla="*/ 53 w 105"/>
                <a:gd name="T21" fmla="*/ 102 h 102"/>
                <a:gd name="T22" fmla="*/ 103 w 105"/>
                <a:gd name="T23" fmla="*/ 63 h 102"/>
                <a:gd name="T24" fmla="*/ 105 w 105"/>
                <a:gd name="T25" fmla="*/ 50 h 102"/>
                <a:gd name="T26" fmla="*/ 97 w 105"/>
                <a:gd name="T27" fmla="*/ 24 h 102"/>
                <a:gd name="T28" fmla="*/ 66 w 105"/>
                <a:gd name="T2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102">
                  <a:moveTo>
                    <a:pt x="3" y="38"/>
                  </a:moveTo>
                  <a:cubicBezTo>
                    <a:pt x="2" y="42"/>
                    <a:pt x="2" y="46"/>
                    <a:pt x="2" y="50"/>
                  </a:cubicBezTo>
                  <a:cubicBezTo>
                    <a:pt x="2" y="59"/>
                    <a:pt x="4" y="67"/>
                    <a:pt x="8" y="74"/>
                  </a:cubicBezTo>
                  <a:cubicBezTo>
                    <a:pt x="2" y="64"/>
                    <a:pt x="0" y="51"/>
                    <a:pt x="3" y="38"/>
                  </a:cubicBezTo>
                  <a:moveTo>
                    <a:pt x="66" y="0"/>
                  </a:moveTo>
                  <a:cubicBezTo>
                    <a:pt x="71" y="2"/>
                    <a:pt x="77" y="4"/>
                    <a:pt x="81" y="7"/>
                  </a:cubicBezTo>
                  <a:cubicBezTo>
                    <a:pt x="50" y="24"/>
                    <a:pt x="26" y="52"/>
                    <a:pt x="16" y="85"/>
                  </a:cubicBezTo>
                  <a:cubicBezTo>
                    <a:pt x="14" y="84"/>
                    <a:pt x="13" y="82"/>
                    <a:pt x="11" y="80"/>
                  </a:cubicBezTo>
                  <a:cubicBezTo>
                    <a:pt x="15" y="85"/>
                    <a:pt x="19" y="90"/>
                    <a:pt x="24" y="93"/>
                  </a:cubicBezTo>
                  <a:cubicBezTo>
                    <a:pt x="29" y="96"/>
                    <a:pt x="35" y="99"/>
                    <a:pt x="41" y="101"/>
                  </a:cubicBezTo>
                  <a:cubicBezTo>
                    <a:pt x="45" y="102"/>
                    <a:pt x="49" y="102"/>
                    <a:pt x="53" y="102"/>
                  </a:cubicBezTo>
                  <a:cubicBezTo>
                    <a:pt x="77" y="102"/>
                    <a:pt x="98" y="86"/>
                    <a:pt x="103" y="63"/>
                  </a:cubicBezTo>
                  <a:cubicBezTo>
                    <a:pt x="104" y="59"/>
                    <a:pt x="105" y="55"/>
                    <a:pt x="105" y="50"/>
                  </a:cubicBezTo>
                  <a:cubicBezTo>
                    <a:pt x="105" y="41"/>
                    <a:pt x="102" y="32"/>
                    <a:pt x="97" y="24"/>
                  </a:cubicBezTo>
                  <a:cubicBezTo>
                    <a:pt x="90" y="12"/>
                    <a:pt x="79" y="4"/>
                    <a:pt x="66" y="0"/>
                  </a:cubicBezTo>
                </a:path>
              </a:pathLst>
            </a:custGeom>
            <a:solidFill>
              <a:srgbClr val="EEF7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1"/>
            <p:cNvSpPr>
              <a:spLocks noEditPoints="1"/>
            </p:cNvSpPr>
            <p:nvPr/>
          </p:nvSpPr>
          <p:spPr bwMode="auto">
            <a:xfrm>
              <a:off x="5172075" y="2992438"/>
              <a:ext cx="236538" cy="306388"/>
            </a:xfrm>
            <a:custGeom>
              <a:avLst/>
              <a:gdLst>
                <a:gd name="T0" fmla="*/ 5 w 63"/>
                <a:gd name="T1" fmla="*/ 75 h 81"/>
                <a:gd name="T2" fmla="*/ 8 w 63"/>
                <a:gd name="T3" fmla="*/ 81 h 81"/>
                <a:gd name="T4" fmla="*/ 8 w 63"/>
                <a:gd name="T5" fmla="*/ 81 h 81"/>
                <a:gd name="T6" fmla="*/ 8 w 63"/>
                <a:gd name="T7" fmla="*/ 81 h 81"/>
                <a:gd name="T8" fmla="*/ 5 w 63"/>
                <a:gd name="T9" fmla="*/ 75 h 81"/>
                <a:gd name="T10" fmla="*/ 50 w 63"/>
                <a:gd name="T11" fmla="*/ 0 h 81"/>
                <a:gd name="T12" fmla="*/ 0 w 63"/>
                <a:gd name="T13" fmla="*/ 39 h 81"/>
                <a:gd name="T14" fmla="*/ 0 w 63"/>
                <a:gd name="T15" fmla="*/ 39 h 81"/>
                <a:gd name="T16" fmla="*/ 0 w 63"/>
                <a:gd name="T17" fmla="*/ 39 h 81"/>
                <a:gd name="T18" fmla="*/ 50 w 63"/>
                <a:gd name="T19" fmla="*/ 0 h 81"/>
                <a:gd name="T20" fmla="*/ 63 w 63"/>
                <a:gd name="T21" fmla="*/ 1 h 81"/>
                <a:gd name="T22" fmla="*/ 63 w 63"/>
                <a:gd name="T23" fmla="*/ 1 h 81"/>
                <a:gd name="T24" fmla="*/ 63 w 63"/>
                <a:gd name="T25" fmla="*/ 1 h 81"/>
                <a:gd name="T26" fmla="*/ 50 w 63"/>
                <a:gd name="T2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81">
                  <a:moveTo>
                    <a:pt x="5" y="75"/>
                  </a:moveTo>
                  <a:cubicBezTo>
                    <a:pt x="6" y="77"/>
                    <a:pt x="7" y="79"/>
                    <a:pt x="8" y="81"/>
                  </a:cubicBezTo>
                  <a:cubicBezTo>
                    <a:pt x="8" y="81"/>
                    <a:pt x="8" y="81"/>
                    <a:pt x="8" y="81"/>
                  </a:cubicBezTo>
                  <a:cubicBezTo>
                    <a:pt x="8" y="81"/>
                    <a:pt x="8" y="81"/>
                    <a:pt x="8" y="81"/>
                  </a:cubicBezTo>
                  <a:cubicBezTo>
                    <a:pt x="7" y="79"/>
                    <a:pt x="6" y="77"/>
                    <a:pt x="5" y="75"/>
                  </a:cubicBezTo>
                  <a:moveTo>
                    <a:pt x="50" y="0"/>
                  </a:moveTo>
                  <a:cubicBezTo>
                    <a:pt x="27" y="0"/>
                    <a:pt x="6" y="16"/>
                    <a:pt x="0" y="39"/>
                  </a:cubicBezTo>
                  <a:cubicBezTo>
                    <a:pt x="0" y="39"/>
                    <a:pt x="0" y="39"/>
                    <a:pt x="0" y="39"/>
                  </a:cubicBezTo>
                  <a:cubicBezTo>
                    <a:pt x="0" y="39"/>
                    <a:pt x="0" y="39"/>
                    <a:pt x="0" y="39"/>
                  </a:cubicBezTo>
                  <a:cubicBezTo>
                    <a:pt x="6" y="16"/>
                    <a:pt x="27" y="0"/>
                    <a:pt x="50" y="0"/>
                  </a:cubicBezTo>
                  <a:cubicBezTo>
                    <a:pt x="54" y="0"/>
                    <a:pt x="59" y="0"/>
                    <a:pt x="63" y="1"/>
                  </a:cubicBezTo>
                  <a:cubicBezTo>
                    <a:pt x="63" y="1"/>
                    <a:pt x="63" y="1"/>
                    <a:pt x="63" y="1"/>
                  </a:cubicBezTo>
                  <a:cubicBezTo>
                    <a:pt x="63" y="1"/>
                    <a:pt x="63" y="1"/>
                    <a:pt x="63" y="1"/>
                  </a:cubicBezTo>
                  <a:cubicBezTo>
                    <a:pt x="59" y="0"/>
                    <a:pt x="54" y="0"/>
                    <a:pt x="50" y="0"/>
                  </a:cubicBezTo>
                </a:path>
              </a:pathLst>
            </a:custGeom>
            <a:solidFill>
              <a:srgbClr val="4662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2"/>
            <p:cNvSpPr>
              <a:spLocks/>
            </p:cNvSpPr>
            <p:nvPr/>
          </p:nvSpPr>
          <p:spPr bwMode="auto">
            <a:xfrm>
              <a:off x="5160963" y="2992438"/>
              <a:ext cx="304800" cy="325438"/>
            </a:xfrm>
            <a:custGeom>
              <a:avLst/>
              <a:gdLst>
                <a:gd name="T0" fmla="*/ 53 w 81"/>
                <a:gd name="T1" fmla="*/ 0 h 86"/>
                <a:gd name="T2" fmla="*/ 3 w 81"/>
                <a:gd name="T3" fmla="*/ 39 h 86"/>
                <a:gd name="T4" fmla="*/ 3 w 81"/>
                <a:gd name="T5" fmla="*/ 39 h 86"/>
                <a:gd name="T6" fmla="*/ 8 w 81"/>
                <a:gd name="T7" fmla="*/ 75 h 86"/>
                <a:gd name="T8" fmla="*/ 11 w 81"/>
                <a:gd name="T9" fmla="*/ 81 h 86"/>
                <a:gd name="T10" fmla="*/ 11 w 81"/>
                <a:gd name="T11" fmla="*/ 81 h 86"/>
                <a:gd name="T12" fmla="*/ 16 w 81"/>
                <a:gd name="T13" fmla="*/ 86 h 86"/>
                <a:gd name="T14" fmla="*/ 81 w 81"/>
                <a:gd name="T15" fmla="*/ 8 h 86"/>
                <a:gd name="T16" fmla="*/ 66 w 81"/>
                <a:gd name="T17" fmla="*/ 1 h 86"/>
                <a:gd name="T18" fmla="*/ 66 w 81"/>
                <a:gd name="T19" fmla="*/ 1 h 86"/>
                <a:gd name="T20" fmla="*/ 53 w 81"/>
                <a:gd name="T2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86">
                  <a:moveTo>
                    <a:pt x="53" y="0"/>
                  </a:moveTo>
                  <a:cubicBezTo>
                    <a:pt x="30" y="0"/>
                    <a:pt x="9" y="16"/>
                    <a:pt x="3" y="39"/>
                  </a:cubicBezTo>
                  <a:cubicBezTo>
                    <a:pt x="3" y="39"/>
                    <a:pt x="3" y="39"/>
                    <a:pt x="3" y="39"/>
                  </a:cubicBezTo>
                  <a:cubicBezTo>
                    <a:pt x="0" y="52"/>
                    <a:pt x="2" y="65"/>
                    <a:pt x="8" y="75"/>
                  </a:cubicBezTo>
                  <a:cubicBezTo>
                    <a:pt x="9" y="77"/>
                    <a:pt x="10" y="79"/>
                    <a:pt x="11" y="81"/>
                  </a:cubicBezTo>
                  <a:cubicBezTo>
                    <a:pt x="11" y="81"/>
                    <a:pt x="11" y="81"/>
                    <a:pt x="11" y="81"/>
                  </a:cubicBezTo>
                  <a:cubicBezTo>
                    <a:pt x="13" y="83"/>
                    <a:pt x="14" y="85"/>
                    <a:pt x="16" y="86"/>
                  </a:cubicBezTo>
                  <a:cubicBezTo>
                    <a:pt x="26" y="53"/>
                    <a:pt x="50" y="25"/>
                    <a:pt x="81" y="8"/>
                  </a:cubicBezTo>
                  <a:cubicBezTo>
                    <a:pt x="77" y="5"/>
                    <a:pt x="71" y="3"/>
                    <a:pt x="66" y="1"/>
                  </a:cubicBezTo>
                  <a:cubicBezTo>
                    <a:pt x="66" y="1"/>
                    <a:pt x="66" y="1"/>
                    <a:pt x="66" y="1"/>
                  </a:cubicBezTo>
                  <a:cubicBezTo>
                    <a:pt x="62" y="0"/>
                    <a:pt x="57" y="0"/>
                    <a:pt x="53" y="0"/>
                  </a:cubicBezTo>
                </a:path>
              </a:pathLst>
            </a:custGeom>
            <a:solidFill>
              <a:srgbClr val="C1E3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3"/>
            <p:cNvSpPr>
              <a:spLocks noEditPoints="1"/>
            </p:cNvSpPr>
            <p:nvPr/>
          </p:nvSpPr>
          <p:spPr bwMode="auto">
            <a:xfrm>
              <a:off x="5100638" y="3325813"/>
              <a:ext cx="120650" cy="120650"/>
            </a:xfrm>
            <a:custGeom>
              <a:avLst/>
              <a:gdLst>
                <a:gd name="T0" fmla="*/ 32 w 32"/>
                <a:gd name="T1" fmla="*/ 27 h 32"/>
                <a:gd name="T2" fmla="*/ 27 w 32"/>
                <a:gd name="T3" fmla="*/ 32 h 32"/>
                <a:gd name="T4" fmla="*/ 27 w 32"/>
                <a:gd name="T5" fmla="*/ 32 h 32"/>
                <a:gd name="T6" fmla="*/ 32 w 32"/>
                <a:gd name="T7" fmla="*/ 27 h 32"/>
                <a:gd name="T8" fmla="*/ 6 w 32"/>
                <a:gd name="T9" fmla="*/ 0 h 32"/>
                <a:gd name="T10" fmla="*/ 0 w 32"/>
                <a:gd name="T11" fmla="*/ 6 h 32"/>
                <a:gd name="T12" fmla="*/ 0 w 32"/>
                <a:gd name="T13" fmla="*/ 6 h 32"/>
                <a:gd name="T14" fmla="*/ 0 w 32"/>
                <a:gd name="T15" fmla="*/ 6 h 32"/>
                <a:gd name="T16" fmla="*/ 6 w 32"/>
                <a:gd name="T17" fmla="*/ 0 h 32"/>
                <a:gd name="T18" fmla="*/ 6 w 32"/>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32" y="27"/>
                  </a:moveTo>
                  <a:cubicBezTo>
                    <a:pt x="27" y="32"/>
                    <a:pt x="27" y="32"/>
                    <a:pt x="27" y="32"/>
                  </a:cubicBezTo>
                  <a:cubicBezTo>
                    <a:pt x="27" y="32"/>
                    <a:pt x="27" y="32"/>
                    <a:pt x="27" y="32"/>
                  </a:cubicBezTo>
                  <a:cubicBezTo>
                    <a:pt x="32" y="27"/>
                    <a:pt x="32" y="27"/>
                    <a:pt x="32" y="27"/>
                  </a:cubicBezTo>
                  <a:moveTo>
                    <a:pt x="6" y="0"/>
                  </a:moveTo>
                  <a:cubicBezTo>
                    <a:pt x="0" y="6"/>
                    <a:pt x="0" y="6"/>
                    <a:pt x="0" y="6"/>
                  </a:cubicBezTo>
                  <a:cubicBezTo>
                    <a:pt x="0" y="6"/>
                    <a:pt x="0" y="6"/>
                    <a:pt x="0" y="6"/>
                  </a:cubicBezTo>
                  <a:cubicBezTo>
                    <a:pt x="0" y="6"/>
                    <a:pt x="0" y="6"/>
                    <a:pt x="0" y="6"/>
                  </a:cubicBezTo>
                  <a:cubicBezTo>
                    <a:pt x="6" y="0"/>
                    <a:pt x="6" y="0"/>
                    <a:pt x="6" y="0"/>
                  </a:cubicBezTo>
                  <a:cubicBezTo>
                    <a:pt x="6" y="0"/>
                    <a:pt x="6" y="0"/>
                    <a:pt x="6" y="0"/>
                  </a:cubicBezTo>
                </a:path>
              </a:pathLst>
            </a:custGeom>
            <a:solidFill>
              <a:srgbClr val="8E8E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4"/>
            <p:cNvSpPr>
              <a:spLocks/>
            </p:cNvSpPr>
            <p:nvPr/>
          </p:nvSpPr>
          <p:spPr bwMode="auto">
            <a:xfrm>
              <a:off x="5100638" y="3325813"/>
              <a:ext cx="120650" cy="120650"/>
            </a:xfrm>
            <a:custGeom>
              <a:avLst/>
              <a:gdLst>
                <a:gd name="T0" fmla="*/ 6 w 32"/>
                <a:gd name="T1" fmla="*/ 0 h 32"/>
                <a:gd name="T2" fmla="*/ 6 w 32"/>
                <a:gd name="T3" fmla="*/ 0 h 32"/>
                <a:gd name="T4" fmla="*/ 6 w 32"/>
                <a:gd name="T5" fmla="*/ 0 h 32"/>
                <a:gd name="T6" fmla="*/ 0 w 32"/>
                <a:gd name="T7" fmla="*/ 6 h 32"/>
                <a:gd name="T8" fmla="*/ 2 w 32"/>
                <a:gd name="T9" fmla="*/ 9 h 32"/>
                <a:gd name="T10" fmla="*/ 23 w 32"/>
                <a:gd name="T11" fmla="*/ 31 h 32"/>
                <a:gd name="T12" fmla="*/ 27 w 32"/>
                <a:gd name="T13" fmla="*/ 32 h 32"/>
                <a:gd name="T14" fmla="*/ 32 w 32"/>
                <a:gd name="T15" fmla="*/ 27 h 32"/>
                <a:gd name="T16" fmla="*/ 28 w 32"/>
                <a:gd name="T17" fmla="*/ 24 h 32"/>
                <a:gd name="T18" fmla="*/ 9 w 32"/>
                <a:gd name="T19" fmla="*/ 5 h 32"/>
                <a:gd name="T20" fmla="*/ 6 w 32"/>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2">
                  <a:moveTo>
                    <a:pt x="6" y="0"/>
                  </a:moveTo>
                  <a:cubicBezTo>
                    <a:pt x="6" y="0"/>
                    <a:pt x="6" y="0"/>
                    <a:pt x="6" y="0"/>
                  </a:cubicBezTo>
                  <a:cubicBezTo>
                    <a:pt x="6" y="0"/>
                    <a:pt x="6" y="0"/>
                    <a:pt x="6" y="0"/>
                  </a:cubicBezTo>
                  <a:cubicBezTo>
                    <a:pt x="0" y="6"/>
                    <a:pt x="0" y="6"/>
                    <a:pt x="0" y="6"/>
                  </a:cubicBezTo>
                  <a:cubicBezTo>
                    <a:pt x="1" y="7"/>
                    <a:pt x="1" y="8"/>
                    <a:pt x="2" y="9"/>
                  </a:cubicBezTo>
                  <a:cubicBezTo>
                    <a:pt x="8" y="18"/>
                    <a:pt x="15" y="25"/>
                    <a:pt x="23" y="31"/>
                  </a:cubicBezTo>
                  <a:cubicBezTo>
                    <a:pt x="24" y="31"/>
                    <a:pt x="26" y="32"/>
                    <a:pt x="27" y="32"/>
                  </a:cubicBezTo>
                  <a:cubicBezTo>
                    <a:pt x="32" y="27"/>
                    <a:pt x="32" y="27"/>
                    <a:pt x="32" y="27"/>
                  </a:cubicBezTo>
                  <a:cubicBezTo>
                    <a:pt x="31" y="26"/>
                    <a:pt x="29" y="25"/>
                    <a:pt x="28" y="24"/>
                  </a:cubicBezTo>
                  <a:cubicBezTo>
                    <a:pt x="20" y="19"/>
                    <a:pt x="14" y="13"/>
                    <a:pt x="9" y="5"/>
                  </a:cubicBezTo>
                  <a:cubicBezTo>
                    <a:pt x="8" y="3"/>
                    <a:pt x="7" y="2"/>
                    <a:pt x="6" y="0"/>
                  </a:cubicBezTo>
                </a:path>
              </a:pathLst>
            </a:cu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5"/>
            <p:cNvSpPr>
              <a:spLocks/>
            </p:cNvSpPr>
            <p:nvPr/>
          </p:nvSpPr>
          <p:spPr bwMode="auto">
            <a:xfrm>
              <a:off x="4487863" y="2562225"/>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6"/>
            <p:cNvSpPr>
              <a:spLocks/>
            </p:cNvSpPr>
            <p:nvPr/>
          </p:nvSpPr>
          <p:spPr bwMode="auto">
            <a:xfrm>
              <a:off x="4019550" y="2562225"/>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7"/>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88"/>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89"/>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0"/>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5"/>
            <p:cNvSpPr>
              <a:spLocks noChangeArrowheads="1"/>
            </p:cNvSpPr>
            <p:nvPr/>
          </p:nvSpPr>
          <p:spPr bwMode="auto">
            <a:xfrm>
              <a:off x="4800600" y="4154488"/>
              <a:ext cx="22082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nd and clean invali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3" name="Freeform 101"/>
            <p:cNvSpPr>
              <a:spLocks noEditPoints="1"/>
            </p:cNvSpPr>
            <p:nvPr/>
          </p:nvSpPr>
          <p:spPr bwMode="auto">
            <a:xfrm>
              <a:off x="4041775" y="2435225"/>
              <a:ext cx="3522663" cy="1660525"/>
            </a:xfrm>
            <a:custGeom>
              <a:avLst/>
              <a:gdLst>
                <a:gd name="T0" fmla="*/ 177 w 938"/>
                <a:gd name="T1" fmla="*/ 11 h 440"/>
                <a:gd name="T2" fmla="*/ 214 w 938"/>
                <a:gd name="T3" fmla="*/ 8 h 440"/>
                <a:gd name="T4" fmla="*/ 245 w 938"/>
                <a:gd name="T5" fmla="*/ 0 h 440"/>
                <a:gd name="T6" fmla="*/ 283 w 938"/>
                <a:gd name="T7" fmla="*/ 0 h 440"/>
                <a:gd name="T8" fmla="*/ 313 w 938"/>
                <a:gd name="T9" fmla="*/ 8 h 440"/>
                <a:gd name="T10" fmla="*/ 374 w 938"/>
                <a:gd name="T11" fmla="*/ 0 h 440"/>
                <a:gd name="T12" fmla="*/ 397 w 938"/>
                <a:gd name="T13" fmla="*/ 8 h 440"/>
                <a:gd name="T14" fmla="*/ 428 w 938"/>
                <a:gd name="T15" fmla="*/ 0 h 440"/>
                <a:gd name="T16" fmla="*/ 466 w 938"/>
                <a:gd name="T17" fmla="*/ 0 h 440"/>
                <a:gd name="T18" fmla="*/ 496 w 938"/>
                <a:gd name="T19" fmla="*/ 8 h 440"/>
                <a:gd name="T20" fmla="*/ 557 w 938"/>
                <a:gd name="T21" fmla="*/ 0 h 440"/>
                <a:gd name="T22" fmla="*/ 580 w 938"/>
                <a:gd name="T23" fmla="*/ 8 h 440"/>
                <a:gd name="T24" fmla="*/ 610 w 938"/>
                <a:gd name="T25" fmla="*/ 0 h 440"/>
                <a:gd name="T26" fmla="*/ 648 w 938"/>
                <a:gd name="T27" fmla="*/ 0 h 440"/>
                <a:gd name="T28" fmla="*/ 679 w 938"/>
                <a:gd name="T29" fmla="*/ 8 h 440"/>
                <a:gd name="T30" fmla="*/ 740 w 938"/>
                <a:gd name="T31" fmla="*/ 1 h 440"/>
                <a:gd name="T32" fmla="*/ 761 w 938"/>
                <a:gd name="T33" fmla="*/ 11 h 440"/>
                <a:gd name="T34" fmla="*/ 793 w 938"/>
                <a:gd name="T35" fmla="*/ 12 h 440"/>
                <a:gd name="T36" fmla="*/ 828 w 938"/>
                <a:gd name="T37" fmla="*/ 27 h 440"/>
                <a:gd name="T38" fmla="*/ 849 w 938"/>
                <a:gd name="T39" fmla="*/ 50 h 440"/>
                <a:gd name="T40" fmla="*/ 897 w 938"/>
                <a:gd name="T41" fmla="*/ 89 h 440"/>
                <a:gd name="T42" fmla="*/ 903 w 938"/>
                <a:gd name="T43" fmla="*/ 112 h 440"/>
                <a:gd name="T44" fmla="*/ 923 w 938"/>
                <a:gd name="T45" fmla="*/ 136 h 440"/>
                <a:gd name="T46" fmla="*/ 934 w 938"/>
                <a:gd name="T47" fmla="*/ 173 h 440"/>
                <a:gd name="T48" fmla="*/ 938 w 938"/>
                <a:gd name="T49" fmla="*/ 204 h 440"/>
                <a:gd name="T50" fmla="*/ 930 w 938"/>
                <a:gd name="T51" fmla="*/ 242 h 440"/>
                <a:gd name="T52" fmla="*/ 933 w 938"/>
                <a:gd name="T53" fmla="*/ 273 h 440"/>
                <a:gd name="T54" fmla="*/ 921 w 938"/>
                <a:gd name="T55" fmla="*/ 310 h 440"/>
                <a:gd name="T56" fmla="*/ 900 w 938"/>
                <a:gd name="T57" fmla="*/ 333 h 440"/>
                <a:gd name="T58" fmla="*/ 867 w 938"/>
                <a:gd name="T59" fmla="*/ 385 h 440"/>
                <a:gd name="T60" fmla="*/ 844 w 938"/>
                <a:gd name="T61" fmla="*/ 393 h 440"/>
                <a:gd name="T62" fmla="*/ 823 w 938"/>
                <a:gd name="T63" fmla="*/ 416 h 440"/>
                <a:gd name="T64" fmla="*/ 787 w 938"/>
                <a:gd name="T65" fmla="*/ 430 h 440"/>
                <a:gd name="T66" fmla="*/ 755 w 938"/>
                <a:gd name="T67" fmla="*/ 430 h 440"/>
                <a:gd name="T68" fmla="*/ 718 w 938"/>
                <a:gd name="T69" fmla="*/ 432 h 440"/>
                <a:gd name="T70" fmla="*/ 688 w 938"/>
                <a:gd name="T71" fmla="*/ 440 h 440"/>
                <a:gd name="T72" fmla="*/ 650 w 938"/>
                <a:gd name="T73" fmla="*/ 440 h 440"/>
                <a:gd name="T74" fmla="*/ 619 w 938"/>
                <a:gd name="T75" fmla="*/ 432 h 440"/>
                <a:gd name="T76" fmla="*/ 558 w 938"/>
                <a:gd name="T77" fmla="*/ 440 h 440"/>
                <a:gd name="T78" fmla="*/ 535 w 938"/>
                <a:gd name="T79" fmla="*/ 432 h 440"/>
                <a:gd name="T80" fmla="*/ 505 w 938"/>
                <a:gd name="T81" fmla="*/ 440 h 440"/>
                <a:gd name="T82" fmla="*/ 467 w 938"/>
                <a:gd name="T83" fmla="*/ 440 h 440"/>
                <a:gd name="T84" fmla="*/ 437 w 938"/>
                <a:gd name="T85" fmla="*/ 432 h 440"/>
                <a:gd name="T86" fmla="*/ 376 w 938"/>
                <a:gd name="T87" fmla="*/ 440 h 440"/>
                <a:gd name="T88" fmla="*/ 353 w 938"/>
                <a:gd name="T89" fmla="*/ 432 h 440"/>
                <a:gd name="T90" fmla="*/ 322 w 938"/>
                <a:gd name="T91" fmla="*/ 440 h 440"/>
                <a:gd name="T92" fmla="*/ 284 w 938"/>
                <a:gd name="T93" fmla="*/ 440 h 440"/>
                <a:gd name="T94" fmla="*/ 254 w 938"/>
                <a:gd name="T95" fmla="*/ 432 h 440"/>
                <a:gd name="T96" fmla="*/ 193 w 938"/>
                <a:gd name="T97" fmla="*/ 439 h 440"/>
                <a:gd name="T98" fmla="*/ 171 w 938"/>
                <a:gd name="T99" fmla="*/ 428 h 440"/>
                <a:gd name="T100" fmla="*/ 140 w 938"/>
                <a:gd name="T101" fmla="*/ 427 h 440"/>
                <a:gd name="T102" fmla="*/ 105 w 938"/>
                <a:gd name="T103" fmla="*/ 410 h 440"/>
                <a:gd name="T104" fmla="*/ 85 w 938"/>
                <a:gd name="T105" fmla="*/ 386 h 440"/>
                <a:gd name="T106" fmla="*/ 38 w 938"/>
                <a:gd name="T107" fmla="*/ 347 h 440"/>
                <a:gd name="T108" fmla="*/ 33 w 938"/>
                <a:gd name="T109" fmla="*/ 323 h 440"/>
                <a:gd name="T110" fmla="*/ 13 w 938"/>
                <a:gd name="T111" fmla="*/ 299 h 440"/>
                <a:gd name="T112" fmla="*/ 3 w 938"/>
                <a:gd name="T113" fmla="*/ 261 h 440"/>
                <a:gd name="T114" fmla="*/ 0 w 938"/>
                <a:gd name="T115" fmla="*/ 231 h 440"/>
                <a:gd name="T116" fmla="*/ 9 w 938"/>
                <a:gd name="T117" fmla="*/ 193 h 440"/>
                <a:gd name="T118" fmla="*/ 7 w 938"/>
                <a:gd name="T119" fmla="*/ 16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8" h="440">
                  <a:moveTo>
                    <a:pt x="168" y="5"/>
                  </a:moveTo>
                  <a:cubicBezTo>
                    <a:pt x="163" y="6"/>
                    <a:pt x="158" y="8"/>
                    <a:pt x="153" y="9"/>
                  </a:cubicBezTo>
                  <a:cubicBezTo>
                    <a:pt x="156" y="16"/>
                    <a:pt x="156" y="16"/>
                    <a:pt x="156" y="16"/>
                  </a:cubicBezTo>
                  <a:cubicBezTo>
                    <a:pt x="160" y="15"/>
                    <a:pt x="165" y="14"/>
                    <a:pt x="170" y="13"/>
                  </a:cubicBezTo>
                  <a:cubicBezTo>
                    <a:pt x="168" y="5"/>
                    <a:pt x="168" y="5"/>
                    <a:pt x="168" y="5"/>
                  </a:cubicBezTo>
                  <a:close/>
                  <a:moveTo>
                    <a:pt x="191" y="1"/>
                  </a:moveTo>
                  <a:cubicBezTo>
                    <a:pt x="186" y="2"/>
                    <a:pt x="181" y="3"/>
                    <a:pt x="176" y="4"/>
                  </a:cubicBezTo>
                  <a:cubicBezTo>
                    <a:pt x="177" y="11"/>
                    <a:pt x="177" y="11"/>
                    <a:pt x="177" y="11"/>
                  </a:cubicBezTo>
                  <a:cubicBezTo>
                    <a:pt x="182" y="10"/>
                    <a:pt x="187" y="10"/>
                    <a:pt x="192" y="9"/>
                  </a:cubicBezTo>
                  <a:cubicBezTo>
                    <a:pt x="191" y="1"/>
                    <a:pt x="191" y="1"/>
                    <a:pt x="191" y="1"/>
                  </a:cubicBezTo>
                  <a:close/>
                  <a:moveTo>
                    <a:pt x="214" y="0"/>
                  </a:moveTo>
                  <a:cubicBezTo>
                    <a:pt x="214" y="0"/>
                    <a:pt x="214" y="0"/>
                    <a:pt x="214" y="0"/>
                  </a:cubicBezTo>
                  <a:cubicBezTo>
                    <a:pt x="209" y="0"/>
                    <a:pt x="204" y="0"/>
                    <a:pt x="199" y="1"/>
                  </a:cubicBezTo>
                  <a:cubicBezTo>
                    <a:pt x="200" y="8"/>
                    <a:pt x="200" y="8"/>
                    <a:pt x="200" y="8"/>
                  </a:cubicBezTo>
                  <a:cubicBezTo>
                    <a:pt x="204" y="8"/>
                    <a:pt x="209" y="8"/>
                    <a:pt x="214" y="8"/>
                  </a:cubicBezTo>
                  <a:cubicBezTo>
                    <a:pt x="214" y="8"/>
                    <a:pt x="214" y="8"/>
                    <a:pt x="214" y="8"/>
                  </a:cubicBezTo>
                  <a:cubicBezTo>
                    <a:pt x="214" y="0"/>
                    <a:pt x="214" y="0"/>
                    <a:pt x="214" y="0"/>
                  </a:cubicBezTo>
                  <a:close/>
                  <a:moveTo>
                    <a:pt x="237" y="0"/>
                  </a:moveTo>
                  <a:cubicBezTo>
                    <a:pt x="222" y="0"/>
                    <a:pt x="222" y="0"/>
                    <a:pt x="222" y="0"/>
                  </a:cubicBezTo>
                  <a:cubicBezTo>
                    <a:pt x="222" y="8"/>
                    <a:pt x="222" y="8"/>
                    <a:pt x="222" y="8"/>
                  </a:cubicBezTo>
                  <a:cubicBezTo>
                    <a:pt x="237" y="8"/>
                    <a:pt x="237" y="8"/>
                    <a:pt x="237" y="8"/>
                  </a:cubicBezTo>
                  <a:lnTo>
                    <a:pt x="237" y="0"/>
                  </a:lnTo>
                  <a:close/>
                  <a:moveTo>
                    <a:pt x="260" y="0"/>
                  </a:moveTo>
                  <a:cubicBezTo>
                    <a:pt x="245" y="0"/>
                    <a:pt x="245" y="0"/>
                    <a:pt x="245" y="0"/>
                  </a:cubicBezTo>
                  <a:cubicBezTo>
                    <a:pt x="245" y="8"/>
                    <a:pt x="245" y="8"/>
                    <a:pt x="245" y="8"/>
                  </a:cubicBezTo>
                  <a:cubicBezTo>
                    <a:pt x="260" y="8"/>
                    <a:pt x="260" y="8"/>
                    <a:pt x="260" y="8"/>
                  </a:cubicBezTo>
                  <a:lnTo>
                    <a:pt x="260" y="0"/>
                  </a:lnTo>
                  <a:close/>
                  <a:moveTo>
                    <a:pt x="283" y="0"/>
                  </a:moveTo>
                  <a:cubicBezTo>
                    <a:pt x="268" y="0"/>
                    <a:pt x="268" y="0"/>
                    <a:pt x="268" y="0"/>
                  </a:cubicBezTo>
                  <a:cubicBezTo>
                    <a:pt x="268" y="8"/>
                    <a:pt x="268" y="8"/>
                    <a:pt x="268" y="8"/>
                  </a:cubicBezTo>
                  <a:cubicBezTo>
                    <a:pt x="283" y="8"/>
                    <a:pt x="283" y="8"/>
                    <a:pt x="283" y="8"/>
                  </a:cubicBezTo>
                  <a:lnTo>
                    <a:pt x="283" y="0"/>
                  </a:lnTo>
                  <a:close/>
                  <a:moveTo>
                    <a:pt x="306" y="0"/>
                  </a:moveTo>
                  <a:cubicBezTo>
                    <a:pt x="291" y="0"/>
                    <a:pt x="291" y="0"/>
                    <a:pt x="291" y="0"/>
                  </a:cubicBezTo>
                  <a:cubicBezTo>
                    <a:pt x="291" y="8"/>
                    <a:pt x="291" y="8"/>
                    <a:pt x="291" y="8"/>
                  </a:cubicBezTo>
                  <a:cubicBezTo>
                    <a:pt x="306" y="8"/>
                    <a:pt x="306" y="8"/>
                    <a:pt x="306" y="8"/>
                  </a:cubicBezTo>
                  <a:lnTo>
                    <a:pt x="306" y="0"/>
                  </a:lnTo>
                  <a:close/>
                  <a:moveTo>
                    <a:pt x="329" y="0"/>
                  </a:moveTo>
                  <a:cubicBezTo>
                    <a:pt x="313" y="0"/>
                    <a:pt x="313" y="0"/>
                    <a:pt x="313" y="0"/>
                  </a:cubicBezTo>
                  <a:cubicBezTo>
                    <a:pt x="313" y="8"/>
                    <a:pt x="313" y="8"/>
                    <a:pt x="313" y="8"/>
                  </a:cubicBezTo>
                  <a:cubicBezTo>
                    <a:pt x="329" y="8"/>
                    <a:pt x="329" y="8"/>
                    <a:pt x="329" y="8"/>
                  </a:cubicBezTo>
                  <a:lnTo>
                    <a:pt x="329" y="0"/>
                  </a:lnTo>
                  <a:close/>
                  <a:moveTo>
                    <a:pt x="351" y="0"/>
                  </a:moveTo>
                  <a:cubicBezTo>
                    <a:pt x="336" y="0"/>
                    <a:pt x="336" y="0"/>
                    <a:pt x="336" y="0"/>
                  </a:cubicBezTo>
                  <a:cubicBezTo>
                    <a:pt x="336" y="8"/>
                    <a:pt x="336" y="8"/>
                    <a:pt x="336" y="8"/>
                  </a:cubicBezTo>
                  <a:cubicBezTo>
                    <a:pt x="351" y="8"/>
                    <a:pt x="351" y="8"/>
                    <a:pt x="351" y="8"/>
                  </a:cubicBezTo>
                  <a:lnTo>
                    <a:pt x="351" y="0"/>
                  </a:lnTo>
                  <a:close/>
                  <a:moveTo>
                    <a:pt x="374" y="0"/>
                  </a:moveTo>
                  <a:cubicBezTo>
                    <a:pt x="359" y="0"/>
                    <a:pt x="359" y="0"/>
                    <a:pt x="359" y="0"/>
                  </a:cubicBezTo>
                  <a:cubicBezTo>
                    <a:pt x="359" y="8"/>
                    <a:pt x="359" y="8"/>
                    <a:pt x="359" y="8"/>
                  </a:cubicBezTo>
                  <a:cubicBezTo>
                    <a:pt x="374" y="8"/>
                    <a:pt x="374" y="8"/>
                    <a:pt x="374" y="8"/>
                  </a:cubicBezTo>
                  <a:lnTo>
                    <a:pt x="374" y="0"/>
                  </a:lnTo>
                  <a:close/>
                  <a:moveTo>
                    <a:pt x="397" y="0"/>
                  </a:moveTo>
                  <a:cubicBezTo>
                    <a:pt x="382" y="0"/>
                    <a:pt x="382" y="0"/>
                    <a:pt x="382" y="0"/>
                  </a:cubicBezTo>
                  <a:cubicBezTo>
                    <a:pt x="382" y="8"/>
                    <a:pt x="382" y="8"/>
                    <a:pt x="382" y="8"/>
                  </a:cubicBezTo>
                  <a:cubicBezTo>
                    <a:pt x="397" y="8"/>
                    <a:pt x="397" y="8"/>
                    <a:pt x="397" y="8"/>
                  </a:cubicBezTo>
                  <a:lnTo>
                    <a:pt x="397" y="0"/>
                  </a:lnTo>
                  <a:close/>
                  <a:moveTo>
                    <a:pt x="420" y="0"/>
                  </a:moveTo>
                  <a:cubicBezTo>
                    <a:pt x="405" y="0"/>
                    <a:pt x="405" y="0"/>
                    <a:pt x="405" y="0"/>
                  </a:cubicBezTo>
                  <a:cubicBezTo>
                    <a:pt x="405" y="8"/>
                    <a:pt x="405" y="8"/>
                    <a:pt x="405" y="8"/>
                  </a:cubicBezTo>
                  <a:cubicBezTo>
                    <a:pt x="420" y="8"/>
                    <a:pt x="420" y="8"/>
                    <a:pt x="420" y="8"/>
                  </a:cubicBezTo>
                  <a:lnTo>
                    <a:pt x="420" y="0"/>
                  </a:lnTo>
                  <a:close/>
                  <a:moveTo>
                    <a:pt x="443" y="0"/>
                  </a:moveTo>
                  <a:cubicBezTo>
                    <a:pt x="428" y="0"/>
                    <a:pt x="428" y="0"/>
                    <a:pt x="428" y="0"/>
                  </a:cubicBezTo>
                  <a:cubicBezTo>
                    <a:pt x="428" y="8"/>
                    <a:pt x="428" y="8"/>
                    <a:pt x="428" y="8"/>
                  </a:cubicBezTo>
                  <a:cubicBezTo>
                    <a:pt x="443" y="8"/>
                    <a:pt x="443" y="8"/>
                    <a:pt x="443" y="8"/>
                  </a:cubicBezTo>
                  <a:lnTo>
                    <a:pt x="443" y="0"/>
                  </a:lnTo>
                  <a:close/>
                  <a:moveTo>
                    <a:pt x="466" y="0"/>
                  </a:moveTo>
                  <a:cubicBezTo>
                    <a:pt x="450" y="0"/>
                    <a:pt x="450" y="0"/>
                    <a:pt x="450" y="0"/>
                  </a:cubicBezTo>
                  <a:cubicBezTo>
                    <a:pt x="450" y="8"/>
                    <a:pt x="450" y="8"/>
                    <a:pt x="450" y="8"/>
                  </a:cubicBezTo>
                  <a:cubicBezTo>
                    <a:pt x="466" y="8"/>
                    <a:pt x="466" y="8"/>
                    <a:pt x="466" y="8"/>
                  </a:cubicBezTo>
                  <a:lnTo>
                    <a:pt x="466" y="0"/>
                  </a:lnTo>
                  <a:close/>
                  <a:moveTo>
                    <a:pt x="488" y="0"/>
                  </a:moveTo>
                  <a:cubicBezTo>
                    <a:pt x="473" y="0"/>
                    <a:pt x="473" y="0"/>
                    <a:pt x="473" y="0"/>
                  </a:cubicBezTo>
                  <a:cubicBezTo>
                    <a:pt x="473" y="8"/>
                    <a:pt x="473" y="8"/>
                    <a:pt x="473" y="8"/>
                  </a:cubicBezTo>
                  <a:cubicBezTo>
                    <a:pt x="488" y="8"/>
                    <a:pt x="488" y="8"/>
                    <a:pt x="488" y="8"/>
                  </a:cubicBezTo>
                  <a:lnTo>
                    <a:pt x="488" y="0"/>
                  </a:lnTo>
                  <a:close/>
                  <a:moveTo>
                    <a:pt x="511" y="0"/>
                  </a:moveTo>
                  <a:cubicBezTo>
                    <a:pt x="496" y="0"/>
                    <a:pt x="496" y="0"/>
                    <a:pt x="496" y="0"/>
                  </a:cubicBezTo>
                  <a:cubicBezTo>
                    <a:pt x="496" y="8"/>
                    <a:pt x="496" y="8"/>
                    <a:pt x="496" y="8"/>
                  </a:cubicBezTo>
                  <a:cubicBezTo>
                    <a:pt x="511" y="8"/>
                    <a:pt x="511" y="8"/>
                    <a:pt x="511" y="8"/>
                  </a:cubicBezTo>
                  <a:lnTo>
                    <a:pt x="511" y="0"/>
                  </a:lnTo>
                  <a:close/>
                  <a:moveTo>
                    <a:pt x="534" y="0"/>
                  </a:moveTo>
                  <a:cubicBezTo>
                    <a:pt x="519" y="0"/>
                    <a:pt x="519" y="0"/>
                    <a:pt x="519" y="0"/>
                  </a:cubicBezTo>
                  <a:cubicBezTo>
                    <a:pt x="519" y="8"/>
                    <a:pt x="519" y="8"/>
                    <a:pt x="519" y="8"/>
                  </a:cubicBezTo>
                  <a:cubicBezTo>
                    <a:pt x="534" y="8"/>
                    <a:pt x="534" y="8"/>
                    <a:pt x="534" y="8"/>
                  </a:cubicBezTo>
                  <a:lnTo>
                    <a:pt x="534" y="0"/>
                  </a:lnTo>
                  <a:close/>
                  <a:moveTo>
                    <a:pt x="557" y="0"/>
                  </a:moveTo>
                  <a:cubicBezTo>
                    <a:pt x="542" y="0"/>
                    <a:pt x="542" y="0"/>
                    <a:pt x="542" y="0"/>
                  </a:cubicBezTo>
                  <a:cubicBezTo>
                    <a:pt x="542" y="8"/>
                    <a:pt x="542" y="8"/>
                    <a:pt x="542" y="8"/>
                  </a:cubicBezTo>
                  <a:cubicBezTo>
                    <a:pt x="557" y="8"/>
                    <a:pt x="557" y="8"/>
                    <a:pt x="557" y="8"/>
                  </a:cubicBezTo>
                  <a:lnTo>
                    <a:pt x="557" y="0"/>
                  </a:lnTo>
                  <a:close/>
                  <a:moveTo>
                    <a:pt x="580" y="0"/>
                  </a:moveTo>
                  <a:cubicBezTo>
                    <a:pt x="564" y="0"/>
                    <a:pt x="564" y="0"/>
                    <a:pt x="564" y="0"/>
                  </a:cubicBezTo>
                  <a:cubicBezTo>
                    <a:pt x="564" y="8"/>
                    <a:pt x="564" y="8"/>
                    <a:pt x="564" y="8"/>
                  </a:cubicBezTo>
                  <a:cubicBezTo>
                    <a:pt x="580" y="8"/>
                    <a:pt x="580" y="8"/>
                    <a:pt x="580" y="8"/>
                  </a:cubicBezTo>
                  <a:lnTo>
                    <a:pt x="580" y="0"/>
                  </a:lnTo>
                  <a:close/>
                  <a:moveTo>
                    <a:pt x="603" y="0"/>
                  </a:moveTo>
                  <a:cubicBezTo>
                    <a:pt x="587" y="0"/>
                    <a:pt x="587" y="0"/>
                    <a:pt x="587" y="0"/>
                  </a:cubicBezTo>
                  <a:cubicBezTo>
                    <a:pt x="587" y="8"/>
                    <a:pt x="587" y="8"/>
                    <a:pt x="587" y="8"/>
                  </a:cubicBezTo>
                  <a:cubicBezTo>
                    <a:pt x="603" y="8"/>
                    <a:pt x="603" y="8"/>
                    <a:pt x="603" y="8"/>
                  </a:cubicBezTo>
                  <a:lnTo>
                    <a:pt x="603" y="0"/>
                  </a:lnTo>
                  <a:close/>
                  <a:moveTo>
                    <a:pt x="625" y="0"/>
                  </a:moveTo>
                  <a:cubicBezTo>
                    <a:pt x="610" y="0"/>
                    <a:pt x="610" y="0"/>
                    <a:pt x="610" y="0"/>
                  </a:cubicBezTo>
                  <a:cubicBezTo>
                    <a:pt x="610" y="8"/>
                    <a:pt x="610" y="8"/>
                    <a:pt x="610" y="8"/>
                  </a:cubicBezTo>
                  <a:cubicBezTo>
                    <a:pt x="625" y="8"/>
                    <a:pt x="625" y="8"/>
                    <a:pt x="625" y="8"/>
                  </a:cubicBezTo>
                  <a:lnTo>
                    <a:pt x="625" y="0"/>
                  </a:lnTo>
                  <a:close/>
                  <a:moveTo>
                    <a:pt x="648" y="0"/>
                  </a:moveTo>
                  <a:cubicBezTo>
                    <a:pt x="633" y="0"/>
                    <a:pt x="633" y="0"/>
                    <a:pt x="633" y="0"/>
                  </a:cubicBezTo>
                  <a:cubicBezTo>
                    <a:pt x="633" y="8"/>
                    <a:pt x="633" y="8"/>
                    <a:pt x="633" y="8"/>
                  </a:cubicBezTo>
                  <a:cubicBezTo>
                    <a:pt x="648" y="8"/>
                    <a:pt x="648" y="8"/>
                    <a:pt x="648" y="8"/>
                  </a:cubicBezTo>
                  <a:lnTo>
                    <a:pt x="648" y="0"/>
                  </a:lnTo>
                  <a:close/>
                  <a:moveTo>
                    <a:pt x="671" y="0"/>
                  </a:moveTo>
                  <a:cubicBezTo>
                    <a:pt x="656" y="0"/>
                    <a:pt x="656" y="0"/>
                    <a:pt x="656" y="0"/>
                  </a:cubicBezTo>
                  <a:cubicBezTo>
                    <a:pt x="656" y="8"/>
                    <a:pt x="656" y="8"/>
                    <a:pt x="656" y="8"/>
                  </a:cubicBezTo>
                  <a:cubicBezTo>
                    <a:pt x="671" y="8"/>
                    <a:pt x="671" y="8"/>
                    <a:pt x="671" y="8"/>
                  </a:cubicBezTo>
                  <a:lnTo>
                    <a:pt x="671" y="0"/>
                  </a:lnTo>
                  <a:close/>
                  <a:moveTo>
                    <a:pt x="694" y="0"/>
                  </a:moveTo>
                  <a:cubicBezTo>
                    <a:pt x="679" y="0"/>
                    <a:pt x="679" y="0"/>
                    <a:pt x="679" y="0"/>
                  </a:cubicBezTo>
                  <a:cubicBezTo>
                    <a:pt x="679" y="8"/>
                    <a:pt x="679" y="8"/>
                    <a:pt x="679" y="8"/>
                  </a:cubicBezTo>
                  <a:cubicBezTo>
                    <a:pt x="694" y="8"/>
                    <a:pt x="694" y="8"/>
                    <a:pt x="694" y="8"/>
                  </a:cubicBezTo>
                  <a:lnTo>
                    <a:pt x="694" y="0"/>
                  </a:lnTo>
                  <a:close/>
                  <a:moveTo>
                    <a:pt x="717" y="0"/>
                  </a:moveTo>
                  <a:cubicBezTo>
                    <a:pt x="701" y="0"/>
                    <a:pt x="701" y="0"/>
                    <a:pt x="701" y="0"/>
                  </a:cubicBezTo>
                  <a:cubicBezTo>
                    <a:pt x="701" y="8"/>
                    <a:pt x="701" y="8"/>
                    <a:pt x="701" y="8"/>
                  </a:cubicBezTo>
                  <a:cubicBezTo>
                    <a:pt x="717" y="8"/>
                    <a:pt x="717" y="8"/>
                    <a:pt x="717" y="8"/>
                  </a:cubicBezTo>
                  <a:lnTo>
                    <a:pt x="717" y="0"/>
                  </a:lnTo>
                  <a:close/>
                  <a:moveTo>
                    <a:pt x="740" y="1"/>
                  </a:moveTo>
                  <a:cubicBezTo>
                    <a:pt x="735" y="0"/>
                    <a:pt x="729" y="0"/>
                    <a:pt x="724" y="0"/>
                  </a:cubicBezTo>
                  <a:cubicBezTo>
                    <a:pt x="724" y="8"/>
                    <a:pt x="724" y="8"/>
                    <a:pt x="724" y="8"/>
                  </a:cubicBezTo>
                  <a:cubicBezTo>
                    <a:pt x="729" y="8"/>
                    <a:pt x="734" y="8"/>
                    <a:pt x="739" y="8"/>
                  </a:cubicBezTo>
                  <a:cubicBezTo>
                    <a:pt x="740" y="1"/>
                    <a:pt x="740" y="1"/>
                    <a:pt x="740" y="1"/>
                  </a:cubicBezTo>
                  <a:close/>
                  <a:moveTo>
                    <a:pt x="763" y="4"/>
                  </a:moveTo>
                  <a:cubicBezTo>
                    <a:pt x="758" y="3"/>
                    <a:pt x="753" y="2"/>
                    <a:pt x="747" y="1"/>
                  </a:cubicBezTo>
                  <a:cubicBezTo>
                    <a:pt x="747" y="9"/>
                    <a:pt x="747" y="9"/>
                    <a:pt x="747" y="9"/>
                  </a:cubicBezTo>
                  <a:cubicBezTo>
                    <a:pt x="752" y="10"/>
                    <a:pt x="757" y="10"/>
                    <a:pt x="761" y="11"/>
                  </a:cubicBezTo>
                  <a:cubicBezTo>
                    <a:pt x="763" y="4"/>
                    <a:pt x="763" y="4"/>
                    <a:pt x="763" y="4"/>
                  </a:cubicBezTo>
                  <a:close/>
                  <a:moveTo>
                    <a:pt x="785" y="9"/>
                  </a:moveTo>
                  <a:cubicBezTo>
                    <a:pt x="780" y="8"/>
                    <a:pt x="775" y="6"/>
                    <a:pt x="770" y="5"/>
                  </a:cubicBezTo>
                  <a:cubicBezTo>
                    <a:pt x="769" y="13"/>
                    <a:pt x="769" y="13"/>
                    <a:pt x="769" y="13"/>
                  </a:cubicBezTo>
                  <a:cubicBezTo>
                    <a:pt x="774" y="14"/>
                    <a:pt x="778" y="15"/>
                    <a:pt x="783" y="17"/>
                  </a:cubicBezTo>
                  <a:cubicBezTo>
                    <a:pt x="785" y="9"/>
                    <a:pt x="785" y="9"/>
                    <a:pt x="785" y="9"/>
                  </a:cubicBezTo>
                  <a:close/>
                  <a:moveTo>
                    <a:pt x="807" y="17"/>
                  </a:moveTo>
                  <a:cubicBezTo>
                    <a:pt x="802" y="15"/>
                    <a:pt x="798" y="13"/>
                    <a:pt x="793" y="12"/>
                  </a:cubicBezTo>
                  <a:cubicBezTo>
                    <a:pt x="790" y="19"/>
                    <a:pt x="790" y="19"/>
                    <a:pt x="790" y="19"/>
                  </a:cubicBezTo>
                  <a:cubicBezTo>
                    <a:pt x="795" y="20"/>
                    <a:pt x="800" y="22"/>
                    <a:pt x="804" y="24"/>
                  </a:cubicBezTo>
                  <a:cubicBezTo>
                    <a:pt x="807" y="17"/>
                    <a:pt x="807" y="17"/>
                    <a:pt x="807" y="17"/>
                  </a:cubicBezTo>
                  <a:close/>
                  <a:moveTo>
                    <a:pt x="828" y="27"/>
                  </a:moveTo>
                  <a:cubicBezTo>
                    <a:pt x="824" y="25"/>
                    <a:pt x="819" y="22"/>
                    <a:pt x="814" y="20"/>
                  </a:cubicBezTo>
                  <a:cubicBezTo>
                    <a:pt x="811" y="27"/>
                    <a:pt x="811" y="27"/>
                    <a:pt x="811" y="27"/>
                  </a:cubicBezTo>
                  <a:cubicBezTo>
                    <a:pt x="815" y="29"/>
                    <a:pt x="820" y="32"/>
                    <a:pt x="824" y="34"/>
                  </a:cubicBezTo>
                  <a:cubicBezTo>
                    <a:pt x="828" y="27"/>
                    <a:pt x="828" y="27"/>
                    <a:pt x="828" y="27"/>
                  </a:cubicBezTo>
                  <a:close/>
                  <a:moveTo>
                    <a:pt x="848" y="40"/>
                  </a:moveTo>
                  <a:cubicBezTo>
                    <a:pt x="843" y="37"/>
                    <a:pt x="839" y="34"/>
                    <a:pt x="835" y="31"/>
                  </a:cubicBezTo>
                  <a:cubicBezTo>
                    <a:pt x="831" y="38"/>
                    <a:pt x="831" y="38"/>
                    <a:pt x="831" y="38"/>
                  </a:cubicBezTo>
                  <a:cubicBezTo>
                    <a:pt x="835" y="40"/>
                    <a:pt x="839" y="43"/>
                    <a:pt x="843" y="46"/>
                  </a:cubicBezTo>
                  <a:cubicBezTo>
                    <a:pt x="848" y="40"/>
                    <a:pt x="848" y="40"/>
                    <a:pt x="848" y="40"/>
                  </a:cubicBezTo>
                  <a:close/>
                  <a:moveTo>
                    <a:pt x="866" y="54"/>
                  </a:moveTo>
                  <a:cubicBezTo>
                    <a:pt x="862" y="51"/>
                    <a:pt x="858" y="47"/>
                    <a:pt x="854" y="44"/>
                  </a:cubicBezTo>
                  <a:cubicBezTo>
                    <a:pt x="849" y="50"/>
                    <a:pt x="849" y="50"/>
                    <a:pt x="849" y="50"/>
                  </a:cubicBezTo>
                  <a:cubicBezTo>
                    <a:pt x="853" y="54"/>
                    <a:pt x="857" y="57"/>
                    <a:pt x="861" y="60"/>
                  </a:cubicBezTo>
                  <a:cubicBezTo>
                    <a:pt x="866" y="54"/>
                    <a:pt x="866" y="54"/>
                    <a:pt x="866" y="54"/>
                  </a:cubicBezTo>
                  <a:close/>
                  <a:moveTo>
                    <a:pt x="882" y="71"/>
                  </a:moveTo>
                  <a:cubicBezTo>
                    <a:pt x="879" y="67"/>
                    <a:pt x="875" y="63"/>
                    <a:pt x="871" y="59"/>
                  </a:cubicBezTo>
                  <a:cubicBezTo>
                    <a:pt x="866" y="65"/>
                    <a:pt x="866" y="65"/>
                    <a:pt x="866" y="65"/>
                  </a:cubicBezTo>
                  <a:cubicBezTo>
                    <a:pt x="870" y="68"/>
                    <a:pt x="873" y="72"/>
                    <a:pt x="877" y="76"/>
                  </a:cubicBezTo>
                  <a:cubicBezTo>
                    <a:pt x="882" y="71"/>
                    <a:pt x="882" y="71"/>
                    <a:pt x="882" y="71"/>
                  </a:cubicBezTo>
                  <a:close/>
                  <a:moveTo>
                    <a:pt x="897" y="89"/>
                  </a:moveTo>
                  <a:cubicBezTo>
                    <a:pt x="894" y="84"/>
                    <a:pt x="891" y="80"/>
                    <a:pt x="887" y="76"/>
                  </a:cubicBezTo>
                  <a:cubicBezTo>
                    <a:pt x="881" y="81"/>
                    <a:pt x="881" y="81"/>
                    <a:pt x="881" y="81"/>
                  </a:cubicBezTo>
                  <a:cubicBezTo>
                    <a:pt x="885" y="85"/>
                    <a:pt x="888" y="89"/>
                    <a:pt x="891" y="93"/>
                  </a:cubicBezTo>
                  <a:cubicBezTo>
                    <a:pt x="897" y="89"/>
                    <a:pt x="897" y="89"/>
                    <a:pt x="897" y="89"/>
                  </a:cubicBezTo>
                  <a:close/>
                  <a:moveTo>
                    <a:pt x="910" y="108"/>
                  </a:moveTo>
                  <a:cubicBezTo>
                    <a:pt x="907" y="104"/>
                    <a:pt x="904" y="99"/>
                    <a:pt x="901" y="95"/>
                  </a:cubicBezTo>
                  <a:cubicBezTo>
                    <a:pt x="895" y="99"/>
                    <a:pt x="895" y="99"/>
                    <a:pt x="895" y="99"/>
                  </a:cubicBezTo>
                  <a:cubicBezTo>
                    <a:pt x="898" y="103"/>
                    <a:pt x="900" y="108"/>
                    <a:pt x="903" y="112"/>
                  </a:cubicBezTo>
                  <a:cubicBezTo>
                    <a:pt x="910" y="108"/>
                    <a:pt x="910" y="108"/>
                    <a:pt x="910" y="108"/>
                  </a:cubicBezTo>
                  <a:close/>
                  <a:moveTo>
                    <a:pt x="920" y="129"/>
                  </a:moveTo>
                  <a:cubicBezTo>
                    <a:pt x="918" y="124"/>
                    <a:pt x="916" y="119"/>
                    <a:pt x="913" y="115"/>
                  </a:cubicBezTo>
                  <a:cubicBezTo>
                    <a:pt x="906" y="118"/>
                    <a:pt x="906" y="118"/>
                    <a:pt x="906" y="118"/>
                  </a:cubicBezTo>
                  <a:cubicBezTo>
                    <a:pt x="909" y="123"/>
                    <a:pt x="911" y="127"/>
                    <a:pt x="913" y="132"/>
                  </a:cubicBezTo>
                  <a:lnTo>
                    <a:pt x="920" y="129"/>
                  </a:lnTo>
                  <a:close/>
                  <a:moveTo>
                    <a:pt x="928" y="151"/>
                  </a:moveTo>
                  <a:cubicBezTo>
                    <a:pt x="927" y="146"/>
                    <a:pt x="925" y="141"/>
                    <a:pt x="923" y="136"/>
                  </a:cubicBezTo>
                  <a:cubicBezTo>
                    <a:pt x="916" y="139"/>
                    <a:pt x="916" y="139"/>
                    <a:pt x="916" y="139"/>
                  </a:cubicBezTo>
                  <a:cubicBezTo>
                    <a:pt x="918" y="143"/>
                    <a:pt x="919" y="148"/>
                    <a:pt x="921" y="153"/>
                  </a:cubicBezTo>
                  <a:cubicBezTo>
                    <a:pt x="928" y="151"/>
                    <a:pt x="928" y="151"/>
                    <a:pt x="928" y="151"/>
                  </a:cubicBezTo>
                  <a:close/>
                  <a:moveTo>
                    <a:pt x="934" y="173"/>
                  </a:moveTo>
                  <a:cubicBezTo>
                    <a:pt x="933" y="168"/>
                    <a:pt x="932" y="163"/>
                    <a:pt x="930" y="158"/>
                  </a:cubicBezTo>
                  <a:cubicBezTo>
                    <a:pt x="923" y="160"/>
                    <a:pt x="923" y="160"/>
                    <a:pt x="923" y="160"/>
                  </a:cubicBezTo>
                  <a:cubicBezTo>
                    <a:pt x="924" y="165"/>
                    <a:pt x="925" y="170"/>
                    <a:pt x="926" y="175"/>
                  </a:cubicBezTo>
                  <a:cubicBezTo>
                    <a:pt x="934" y="173"/>
                    <a:pt x="934" y="173"/>
                    <a:pt x="934" y="173"/>
                  </a:cubicBezTo>
                  <a:close/>
                  <a:moveTo>
                    <a:pt x="937" y="196"/>
                  </a:moveTo>
                  <a:cubicBezTo>
                    <a:pt x="937" y="191"/>
                    <a:pt x="936" y="186"/>
                    <a:pt x="935" y="181"/>
                  </a:cubicBezTo>
                  <a:cubicBezTo>
                    <a:pt x="928" y="182"/>
                    <a:pt x="928" y="182"/>
                    <a:pt x="928" y="182"/>
                  </a:cubicBezTo>
                  <a:cubicBezTo>
                    <a:pt x="928" y="187"/>
                    <a:pt x="929" y="192"/>
                    <a:pt x="929" y="197"/>
                  </a:cubicBezTo>
                  <a:lnTo>
                    <a:pt x="937" y="196"/>
                  </a:lnTo>
                  <a:close/>
                  <a:moveTo>
                    <a:pt x="938" y="219"/>
                  </a:moveTo>
                  <a:cubicBezTo>
                    <a:pt x="938" y="214"/>
                    <a:pt x="938" y="214"/>
                    <a:pt x="938" y="214"/>
                  </a:cubicBezTo>
                  <a:cubicBezTo>
                    <a:pt x="938" y="211"/>
                    <a:pt x="938" y="207"/>
                    <a:pt x="938" y="204"/>
                  </a:cubicBezTo>
                  <a:cubicBezTo>
                    <a:pt x="930" y="204"/>
                    <a:pt x="930" y="204"/>
                    <a:pt x="930" y="204"/>
                  </a:cubicBezTo>
                  <a:cubicBezTo>
                    <a:pt x="930" y="207"/>
                    <a:pt x="930" y="211"/>
                    <a:pt x="930" y="214"/>
                  </a:cubicBezTo>
                  <a:cubicBezTo>
                    <a:pt x="930" y="219"/>
                    <a:pt x="930" y="219"/>
                    <a:pt x="930" y="219"/>
                  </a:cubicBezTo>
                  <a:cubicBezTo>
                    <a:pt x="938" y="219"/>
                    <a:pt x="938" y="219"/>
                    <a:pt x="938" y="219"/>
                  </a:cubicBezTo>
                  <a:close/>
                  <a:moveTo>
                    <a:pt x="937" y="242"/>
                  </a:moveTo>
                  <a:cubicBezTo>
                    <a:pt x="938" y="237"/>
                    <a:pt x="938" y="232"/>
                    <a:pt x="938" y="227"/>
                  </a:cubicBezTo>
                  <a:cubicBezTo>
                    <a:pt x="930" y="227"/>
                    <a:pt x="930" y="227"/>
                    <a:pt x="930" y="227"/>
                  </a:cubicBezTo>
                  <a:cubicBezTo>
                    <a:pt x="930" y="232"/>
                    <a:pt x="930" y="237"/>
                    <a:pt x="930" y="242"/>
                  </a:cubicBezTo>
                  <a:cubicBezTo>
                    <a:pt x="937" y="242"/>
                    <a:pt x="937" y="242"/>
                    <a:pt x="937" y="242"/>
                  </a:cubicBezTo>
                  <a:close/>
                  <a:moveTo>
                    <a:pt x="934" y="265"/>
                  </a:moveTo>
                  <a:cubicBezTo>
                    <a:pt x="935" y="260"/>
                    <a:pt x="936" y="255"/>
                    <a:pt x="937" y="250"/>
                  </a:cubicBezTo>
                  <a:cubicBezTo>
                    <a:pt x="929" y="249"/>
                    <a:pt x="929" y="249"/>
                    <a:pt x="929" y="249"/>
                  </a:cubicBezTo>
                  <a:cubicBezTo>
                    <a:pt x="928" y="254"/>
                    <a:pt x="928" y="259"/>
                    <a:pt x="927" y="264"/>
                  </a:cubicBezTo>
                  <a:cubicBezTo>
                    <a:pt x="934" y="265"/>
                    <a:pt x="934" y="265"/>
                    <a:pt x="934" y="265"/>
                  </a:cubicBezTo>
                  <a:close/>
                  <a:moveTo>
                    <a:pt x="929" y="288"/>
                  </a:moveTo>
                  <a:cubicBezTo>
                    <a:pt x="930" y="283"/>
                    <a:pt x="931" y="278"/>
                    <a:pt x="933" y="273"/>
                  </a:cubicBezTo>
                  <a:cubicBezTo>
                    <a:pt x="925" y="271"/>
                    <a:pt x="925" y="271"/>
                    <a:pt x="925" y="271"/>
                  </a:cubicBezTo>
                  <a:cubicBezTo>
                    <a:pt x="924" y="276"/>
                    <a:pt x="923" y="281"/>
                    <a:pt x="921" y="286"/>
                  </a:cubicBezTo>
                  <a:cubicBezTo>
                    <a:pt x="929" y="288"/>
                    <a:pt x="929" y="288"/>
                    <a:pt x="929" y="288"/>
                  </a:cubicBezTo>
                  <a:close/>
                  <a:moveTo>
                    <a:pt x="921" y="310"/>
                  </a:moveTo>
                  <a:cubicBezTo>
                    <a:pt x="923" y="305"/>
                    <a:pt x="925" y="300"/>
                    <a:pt x="926" y="295"/>
                  </a:cubicBezTo>
                  <a:cubicBezTo>
                    <a:pt x="919" y="293"/>
                    <a:pt x="919" y="293"/>
                    <a:pt x="919" y="293"/>
                  </a:cubicBezTo>
                  <a:cubicBezTo>
                    <a:pt x="917" y="298"/>
                    <a:pt x="916" y="302"/>
                    <a:pt x="914" y="307"/>
                  </a:cubicBezTo>
                  <a:cubicBezTo>
                    <a:pt x="921" y="310"/>
                    <a:pt x="921" y="310"/>
                    <a:pt x="921" y="310"/>
                  </a:cubicBezTo>
                  <a:close/>
                  <a:moveTo>
                    <a:pt x="910" y="331"/>
                  </a:moveTo>
                  <a:cubicBezTo>
                    <a:pt x="913" y="326"/>
                    <a:pt x="915" y="321"/>
                    <a:pt x="918" y="317"/>
                  </a:cubicBezTo>
                  <a:cubicBezTo>
                    <a:pt x="911" y="314"/>
                    <a:pt x="911" y="314"/>
                    <a:pt x="911" y="314"/>
                  </a:cubicBezTo>
                  <a:cubicBezTo>
                    <a:pt x="908" y="318"/>
                    <a:pt x="906" y="322"/>
                    <a:pt x="904" y="327"/>
                  </a:cubicBezTo>
                  <a:cubicBezTo>
                    <a:pt x="910" y="331"/>
                    <a:pt x="910" y="331"/>
                    <a:pt x="910" y="331"/>
                  </a:cubicBezTo>
                  <a:close/>
                  <a:moveTo>
                    <a:pt x="898" y="350"/>
                  </a:moveTo>
                  <a:cubicBezTo>
                    <a:pt x="901" y="346"/>
                    <a:pt x="904" y="342"/>
                    <a:pt x="906" y="337"/>
                  </a:cubicBezTo>
                  <a:cubicBezTo>
                    <a:pt x="900" y="333"/>
                    <a:pt x="900" y="333"/>
                    <a:pt x="900" y="333"/>
                  </a:cubicBezTo>
                  <a:cubicBezTo>
                    <a:pt x="897" y="337"/>
                    <a:pt x="895" y="342"/>
                    <a:pt x="892" y="346"/>
                  </a:cubicBezTo>
                  <a:cubicBezTo>
                    <a:pt x="898" y="350"/>
                    <a:pt x="898" y="350"/>
                    <a:pt x="898" y="350"/>
                  </a:cubicBezTo>
                  <a:close/>
                  <a:moveTo>
                    <a:pt x="883" y="368"/>
                  </a:moveTo>
                  <a:cubicBezTo>
                    <a:pt x="887" y="364"/>
                    <a:pt x="890" y="360"/>
                    <a:pt x="893" y="356"/>
                  </a:cubicBezTo>
                  <a:cubicBezTo>
                    <a:pt x="887" y="352"/>
                    <a:pt x="887" y="352"/>
                    <a:pt x="887" y="352"/>
                  </a:cubicBezTo>
                  <a:cubicBezTo>
                    <a:pt x="884" y="356"/>
                    <a:pt x="881" y="359"/>
                    <a:pt x="878" y="363"/>
                  </a:cubicBezTo>
                  <a:cubicBezTo>
                    <a:pt x="883" y="368"/>
                    <a:pt x="883" y="368"/>
                    <a:pt x="883" y="368"/>
                  </a:cubicBezTo>
                  <a:close/>
                  <a:moveTo>
                    <a:pt x="867" y="385"/>
                  </a:moveTo>
                  <a:cubicBezTo>
                    <a:pt x="871" y="381"/>
                    <a:pt x="875" y="378"/>
                    <a:pt x="878" y="374"/>
                  </a:cubicBezTo>
                  <a:cubicBezTo>
                    <a:pt x="873" y="369"/>
                    <a:pt x="873" y="369"/>
                    <a:pt x="873" y="369"/>
                  </a:cubicBezTo>
                  <a:cubicBezTo>
                    <a:pt x="869" y="372"/>
                    <a:pt x="866" y="376"/>
                    <a:pt x="862" y="379"/>
                  </a:cubicBezTo>
                  <a:cubicBezTo>
                    <a:pt x="867" y="385"/>
                    <a:pt x="867" y="385"/>
                    <a:pt x="867" y="385"/>
                  </a:cubicBezTo>
                  <a:close/>
                  <a:moveTo>
                    <a:pt x="849" y="399"/>
                  </a:moveTo>
                  <a:cubicBezTo>
                    <a:pt x="853" y="396"/>
                    <a:pt x="857" y="393"/>
                    <a:pt x="861" y="390"/>
                  </a:cubicBezTo>
                  <a:cubicBezTo>
                    <a:pt x="856" y="384"/>
                    <a:pt x="856" y="384"/>
                    <a:pt x="856" y="384"/>
                  </a:cubicBezTo>
                  <a:cubicBezTo>
                    <a:pt x="852" y="387"/>
                    <a:pt x="848" y="390"/>
                    <a:pt x="844" y="393"/>
                  </a:cubicBezTo>
                  <a:lnTo>
                    <a:pt x="849" y="399"/>
                  </a:lnTo>
                  <a:close/>
                  <a:moveTo>
                    <a:pt x="829" y="412"/>
                  </a:moveTo>
                  <a:cubicBezTo>
                    <a:pt x="834" y="409"/>
                    <a:pt x="838" y="407"/>
                    <a:pt x="843" y="404"/>
                  </a:cubicBezTo>
                  <a:cubicBezTo>
                    <a:pt x="838" y="397"/>
                    <a:pt x="838" y="397"/>
                    <a:pt x="838" y="397"/>
                  </a:cubicBezTo>
                  <a:cubicBezTo>
                    <a:pt x="834" y="400"/>
                    <a:pt x="830" y="403"/>
                    <a:pt x="826" y="405"/>
                  </a:cubicBezTo>
                  <a:lnTo>
                    <a:pt x="829" y="412"/>
                  </a:lnTo>
                  <a:close/>
                  <a:moveTo>
                    <a:pt x="809" y="422"/>
                  </a:moveTo>
                  <a:cubicBezTo>
                    <a:pt x="813" y="420"/>
                    <a:pt x="818" y="418"/>
                    <a:pt x="823" y="416"/>
                  </a:cubicBezTo>
                  <a:cubicBezTo>
                    <a:pt x="819" y="409"/>
                    <a:pt x="819" y="409"/>
                    <a:pt x="819" y="409"/>
                  </a:cubicBezTo>
                  <a:cubicBezTo>
                    <a:pt x="815" y="411"/>
                    <a:pt x="810" y="413"/>
                    <a:pt x="806" y="415"/>
                  </a:cubicBezTo>
                  <a:lnTo>
                    <a:pt x="809" y="422"/>
                  </a:lnTo>
                  <a:close/>
                  <a:moveTo>
                    <a:pt x="787" y="430"/>
                  </a:moveTo>
                  <a:cubicBezTo>
                    <a:pt x="792" y="429"/>
                    <a:pt x="797" y="427"/>
                    <a:pt x="801" y="425"/>
                  </a:cubicBezTo>
                  <a:cubicBezTo>
                    <a:pt x="799" y="418"/>
                    <a:pt x="799" y="418"/>
                    <a:pt x="799" y="418"/>
                  </a:cubicBezTo>
                  <a:cubicBezTo>
                    <a:pt x="794" y="420"/>
                    <a:pt x="789" y="422"/>
                    <a:pt x="785" y="423"/>
                  </a:cubicBezTo>
                  <a:lnTo>
                    <a:pt x="787" y="430"/>
                  </a:lnTo>
                  <a:close/>
                  <a:moveTo>
                    <a:pt x="764" y="436"/>
                  </a:moveTo>
                  <a:cubicBezTo>
                    <a:pt x="769" y="435"/>
                    <a:pt x="774" y="434"/>
                    <a:pt x="779" y="433"/>
                  </a:cubicBezTo>
                  <a:cubicBezTo>
                    <a:pt x="777" y="425"/>
                    <a:pt x="777" y="425"/>
                    <a:pt x="777" y="425"/>
                  </a:cubicBezTo>
                  <a:cubicBezTo>
                    <a:pt x="773" y="426"/>
                    <a:pt x="768" y="427"/>
                    <a:pt x="763" y="428"/>
                  </a:cubicBezTo>
                  <a:lnTo>
                    <a:pt x="764" y="436"/>
                  </a:lnTo>
                  <a:close/>
                  <a:moveTo>
                    <a:pt x="741" y="439"/>
                  </a:moveTo>
                  <a:cubicBezTo>
                    <a:pt x="746" y="439"/>
                    <a:pt x="752" y="438"/>
                    <a:pt x="757" y="437"/>
                  </a:cubicBezTo>
                  <a:cubicBezTo>
                    <a:pt x="755" y="430"/>
                    <a:pt x="755" y="430"/>
                    <a:pt x="755" y="430"/>
                  </a:cubicBezTo>
                  <a:cubicBezTo>
                    <a:pt x="751" y="430"/>
                    <a:pt x="746" y="431"/>
                    <a:pt x="741" y="431"/>
                  </a:cubicBezTo>
                  <a:lnTo>
                    <a:pt x="741" y="439"/>
                  </a:lnTo>
                  <a:close/>
                  <a:moveTo>
                    <a:pt x="718" y="440"/>
                  </a:moveTo>
                  <a:cubicBezTo>
                    <a:pt x="724" y="440"/>
                    <a:pt x="724" y="440"/>
                    <a:pt x="724" y="440"/>
                  </a:cubicBezTo>
                  <a:cubicBezTo>
                    <a:pt x="727" y="440"/>
                    <a:pt x="730" y="440"/>
                    <a:pt x="733" y="440"/>
                  </a:cubicBezTo>
                  <a:cubicBezTo>
                    <a:pt x="733" y="432"/>
                    <a:pt x="733" y="432"/>
                    <a:pt x="733" y="432"/>
                  </a:cubicBezTo>
                  <a:cubicBezTo>
                    <a:pt x="730" y="432"/>
                    <a:pt x="727" y="432"/>
                    <a:pt x="724" y="432"/>
                  </a:cubicBezTo>
                  <a:cubicBezTo>
                    <a:pt x="718" y="432"/>
                    <a:pt x="718" y="432"/>
                    <a:pt x="718" y="432"/>
                  </a:cubicBezTo>
                  <a:cubicBezTo>
                    <a:pt x="718" y="440"/>
                    <a:pt x="718" y="440"/>
                    <a:pt x="718" y="440"/>
                  </a:cubicBez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lnTo>
                    <a:pt x="86" y="397"/>
                  </a:ln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06"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07"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Timer based processing</a:t>
            </a:r>
          </a:p>
        </p:txBody>
      </p:sp>
    </p:spTree>
    <p:extLst>
      <p:ext uri="{BB962C8B-B14F-4D97-AF65-F5344CB8AC3E}">
        <p14:creationId xmlns:p14="http://schemas.microsoft.com/office/powerpoint/2010/main" val="2528226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35175" y="1905000"/>
            <a:ext cx="812165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35175" y="1908175"/>
            <a:ext cx="1771650" cy="3090863"/>
            <a:chOff x="2035175" y="1908175"/>
            <a:chExt cx="1771650" cy="3090863"/>
          </a:xfrm>
        </p:grpSpPr>
        <p:sp>
          <p:nvSpPr>
            <p:cNvPr id="6" name="Rectangle 5"/>
            <p:cNvSpPr>
              <a:spLocks noChangeArrowheads="1"/>
            </p:cNvSpPr>
            <p:nvPr/>
          </p:nvSpPr>
          <p:spPr bwMode="auto">
            <a:xfrm>
              <a:off x="2147888" y="4475163"/>
              <a:ext cx="11525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ile added 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5825" y="4694238"/>
              <a:ext cx="1138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3"/>
            <p:cNvSpPr>
              <a:spLocks noEditPoints="1"/>
            </p:cNvSpPr>
            <p:nvPr/>
          </p:nvSpPr>
          <p:spPr bwMode="auto">
            <a:xfrm>
              <a:off x="2624138" y="2541588"/>
              <a:ext cx="30163" cy="300038"/>
            </a:xfrm>
            <a:custGeom>
              <a:avLst/>
              <a:gdLst>
                <a:gd name="T0" fmla="*/ 0 w 19"/>
                <a:gd name="T1" fmla="*/ 168 h 189"/>
                <a:gd name="T2" fmla="*/ 0 w 19"/>
                <a:gd name="T3" fmla="*/ 189 h 189"/>
                <a:gd name="T4" fmla="*/ 19 w 19"/>
                <a:gd name="T5" fmla="*/ 189 h 189"/>
                <a:gd name="T6" fmla="*/ 19 w 19"/>
                <a:gd name="T7" fmla="*/ 168 h 189"/>
                <a:gd name="T8" fmla="*/ 0 w 19"/>
                <a:gd name="T9" fmla="*/ 168 h 189"/>
                <a:gd name="T10" fmla="*/ 0 w 19"/>
                <a:gd name="T11" fmla="*/ 168 h 189"/>
                <a:gd name="T12" fmla="*/ 0 w 19"/>
                <a:gd name="T13" fmla="*/ 168 h 189"/>
                <a:gd name="T14" fmla="*/ 19 w 19"/>
                <a:gd name="T15" fmla="*/ 168 h 189"/>
                <a:gd name="T16" fmla="*/ 19 w 19"/>
                <a:gd name="T17" fmla="*/ 168 h 189"/>
                <a:gd name="T18" fmla="*/ 0 w 19"/>
                <a:gd name="T19" fmla="*/ 168 h 189"/>
                <a:gd name="T20" fmla="*/ 0 w 19"/>
                <a:gd name="T21" fmla="*/ 111 h 189"/>
                <a:gd name="T22" fmla="*/ 0 w 19"/>
                <a:gd name="T23" fmla="*/ 149 h 189"/>
                <a:gd name="T24" fmla="*/ 19 w 19"/>
                <a:gd name="T25" fmla="*/ 149 h 189"/>
                <a:gd name="T26" fmla="*/ 19 w 19"/>
                <a:gd name="T27" fmla="*/ 111 h 189"/>
                <a:gd name="T28" fmla="*/ 0 w 19"/>
                <a:gd name="T29" fmla="*/ 111 h 189"/>
                <a:gd name="T30" fmla="*/ 0 w 19"/>
                <a:gd name="T31" fmla="*/ 111 h 189"/>
                <a:gd name="T32" fmla="*/ 0 w 19"/>
                <a:gd name="T33" fmla="*/ 111 h 189"/>
                <a:gd name="T34" fmla="*/ 19 w 19"/>
                <a:gd name="T35" fmla="*/ 111 h 189"/>
                <a:gd name="T36" fmla="*/ 19 w 19"/>
                <a:gd name="T37" fmla="*/ 111 h 189"/>
                <a:gd name="T38" fmla="*/ 0 w 19"/>
                <a:gd name="T39" fmla="*/ 111 h 189"/>
                <a:gd name="T40" fmla="*/ 0 w 19"/>
                <a:gd name="T41" fmla="*/ 57 h 189"/>
                <a:gd name="T42" fmla="*/ 0 w 19"/>
                <a:gd name="T43" fmla="*/ 94 h 189"/>
                <a:gd name="T44" fmla="*/ 19 w 19"/>
                <a:gd name="T45" fmla="*/ 94 h 189"/>
                <a:gd name="T46" fmla="*/ 19 w 19"/>
                <a:gd name="T47" fmla="*/ 57 h 189"/>
                <a:gd name="T48" fmla="*/ 0 w 19"/>
                <a:gd name="T49" fmla="*/ 57 h 189"/>
                <a:gd name="T50" fmla="*/ 0 w 19"/>
                <a:gd name="T51" fmla="*/ 57 h 189"/>
                <a:gd name="T52" fmla="*/ 0 w 19"/>
                <a:gd name="T53" fmla="*/ 57 h 189"/>
                <a:gd name="T54" fmla="*/ 19 w 19"/>
                <a:gd name="T55" fmla="*/ 57 h 189"/>
                <a:gd name="T56" fmla="*/ 19 w 19"/>
                <a:gd name="T57" fmla="*/ 57 h 189"/>
                <a:gd name="T58" fmla="*/ 0 w 19"/>
                <a:gd name="T59" fmla="*/ 57 h 189"/>
                <a:gd name="T60" fmla="*/ 0 w 19"/>
                <a:gd name="T61" fmla="*/ 0 h 189"/>
                <a:gd name="T62" fmla="*/ 0 w 19"/>
                <a:gd name="T63" fmla="*/ 38 h 189"/>
                <a:gd name="T64" fmla="*/ 19 w 19"/>
                <a:gd name="T65" fmla="*/ 38 h 189"/>
                <a:gd name="T66" fmla="*/ 19 w 19"/>
                <a:gd name="T67" fmla="*/ 0 h 189"/>
                <a:gd name="T68" fmla="*/ 0 w 19"/>
                <a:gd name="T6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0" y="168"/>
                  </a:moveTo>
                  <a:lnTo>
                    <a:pt x="0" y="189"/>
                  </a:lnTo>
                  <a:lnTo>
                    <a:pt x="19" y="189"/>
                  </a:lnTo>
                  <a:lnTo>
                    <a:pt x="19" y="168"/>
                  </a:lnTo>
                  <a:lnTo>
                    <a:pt x="0" y="168"/>
                  </a:lnTo>
                  <a:close/>
                  <a:moveTo>
                    <a:pt x="0" y="168"/>
                  </a:moveTo>
                  <a:lnTo>
                    <a:pt x="0" y="168"/>
                  </a:lnTo>
                  <a:lnTo>
                    <a:pt x="19" y="168"/>
                  </a:lnTo>
                  <a:lnTo>
                    <a:pt x="19" y="168"/>
                  </a:lnTo>
                  <a:lnTo>
                    <a:pt x="0" y="168"/>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7"/>
                  </a:moveTo>
                  <a:lnTo>
                    <a:pt x="0" y="94"/>
                  </a:lnTo>
                  <a:lnTo>
                    <a:pt x="19" y="94"/>
                  </a:lnTo>
                  <a:lnTo>
                    <a:pt x="19" y="57"/>
                  </a:lnTo>
                  <a:lnTo>
                    <a:pt x="0" y="57"/>
                  </a:lnTo>
                  <a:close/>
                  <a:moveTo>
                    <a:pt x="0" y="57"/>
                  </a:moveTo>
                  <a:lnTo>
                    <a:pt x="0" y="57"/>
                  </a:lnTo>
                  <a:lnTo>
                    <a:pt x="19" y="57"/>
                  </a:lnTo>
                  <a:lnTo>
                    <a:pt x="19" y="57"/>
                  </a:lnTo>
                  <a:lnTo>
                    <a:pt x="0" y="57"/>
                  </a:lnTo>
                  <a:close/>
                  <a:moveTo>
                    <a:pt x="0" y="0"/>
                  </a:moveTo>
                  <a:lnTo>
                    <a:pt x="0" y="38"/>
                  </a:lnTo>
                  <a:lnTo>
                    <a:pt x="19" y="38"/>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2565400" y="2819400"/>
              <a:ext cx="149225" cy="128588"/>
            </a:xfrm>
            <a:custGeom>
              <a:avLst/>
              <a:gdLst>
                <a:gd name="T0" fmla="*/ 0 w 94"/>
                <a:gd name="T1" fmla="*/ 0 h 81"/>
                <a:gd name="T2" fmla="*/ 47 w 94"/>
                <a:gd name="T3" fmla="*/ 81 h 81"/>
                <a:gd name="T4" fmla="*/ 94 w 94"/>
                <a:gd name="T5" fmla="*/ 0 h 81"/>
                <a:gd name="T6" fmla="*/ 0 w 94"/>
                <a:gd name="T7" fmla="*/ 0 h 81"/>
              </a:gdLst>
              <a:ahLst/>
              <a:cxnLst>
                <a:cxn ang="0">
                  <a:pos x="T0" y="T1"/>
                </a:cxn>
                <a:cxn ang="0">
                  <a:pos x="T2" y="T3"/>
                </a:cxn>
                <a:cxn ang="0">
                  <a:pos x="T4" y="T5"/>
                </a:cxn>
                <a:cxn ang="0">
                  <a:pos x="T6" y="T7"/>
                </a:cxn>
              </a:cxnLst>
              <a:rect l="0" t="0" r="r" b="b"/>
              <a:pathLst>
                <a:path w="94" h="81">
                  <a:moveTo>
                    <a:pt x="0" y="0"/>
                  </a:moveTo>
                  <a:lnTo>
                    <a:pt x="47" y="81"/>
                  </a:lnTo>
                  <a:lnTo>
                    <a:pt x="94"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noEditPoints="1"/>
            </p:cNvSpPr>
            <p:nvPr/>
          </p:nvSpPr>
          <p:spPr bwMode="auto">
            <a:xfrm>
              <a:off x="3402013"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3676650" y="3511550"/>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noEditPoints="1"/>
            </p:cNvSpPr>
            <p:nvPr/>
          </p:nvSpPr>
          <p:spPr bwMode="auto">
            <a:xfrm>
              <a:off x="2035175" y="3082925"/>
              <a:ext cx="1201738"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1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7 w 320"/>
                <a:gd name="T31" fmla="*/ 55 h 278"/>
                <a:gd name="T32" fmla="*/ 240 w 320"/>
                <a:gd name="T33" fmla="*/ 89 h 278"/>
                <a:gd name="T34" fmla="*/ 240 w 320"/>
                <a:gd name="T35" fmla="*/ 106 h 278"/>
                <a:gd name="T36" fmla="*/ 240 w 320"/>
                <a:gd name="T37" fmla="*/ 201 h 278"/>
                <a:gd name="T38" fmla="*/ 241 w 320"/>
                <a:gd name="T39"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1" y="201"/>
                  </a:moveTo>
                  <a:cubicBezTo>
                    <a:pt x="241"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7" y="55"/>
                    <a:pt x="207" y="55"/>
                    <a:pt x="207" y="55"/>
                  </a:cubicBezTo>
                  <a:cubicBezTo>
                    <a:pt x="240" y="89"/>
                    <a:pt x="240" y="89"/>
                    <a:pt x="240" y="89"/>
                  </a:cubicBezTo>
                  <a:cubicBezTo>
                    <a:pt x="240" y="106"/>
                    <a:pt x="240" y="106"/>
                    <a:pt x="240" y="106"/>
                  </a:cubicBezTo>
                  <a:cubicBezTo>
                    <a:pt x="240" y="201"/>
                    <a:pt x="240" y="201"/>
                    <a:pt x="240" y="201"/>
                  </a:cubicBezTo>
                  <a:cubicBezTo>
                    <a:pt x="241" y="201"/>
                    <a:pt x="241" y="201"/>
                    <a:pt x="241"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4"/>
            <p:cNvSpPr>
              <a:spLocks/>
            </p:cNvSpPr>
            <p:nvPr/>
          </p:nvSpPr>
          <p:spPr bwMode="auto">
            <a:xfrm>
              <a:off x="2538413" y="3662363"/>
              <a:ext cx="52388" cy="128588"/>
            </a:xfrm>
            <a:custGeom>
              <a:avLst/>
              <a:gdLst>
                <a:gd name="T0" fmla="*/ 14 w 14"/>
                <a:gd name="T1" fmla="*/ 8 h 34"/>
                <a:gd name="T2" fmla="*/ 13 w 14"/>
                <a:gd name="T3" fmla="*/ 4 h 34"/>
                <a:gd name="T4" fmla="*/ 12 w 14"/>
                <a:gd name="T5" fmla="*/ 2 h 34"/>
                <a:gd name="T6" fmla="*/ 10 w 14"/>
                <a:gd name="T7" fmla="*/ 1 h 34"/>
                <a:gd name="T8" fmla="*/ 7 w 14"/>
                <a:gd name="T9" fmla="*/ 0 h 34"/>
                <a:gd name="T10" fmla="*/ 4 w 14"/>
                <a:gd name="T11" fmla="*/ 2 h 34"/>
                <a:gd name="T12" fmla="*/ 2 w 14"/>
                <a:gd name="T13" fmla="*/ 5 h 34"/>
                <a:gd name="T14" fmla="*/ 0 w 14"/>
                <a:gd name="T15" fmla="*/ 10 h 34"/>
                <a:gd name="T16" fmla="*/ 0 w 14"/>
                <a:gd name="T17" fmla="*/ 17 h 34"/>
                <a:gd name="T18" fmla="*/ 0 w 14"/>
                <a:gd name="T19" fmla="*/ 25 h 34"/>
                <a:gd name="T20" fmla="*/ 2 w 14"/>
                <a:gd name="T21" fmla="*/ 31 h 34"/>
                <a:gd name="T22" fmla="*/ 4 w 14"/>
                <a:gd name="T23" fmla="*/ 33 h 34"/>
                <a:gd name="T24" fmla="*/ 7 w 14"/>
                <a:gd name="T25" fmla="*/ 34 h 34"/>
                <a:gd name="T26" fmla="*/ 9 w 14"/>
                <a:gd name="T27" fmla="*/ 33 h 34"/>
                <a:gd name="T28" fmla="*/ 11 w 14"/>
                <a:gd name="T29" fmla="*/ 32 h 34"/>
                <a:gd name="T30" fmla="*/ 13 w 14"/>
                <a:gd name="T31" fmla="*/ 29 h 34"/>
                <a:gd name="T32" fmla="*/ 13 w 14"/>
                <a:gd name="T33" fmla="*/ 26 h 34"/>
                <a:gd name="T34" fmla="*/ 14 w 14"/>
                <a:gd name="T35" fmla="*/ 22 h 34"/>
                <a:gd name="T36" fmla="*/ 14 w 14"/>
                <a:gd name="T37" fmla="*/ 17 h 34"/>
                <a:gd name="T38" fmla="*/ 14 w 14"/>
                <a:gd name="T39" fmla="*/ 11 h 34"/>
                <a:gd name="T40" fmla="*/ 14 w 14"/>
                <a:gd name="T4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4">
                  <a:moveTo>
                    <a:pt x="14" y="8"/>
                  </a:moveTo>
                  <a:cubicBezTo>
                    <a:pt x="14" y="6"/>
                    <a:pt x="13" y="5"/>
                    <a:pt x="13" y="4"/>
                  </a:cubicBezTo>
                  <a:cubicBezTo>
                    <a:pt x="13" y="4"/>
                    <a:pt x="13" y="3"/>
                    <a:pt x="12" y="2"/>
                  </a:cubicBezTo>
                  <a:cubicBezTo>
                    <a:pt x="11" y="2"/>
                    <a:pt x="11" y="2"/>
                    <a:pt x="10" y="1"/>
                  </a:cubicBezTo>
                  <a:cubicBezTo>
                    <a:pt x="9" y="1"/>
                    <a:pt x="9" y="0"/>
                    <a:pt x="7" y="0"/>
                  </a:cubicBezTo>
                  <a:cubicBezTo>
                    <a:pt x="6" y="0"/>
                    <a:pt x="5" y="1"/>
                    <a:pt x="4" y="2"/>
                  </a:cubicBezTo>
                  <a:cubicBezTo>
                    <a:pt x="3" y="2"/>
                    <a:pt x="2" y="4"/>
                    <a:pt x="2" y="5"/>
                  </a:cubicBezTo>
                  <a:cubicBezTo>
                    <a:pt x="1" y="6"/>
                    <a:pt x="1" y="8"/>
                    <a:pt x="0" y="10"/>
                  </a:cubicBezTo>
                  <a:cubicBezTo>
                    <a:pt x="0" y="12"/>
                    <a:pt x="0" y="15"/>
                    <a:pt x="0" y="17"/>
                  </a:cubicBezTo>
                  <a:cubicBezTo>
                    <a:pt x="0" y="20"/>
                    <a:pt x="0" y="24"/>
                    <a:pt x="0" y="25"/>
                  </a:cubicBezTo>
                  <a:cubicBezTo>
                    <a:pt x="0" y="27"/>
                    <a:pt x="1" y="29"/>
                    <a:pt x="2" y="31"/>
                  </a:cubicBezTo>
                  <a:cubicBezTo>
                    <a:pt x="2" y="32"/>
                    <a:pt x="3" y="32"/>
                    <a:pt x="4" y="33"/>
                  </a:cubicBezTo>
                  <a:cubicBezTo>
                    <a:pt x="4" y="34"/>
                    <a:pt x="6" y="34"/>
                    <a:pt x="7" y="34"/>
                  </a:cubicBezTo>
                  <a:cubicBezTo>
                    <a:pt x="7" y="34"/>
                    <a:pt x="9" y="34"/>
                    <a:pt x="9" y="33"/>
                  </a:cubicBezTo>
                  <a:cubicBezTo>
                    <a:pt x="10" y="33"/>
                    <a:pt x="11" y="32"/>
                    <a:pt x="11" y="32"/>
                  </a:cubicBezTo>
                  <a:cubicBezTo>
                    <a:pt x="12" y="31"/>
                    <a:pt x="13" y="31"/>
                    <a:pt x="13" y="29"/>
                  </a:cubicBezTo>
                  <a:cubicBezTo>
                    <a:pt x="13" y="29"/>
                    <a:pt x="13" y="27"/>
                    <a:pt x="13" y="26"/>
                  </a:cubicBezTo>
                  <a:cubicBezTo>
                    <a:pt x="13" y="25"/>
                    <a:pt x="14" y="24"/>
                    <a:pt x="14" y="22"/>
                  </a:cubicBezTo>
                  <a:cubicBezTo>
                    <a:pt x="14" y="21"/>
                    <a:pt x="14" y="19"/>
                    <a:pt x="14" y="17"/>
                  </a:cubicBezTo>
                  <a:cubicBezTo>
                    <a:pt x="14" y="15"/>
                    <a:pt x="14" y="13"/>
                    <a:pt x="14" y="11"/>
                  </a:cubicBezTo>
                  <a:cubicBezTo>
                    <a:pt x="14" y="10"/>
                    <a:pt x="14" y="9"/>
                    <a:pt x="14" y="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5"/>
            <p:cNvSpPr>
              <a:spLocks/>
            </p:cNvSpPr>
            <p:nvPr/>
          </p:nvSpPr>
          <p:spPr bwMode="auto">
            <a:xfrm>
              <a:off x="2681288" y="3421063"/>
              <a:ext cx="52388" cy="125413"/>
            </a:xfrm>
            <a:custGeom>
              <a:avLst/>
              <a:gdLst>
                <a:gd name="T0" fmla="*/ 14 w 14"/>
                <a:gd name="T1" fmla="*/ 7 h 33"/>
                <a:gd name="T2" fmla="*/ 13 w 14"/>
                <a:gd name="T3" fmla="*/ 4 h 33"/>
                <a:gd name="T4" fmla="*/ 12 w 14"/>
                <a:gd name="T5" fmla="*/ 2 h 33"/>
                <a:gd name="T6" fmla="*/ 10 w 14"/>
                <a:gd name="T7" fmla="*/ 0 h 33"/>
                <a:gd name="T8" fmla="*/ 7 w 14"/>
                <a:gd name="T9" fmla="*/ 0 h 33"/>
                <a:gd name="T10" fmla="*/ 3 w 14"/>
                <a:gd name="T11" fmla="*/ 1 h 33"/>
                <a:gd name="T12" fmla="*/ 1 w 14"/>
                <a:gd name="T13" fmla="*/ 4 h 33"/>
                <a:gd name="T14" fmla="*/ 0 w 14"/>
                <a:gd name="T15" fmla="*/ 9 h 33"/>
                <a:gd name="T16" fmla="*/ 0 w 14"/>
                <a:gd name="T17" fmla="*/ 16 h 33"/>
                <a:gd name="T18" fmla="*/ 0 w 14"/>
                <a:gd name="T19" fmla="*/ 25 h 33"/>
                <a:gd name="T20" fmla="*/ 1 w 14"/>
                <a:gd name="T21" fmla="*/ 30 h 33"/>
                <a:gd name="T22" fmla="*/ 3 w 14"/>
                <a:gd name="T23" fmla="*/ 32 h 33"/>
                <a:gd name="T24" fmla="*/ 7 w 14"/>
                <a:gd name="T25" fmla="*/ 33 h 33"/>
                <a:gd name="T26" fmla="*/ 9 w 14"/>
                <a:gd name="T27" fmla="*/ 32 h 33"/>
                <a:gd name="T28" fmla="*/ 11 w 14"/>
                <a:gd name="T29" fmla="*/ 31 h 33"/>
                <a:gd name="T30" fmla="*/ 12 w 14"/>
                <a:gd name="T31" fmla="*/ 29 h 33"/>
                <a:gd name="T32" fmla="*/ 13 w 14"/>
                <a:gd name="T33" fmla="*/ 25 h 33"/>
                <a:gd name="T34" fmla="*/ 14 w 14"/>
                <a:gd name="T35" fmla="*/ 22 h 33"/>
                <a:gd name="T36" fmla="*/ 14 w 14"/>
                <a:gd name="T37" fmla="*/ 16 h 33"/>
                <a:gd name="T38" fmla="*/ 14 w 14"/>
                <a:gd name="T39" fmla="*/ 11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6"/>
                    <a:pt x="13" y="4"/>
                    <a:pt x="13" y="4"/>
                  </a:cubicBezTo>
                  <a:cubicBezTo>
                    <a:pt x="12" y="3"/>
                    <a:pt x="12" y="2"/>
                    <a:pt x="12" y="2"/>
                  </a:cubicBezTo>
                  <a:cubicBezTo>
                    <a:pt x="11" y="1"/>
                    <a:pt x="10" y="1"/>
                    <a:pt x="10" y="0"/>
                  </a:cubicBezTo>
                  <a:cubicBezTo>
                    <a:pt x="9" y="0"/>
                    <a:pt x="8" y="0"/>
                    <a:pt x="7" y="0"/>
                  </a:cubicBezTo>
                  <a:cubicBezTo>
                    <a:pt x="6" y="0"/>
                    <a:pt x="5" y="0"/>
                    <a:pt x="3" y="1"/>
                  </a:cubicBezTo>
                  <a:cubicBezTo>
                    <a:pt x="3" y="2"/>
                    <a:pt x="1" y="3"/>
                    <a:pt x="1" y="4"/>
                  </a:cubicBezTo>
                  <a:cubicBezTo>
                    <a:pt x="1" y="6"/>
                    <a:pt x="1" y="8"/>
                    <a:pt x="0" y="9"/>
                  </a:cubicBezTo>
                  <a:cubicBezTo>
                    <a:pt x="0" y="11"/>
                    <a:pt x="0" y="14"/>
                    <a:pt x="0" y="16"/>
                  </a:cubicBezTo>
                  <a:cubicBezTo>
                    <a:pt x="0" y="20"/>
                    <a:pt x="0" y="23"/>
                    <a:pt x="0" y="25"/>
                  </a:cubicBezTo>
                  <a:cubicBezTo>
                    <a:pt x="0" y="27"/>
                    <a:pt x="1" y="29"/>
                    <a:pt x="1" y="30"/>
                  </a:cubicBezTo>
                  <a:cubicBezTo>
                    <a:pt x="2" y="31"/>
                    <a:pt x="3" y="32"/>
                    <a:pt x="3" y="32"/>
                  </a:cubicBezTo>
                  <a:cubicBezTo>
                    <a:pt x="4" y="33"/>
                    <a:pt x="5" y="33"/>
                    <a:pt x="7" y="33"/>
                  </a:cubicBezTo>
                  <a:cubicBezTo>
                    <a:pt x="7" y="33"/>
                    <a:pt x="8" y="33"/>
                    <a:pt x="9" y="32"/>
                  </a:cubicBezTo>
                  <a:cubicBezTo>
                    <a:pt x="10" y="32"/>
                    <a:pt x="10" y="32"/>
                    <a:pt x="11" y="31"/>
                  </a:cubicBezTo>
                  <a:cubicBezTo>
                    <a:pt x="12" y="31"/>
                    <a:pt x="12" y="30"/>
                    <a:pt x="12" y="29"/>
                  </a:cubicBezTo>
                  <a:cubicBezTo>
                    <a:pt x="13" y="28"/>
                    <a:pt x="13" y="27"/>
                    <a:pt x="13" y="25"/>
                  </a:cubicBezTo>
                  <a:cubicBezTo>
                    <a:pt x="13" y="24"/>
                    <a:pt x="14" y="23"/>
                    <a:pt x="14" y="22"/>
                  </a:cubicBezTo>
                  <a:cubicBezTo>
                    <a:pt x="14" y="20"/>
                    <a:pt x="14" y="18"/>
                    <a:pt x="14" y="16"/>
                  </a:cubicBezTo>
                  <a:cubicBezTo>
                    <a:pt x="14" y="15"/>
                    <a:pt x="14" y="12"/>
                    <a:pt x="14" y="11"/>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6"/>
            <p:cNvSpPr>
              <a:spLocks noEditPoints="1"/>
            </p:cNvSpPr>
            <p:nvPr/>
          </p:nvSpPr>
          <p:spPr bwMode="auto">
            <a:xfrm>
              <a:off x="2381250" y="3335338"/>
              <a:ext cx="509588" cy="541338"/>
            </a:xfrm>
            <a:custGeom>
              <a:avLst/>
              <a:gdLst>
                <a:gd name="T0" fmla="*/ 96 w 136"/>
                <a:gd name="T1" fmla="*/ 0 h 144"/>
                <a:gd name="T2" fmla="*/ 0 w 136"/>
                <a:gd name="T3" fmla="*/ 10 h 144"/>
                <a:gd name="T4" fmla="*/ 9 w 136"/>
                <a:gd name="T5" fmla="*/ 144 h 144"/>
                <a:gd name="T6" fmla="*/ 136 w 136"/>
                <a:gd name="T7" fmla="*/ 134 h 144"/>
                <a:gd name="T8" fmla="*/ 110 w 136"/>
                <a:gd name="T9" fmla="*/ 28 h 144"/>
                <a:gd name="T10" fmla="*/ 35 w 136"/>
                <a:gd name="T11" fmla="*/ 25 h 144"/>
                <a:gd name="T12" fmla="*/ 36 w 136"/>
                <a:gd name="T13" fmla="*/ 23 h 144"/>
                <a:gd name="T14" fmla="*/ 47 w 136"/>
                <a:gd name="T15" fmla="*/ 16 h 144"/>
                <a:gd name="T16" fmla="*/ 48 w 136"/>
                <a:gd name="T17" fmla="*/ 16 h 144"/>
                <a:gd name="T18" fmla="*/ 51 w 136"/>
                <a:gd name="T19" fmla="*/ 16 h 144"/>
                <a:gd name="T20" fmla="*/ 55 w 136"/>
                <a:gd name="T21" fmla="*/ 16 h 144"/>
                <a:gd name="T22" fmla="*/ 55 w 136"/>
                <a:gd name="T23" fmla="*/ 18 h 144"/>
                <a:gd name="T24" fmla="*/ 63 w 136"/>
                <a:gd name="T25" fmla="*/ 57 h 144"/>
                <a:gd name="T26" fmla="*/ 64 w 136"/>
                <a:gd name="T27" fmla="*/ 57 h 144"/>
                <a:gd name="T28" fmla="*/ 64 w 136"/>
                <a:gd name="T29" fmla="*/ 61 h 144"/>
                <a:gd name="T30" fmla="*/ 64 w 136"/>
                <a:gd name="T31" fmla="*/ 64 h 144"/>
                <a:gd name="T32" fmla="*/ 63 w 136"/>
                <a:gd name="T33" fmla="*/ 64 h 144"/>
                <a:gd name="T34" fmla="*/ 36 w 136"/>
                <a:gd name="T35" fmla="*/ 64 h 144"/>
                <a:gd name="T36" fmla="*/ 35 w 136"/>
                <a:gd name="T37" fmla="*/ 63 h 144"/>
                <a:gd name="T38" fmla="*/ 35 w 136"/>
                <a:gd name="T39" fmla="*/ 59 h 144"/>
                <a:gd name="T40" fmla="*/ 36 w 136"/>
                <a:gd name="T41" fmla="*/ 57 h 144"/>
                <a:gd name="T42" fmla="*/ 46 w 136"/>
                <a:gd name="T43" fmla="*/ 57 h 144"/>
                <a:gd name="T44" fmla="*/ 38 w 136"/>
                <a:gd name="T45" fmla="*/ 31 h 144"/>
                <a:gd name="T46" fmla="*/ 36 w 136"/>
                <a:gd name="T47" fmla="*/ 31 h 144"/>
                <a:gd name="T48" fmla="*/ 35 w 136"/>
                <a:gd name="T49" fmla="*/ 28 h 144"/>
                <a:gd name="T50" fmla="*/ 65 w 136"/>
                <a:gd name="T51" fmla="*/ 114 h 144"/>
                <a:gd name="T52" fmla="*/ 56 w 136"/>
                <a:gd name="T53" fmla="*/ 127 h 144"/>
                <a:gd name="T54" fmla="*/ 40 w 136"/>
                <a:gd name="T55" fmla="*/ 127 h 144"/>
                <a:gd name="T56" fmla="*/ 32 w 136"/>
                <a:gd name="T57" fmla="*/ 115 h 144"/>
                <a:gd name="T58" fmla="*/ 32 w 136"/>
                <a:gd name="T59" fmla="*/ 95 h 144"/>
                <a:gd name="T60" fmla="*/ 40 w 136"/>
                <a:gd name="T61" fmla="*/ 82 h 144"/>
                <a:gd name="T62" fmla="*/ 57 w 136"/>
                <a:gd name="T63" fmla="*/ 82 h 144"/>
                <a:gd name="T64" fmla="*/ 65 w 136"/>
                <a:gd name="T65" fmla="*/ 94 h 144"/>
                <a:gd name="T66" fmla="*/ 65 w 136"/>
                <a:gd name="T67" fmla="*/ 114 h 144"/>
                <a:gd name="T68" fmla="*/ 102 w 136"/>
                <a:gd name="T69" fmla="*/ 127 h 144"/>
                <a:gd name="T70" fmla="*/ 101 w 136"/>
                <a:gd name="T71" fmla="*/ 128 h 144"/>
                <a:gd name="T72" fmla="*/ 74 w 136"/>
                <a:gd name="T73" fmla="*/ 128 h 144"/>
                <a:gd name="T74" fmla="*/ 73 w 136"/>
                <a:gd name="T75" fmla="*/ 126 h 144"/>
                <a:gd name="T76" fmla="*/ 73 w 136"/>
                <a:gd name="T77" fmla="*/ 122 h 144"/>
                <a:gd name="T78" fmla="*/ 74 w 136"/>
                <a:gd name="T79" fmla="*/ 120 h 144"/>
                <a:gd name="T80" fmla="*/ 83 w 136"/>
                <a:gd name="T81" fmla="*/ 120 h 144"/>
                <a:gd name="T82" fmla="*/ 76 w 136"/>
                <a:gd name="T83" fmla="*/ 94 h 144"/>
                <a:gd name="T84" fmla="*/ 74 w 136"/>
                <a:gd name="T85" fmla="*/ 95 h 144"/>
                <a:gd name="T86" fmla="*/ 73 w 136"/>
                <a:gd name="T87" fmla="*/ 91 h 144"/>
                <a:gd name="T88" fmla="*/ 73 w 136"/>
                <a:gd name="T89" fmla="*/ 89 h 144"/>
                <a:gd name="T90" fmla="*/ 74 w 136"/>
                <a:gd name="T91" fmla="*/ 87 h 144"/>
                <a:gd name="T92" fmla="*/ 85 w 136"/>
                <a:gd name="T93" fmla="*/ 81 h 144"/>
                <a:gd name="T94" fmla="*/ 87 w 136"/>
                <a:gd name="T95" fmla="*/ 81 h 144"/>
                <a:gd name="T96" fmla="*/ 91 w 136"/>
                <a:gd name="T97" fmla="*/ 81 h 144"/>
                <a:gd name="T98" fmla="*/ 93 w 136"/>
                <a:gd name="T99" fmla="*/ 82 h 144"/>
                <a:gd name="T100" fmla="*/ 93 w 136"/>
                <a:gd name="T101" fmla="*/ 121 h 144"/>
                <a:gd name="T102" fmla="*/ 101 w 136"/>
                <a:gd name="T103" fmla="*/ 121 h 144"/>
                <a:gd name="T104" fmla="*/ 102 w 136"/>
                <a:gd name="T105" fmla="*/ 123 h 144"/>
                <a:gd name="T106" fmla="*/ 102 w 136"/>
                <a:gd name="T107" fmla="*/ 126 h 144"/>
                <a:gd name="T108" fmla="*/ 99 w 136"/>
                <a:gd name="T109" fmla="*/ 57 h 144"/>
                <a:gd name="T110" fmla="*/ 86 w 136"/>
                <a:gd name="T111" fmla="*/ 64 h 144"/>
                <a:gd name="T112" fmla="*/ 72 w 136"/>
                <a:gd name="T113" fmla="*/ 58 h 144"/>
                <a:gd name="T114" fmla="*/ 69 w 136"/>
                <a:gd name="T115" fmla="*/ 40 h 144"/>
                <a:gd name="T116" fmla="*/ 73 w 136"/>
                <a:gd name="T117" fmla="*/ 22 h 144"/>
                <a:gd name="T118" fmla="*/ 87 w 136"/>
                <a:gd name="T119" fmla="*/ 15 h 144"/>
                <a:gd name="T120" fmla="*/ 100 w 136"/>
                <a:gd name="T121" fmla="*/ 22 h 144"/>
                <a:gd name="T122" fmla="*/ 103 w 136"/>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44">
                  <a:moveTo>
                    <a:pt x="110" y="0"/>
                  </a:moveTo>
                  <a:cubicBezTo>
                    <a:pt x="106" y="0"/>
                    <a:pt x="101" y="0"/>
                    <a:pt x="96" y="0"/>
                  </a:cubicBezTo>
                  <a:cubicBezTo>
                    <a:pt x="9" y="0"/>
                    <a:pt x="9" y="0"/>
                    <a:pt x="9" y="0"/>
                  </a:cubicBezTo>
                  <a:cubicBezTo>
                    <a:pt x="4" y="0"/>
                    <a:pt x="0" y="5"/>
                    <a:pt x="0" y="10"/>
                  </a:cubicBezTo>
                  <a:cubicBezTo>
                    <a:pt x="0" y="134"/>
                    <a:pt x="0" y="134"/>
                    <a:pt x="0" y="134"/>
                  </a:cubicBezTo>
                  <a:cubicBezTo>
                    <a:pt x="0" y="139"/>
                    <a:pt x="4" y="144"/>
                    <a:pt x="9" y="144"/>
                  </a:cubicBezTo>
                  <a:cubicBezTo>
                    <a:pt x="127" y="144"/>
                    <a:pt x="127" y="144"/>
                    <a:pt x="127" y="144"/>
                  </a:cubicBezTo>
                  <a:cubicBezTo>
                    <a:pt x="132" y="144"/>
                    <a:pt x="136" y="139"/>
                    <a:pt x="136" y="134"/>
                  </a:cubicBezTo>
                  <a:cubicBezTo>
                    <a:pt x="136" y="28"/>
                    <a:pt x="136" y="28"/>
                    <a:pt x="136" y="28"/>
                  </a:cubicBezTo>
                  <a:cubicBezTo>
                    <a:pt x="110" y="28"/>
                    <a:pt x="110" y="28"/>
                    <a:pt x="110" y="28"/>
                  </a:cubicBezTo>
                  <a:cubicBezTo>
                    <a:pt x="110" y="0"/>
                    <a:pt x="110" y="0"/>
                    <a:pt x="110" y="0"/>
                  </a:cubicBezTo>
                  <a:close/>
                  <a:moveTo>
                    <a:pt x="35" y="25"/>
                  </a:moveTo>
                  <a:cubicBezTo>
                    <a:pt x="35" y="25"/>
                    <a:pt x="35" y="25"/>
                    <a:pt x="35" y="24"/>
                  </a:cubicBezTo>
                  <a:cubicBezTo>
                    <a:pt x="35" y="24"/>
                    <a:pt x="35" y="23"/>
                    <a:pt x="36" y="23"/>
                  </a:cubicBezTo>
                  <a:cubicBezTo>
                    <a:pt x="37" y="23"/>
                    <a:pt x="37" y="23"/>
                    <a:pt x="37" y="23"/>
                  </a:cubicBezTo>
                  <a:cubicBezTo>
                    <a:pt x="47" y="16"/>
                    <a:pt x="47" y="16"/>
                    <a:pt x="47" y="16"/>
                  </a:cubicBezTo>
                  <a:cubicBezTo>
                    <a:pt x="47" y="16"/>
                    <a:pt x="47" y="16"/>
                    <a:pt x="48" y="16"/>
                  </a:cubicBezTo>
                  <a:cubicBezTo>
                    <a:pt x="48" y="16"/>
                    <a:pt x="48" y="16"/>
                    <a:pt x="48" y="16"/>
                  </a:cubicBezTo>
                  <a:cubicBezTo>
                    <a:pt x="48" y="16"/>
                    <a:pt x="49" y="16"/>
                    <a:pt x="49" y="16"/>
                  </a:cubicBezTo>
                  <a:cubicBezTo>
                    <a:pt x="50" y="16"/>
                    <a:pt x="51" y="16"/>
                    <a:pt x="51" y="16"/>
                  </a:cubicBezTo>
                  <a:cubicBezTo>
                    <a:pt x="52" y="16"/>
                    <a:pt x="53" y="16"/>
                    <a:pt x="53" y="16"/>
                  </a:cubicBezTo>
                  <a:cubicBezTo>
                    <a:pt x="54" y="16"/>
                    <a:pt x="55" y="16"/>
                    <a:pt x="55" y="16"/>
                  </a:cubicBezTo>
                  <a:cubicBezTo>
                    <a:pt x="55" y="16"/>
                    <a:pt x="55" y="16"/>
                    <a:pt x="55" y="17"/>
                  </a:cubicBezTo>
                  <a:cubicBezTo>
                    <a:pt x="55" y="18"/>
                    <a:pt x="55" y="18"/>
                    <a:pt x="55" y="18"/>
                  </a:cubicBezTo>
                  <a:cubicBezTo>
                    <a:pt x="55" y="57"/>
                    <a:pt x="55" y="57"/>
                    <a:pt x="55" y="57"/>
                  </a:cubicBezTo>
                  <a:cubicBezTo>
                    <a:pt x="63" y="57"/>
                    <a:pt x="63" y="57"/>
                    <a:pt x="63" y="57"/>
                  </a:cubicBezTo>
                  <a:cubicBezTo>
                    <a:pt x="64" y="57"/>
                    <a:pt x="64" y="57"/>
                    <a:pt x="64" y="57"/>
                  </a:cubicBezTo>
                  <a:cubicBezTo>
                    <a:pt x="64" y="57"/>
                    <a:pt x="64" y="57"/>
                    <a:pt x="64" y="57"/>
                  </a:cubicBezTo>
                  <a:cubicBezTo>
                    <a:pt x="64" y="57"/>
                    <a:pt x="64" y="58"/>
                    <a:pt x="64" y="59"/>
                  </a:cubicBezTo>
                  <a:cubicBezTo>
                    <a:pt x="64" y="59"/>
                    <a:pt x="64" y="60"/>
                    <a:pt x="64" y="61"/>
                  </a:cubicBezTo>
                  <a:cubicBezTo>
                    <a:pt x="64" y="61"/>
                    <a:pt x="64" y="62"/>
                    <a:pt x="64" y="63"/>
                  </a:cubicBezTo>
                  <a:cubicBezTo>
                    <a:pt x="64" y="63"/>
                    <a:pt x="64" y="63"/>
                    <a:pt x="64" y="64"/>
                  </a:cubicBezTo>
                  <a:cubicBezTo>
                    <a:pt x="64" y="64"/>
                    <a:pt x="64" y="64"/>
                    <a:pt x="64" y="64"/>
                  </a:cubicBezTo>
                  <a:cubicBezTo>
                    <a:pt x="63" y="64"/>
                    <a:pt x="63" y="64"/>
                    <a:pt x="63" y="64"/>
                  </a:cubicBezTo>
                  <a:cubicBezTo>
                    <a:pt x="37" y="64"/>
                    <a:pt x="37" y="64"/>
                    <a:pt x="37" y="64"/>
                  </a:cubicBezTo>
                  <a:cubicBezTo>
                    <a:pt x="36" y="64"/>
                    <a:pt x="36" y="64"/>
                    <a:pt x="36" y="64"/>
                  </a:cubicBezTo>
                  <a:cubicBezTo>
                    <a:pt x="35" y="64"/>
                    <a:pt x="35" y="64"/>
                    <a:pt x="35" y="64"/>
                  </a:cubicBezTo>
                  <a:cubicBezTo>
                    <a:pt x="35" y="64"/>
                    <a:pt x="35" y="63"/>
                    <a:pt x="35" y="63"/>
                  </a:cubicBezTo>
                  <a:cubicBezTo>
                    <a:pt x="35" y="62"/>
                    <a:pt x="35" y="61"/>
                    <a:pt x="35" y="61"/>
                  </a:cubicBezTo>
                  <a:cubicBezTo>
                    <a:pt x="35" y="60"/>
                    <a:pt x="35" y="59"/>
                    <a:pt x="35" y="59"/>
                  </a:cubicBezTo>
                  <a:cubicBezTo>
                    <a:pt x="35" y="58"/>
                    <a:pt x="35" y="58"/>
                    <a:pt x="35" y="57"/>
                  </a:cubicBezTo>
                  <a:cubicBezTo>
                    <a:pt x="35" y="57"/>
                    <a:pt x="35" y="57"/>
                    <a:pt x="36" y="57"/>
                  </a:cubicBezTo>
                  <a:cubicBezTo>
                    <a:pt x="37" y="57"/>
                    <a:pt x="37" y="57"/>
                    <a:pt x="37" y="57"/>
                  </a:cubicBezTo>
                  <a:cubicBezTo>
                    <a:pt x="46" y="57"/>
                    <a:pt x="46" y="57"/>
                    <a:pt x="46" y="57"/>
                  </a:cubicBezTo>
                  <a:cubicBezTo>
                    <a:pt x="46" y="26"/>
                    <a:pt x="46" y="26"/>
                    <a:pt x="46" y="26"/>
                  </a:cubicBezTo>
                  <a:cubicBezTo>
                    <a:pt x="38" y="31"/>
                    <a:pt x="38" y="31"/>
                    <a:pt x="38" y="31"/>
                  </a:cubicBezTo>
                  <a:cubicBezTo>
                    <a:pt x="37" y="31"/>
                    <a:pt x="37" y="31"/>
                    <a:pt x="37" y="31"/>
                  </a:cubicBezTo>
                  <a:cubicBezTo>
                    <a:pt x="36" y="31"/>
                    <a:pt x="36" y="31"/>
                    <a:pt x="36" y="31"/>
                  </a:cubicBezTo>
                  <a:cubicBezTo>
                    <a:pt x="36" y="31"/>
                    <a:pt x="35" y="31"/>
                    <a:pt x="35" y="30"/>
                  </a:cubicBezTo>
                  <a:cubicBezTo>
                    <a:pt x="35" y="29"/>
                    <a:pt x="35" y="29"/>
                    <a:pt x="35" y="28"/>
                  </a:cubicBezTo>
                  <a:cubicBezTo>
                    <a:pt x="35" y="26"/>
                    <a:pt x="35" y="25"/>
                    <a:pt x="35" y="25"/>
                  </a:cubicBezTo>
                  <a:close/>
                  <a:moveTo>
                    <a:pt x="65" y="114"/>
                  </a:moveTo>
                  <a:cubicBezTo>
                    <a:pt x="64" y="118"/>
                    <a:pt x="64" y="120"/>
                    <a:pt x="62" y="122"/>
                  </a:cubicBezTo>
                  <a:cubicBezTo>
                    <a:pt x="60" y="124"/>
                    <a:pt x="58" y="126"/>
                    <a:pt x="56" y="127"/>
                  </a:cubicBezTo>
                  <a:cubicBezTo>
                    <a:pt x="55" y="128"/>
                    <a:pt x="51" y="129"/>
                    <a:pt x="48" y="129"/>
                  </a:cubicBezTo>
                  <a:cubicBezTo>
                    <a:pt x="45" y="129"/>
                    <a:pt x="42" y="128"/>
                    <a:pt x="40" y="127"/>
                  </a:cubicBezTo>
                  <a:cubicBezTo>
                    <a:pt x="38" y="126"/>
                    <a:pt x="36" y="125"/>
                    <a:pt x="35" y="123"/>
                  </a:cubicBezTo>
                  <a:cubicBezTo>
                    <a:pt x="33" y="121"/>
                    <a:pt x="33" y="118"/>
                    <a:pt x="32" y="115"/>
                  </a:cubicBezTo>
                  <a:cubicBezTo>
                    <a:pt x="32" y="112"/>
                    <a:pt x="32" y="109"/>
                    <a:pt x="32" y="105"/>
                  </a:cubicBezTo>
                  <a:cubicBezTo>
                    <a:pt x="32" y="101"/>
                    <a:pt x="32" y="98"/>
                    <a:pt x="32" y="95"/>
                  </a:cubicBezTo>
                  <a:cubicBezTo>
                    <a:pt x="33" y="91"/>
                    <a:pt x="34" y="89"/>
                    <a:pt x="35" y="87"/>
                  </a:cubicBezTo>
                  <a:cubicBezTo>
                    <a:pt x="37" y="85"/>
                    <a:pt x="39" y="83"/>
                    <a:pt x="40" y="82"/>
                  </a:cubicBezTo>
                  <a:cubicBezTo>
                    <a:pt x="42" y="80"/>
                    <a:pt x="46" y="80"/>
                    <a:pt x="49" y="80"/>
                  </a:cubicBezTo>
                  <a:cubicBezTo>
                    <a:pt x="52" y="80"/>
                    <a:pt x="55" y="80"/>
                    <a:pt x="57" y="82"/>
                  </a:cubicBezTo>
                  <a:cubicBezTo>
                    <a:pt x="59" y="83"/>
                    <a:pt x="61" y="84"/>
                    <a:pt x="62" y="86"/>
                  </a:cubicBezTo>
                  <a:cubicBezTo>
                    <a:pt x="64" y="88"/>
                    <a:pt x="64" y="91"/>
                    <a:pt x="65" y="94"/>
                  </a:cubicBezTo>
                  <a:cubicBezTo>
                    <a:pt x="65" y="97"/>
                    <a:pt x="65" y="100"/>
                    <a:pt x="65" y="104"/>
                  </a:cubicBezTo>
                  <a:cubicBezTo>
                    <a:pt x="66" y="108"/>
                    <a:pt x="65" y="111"/>
                    <a:pt x="65" y="114"/>
                  </a:cubicBezTo>
                  <a:close/>
                  <a:moveTo>
                    <a:pt x="102" y="126"/>
                  </a:moveTo>
                  <a:cubicBezTo>
                    <a:pt x="102" y="127"/>
                    <a:pt x="102" y="127"/>
                    <a:pt x="102" y="127"/>
                  </a:cubicBezTo>
                  <a:cubicBezTo>
                    <a:pt x="102" y="127"/>
                    <a:pt x="102" y="128"/>
                    <a:pt x="101" y="128"/>
                  </a:cubicBezTo>
                  <a:cubicBezTo>
                    <a:pt x="101" y="128"/>
                    <a:pt x="101" y="128"/>
                    <a:pt x="101" y="128"/>
                  </a:cubicBezTo>
                  <a:cubicBezTo>
                    <a:pt x="74" y="128"/>
                    <a:pt x="74" y="128"/>
                    <a:pt x="74" y="128"/>
                  </a:cubicBezTo>
                  <a:cubicBezTo>
                    <a:pt x="74" y="128"/>
                    <a:pt x="74" y="128"/>
                    <a:pt x="74" y="128"/>
                  </a:cubicBezTo>
                  <a:cubicBezTo>
                    <a:pt x="73" y="127"/>
                    <a:pt x="73" y="127"/>
                    <a:pt x="73" y="127"/>
                  </a:cubicBezTo>
                  <a:cubicBezTo>
                    <a:pt x="73" y="127"/>
                    <a:pt x="73" y="127"/>
                    <a:pt x="73" y="126"/>
                  </a:cubicBezTo>
                  <a:cubicBezTo>
                    <a:pt x="73" y="125"/>
                    <a:pt x="73" y="125"/>
                    <a:pt x="73" y="124"/>
                  </a:cubicBezTo>
                  <a:cubicBezTo>
                    <a:pt x="73" y="123"/>
                    <a:pt x="73" y="123"/>
                    <a:pt x="73" y="122"/>
                  </a:cubicBezTo>
                  <a:cubicBezTo>
                    <a:pt x="73" y="121"/>
                    <a:pt x="73" y="121"/>
                    <a:pt x="73" y="121"/>
                  </a:cubicBezTo>
                  <a:cubicBezTo>
                    <a:pt x="73" y="121"/>
                    <a:pt x="73" y="120"/>
                    <a:pt x="74" y="120"/>
                  </a:cubicBezTo>
                  <a:cubicBezTo>
                    <a:pt x="74" y="120"/>
                    <a:pt x="74" y="120"/>
                    <a:pt x="74" y="120"/>
                  </a:cubicBezTo>
                  <a:cubicBezTo>
                    <a:pt x="83" y="120"/>
                    <a:pt x="83" y="120"/>
                    <a:pt x="83" y="120"/>
                  </a:cubicBezTo>
                  <a:cubicBezTo>
                    <a:pt x="83" y="89"/>
                    <a:pt x="83" y="89"/>
                    <a:pt x="83" y="89"/>
                  </a:cubicBezTo>
                  <a:cubicBezTo>
                    <a:pt x="76" y="94"/>
                    <a:pt x="76" y="94"/>
                    <a:pt x="76" y="94"/>
                  </a:cubicBezTo>
                  <a:cubicBezTo>
                    <a:pt x="75" y="94"/>
                    <a:pt x="74" y="95"/>
                    <a:pt x="74" y="95"/>
                  </a:cubicBezTo>
                  <a:cubicBezTo>
                    <a:pt x="74" y="95"/>
                    <a:pt x="74" y="95"/>
                    <a:pt x="74" y="95"/>
                  </a:cubicBezTo>
                  <a:cubicBezTo>
                    <a:pt x="74" y="95"/>
                    <a:pt x="73" y="94"/>
                    <a:pt x="73" y="93"/>
                  </a:cubicBezTo>
                  <a:cubicBezTo>
                    <a:pt x="73" y="93"/>
                    <a:pt x="73" y="92"/>
                    <a:pt x="73" y="91"/>
                  </a:cubicBezTo>
                  <a:cubicBezTo>
                    <a:pt x="73" y="91"/>
                    <a:pt x="73" y="90"/>
                    <a:pt x="73" y="90"/>
                  </a:cubicBezTo>
                  <a:cubicBezTo>
                    <a:pt x="73" y="89"/>
                    <a:pt x="73" y="89"/>
                    <a:pt x="73" y="89"/>
                  </a:cubicBezTo>
                  <a:cubicBezTo>
                    <a:pt x="73" y="89"/>
                    <a:pt x="73" y="88"/>
                    <a:pt x="74" y="88"/>
                  </a:cubicBezTo>
                  <a:cubicBezTo>
                    <a:pt x="74" y="87"/>
                    <a:pt x="74" y="87"/>
                    <a:pt x="74" y="87"/>
                  </a:cubicBezTo>
                  <a:cubicBezTo>
                    <a:pt x="85" y="81"/>
                    <a:pt x="85" y="81"/>
                    <a:pt x="85" y="81"/>
                  </a:cubicBezTo>
                  <a:cubicBezTo>
                    <a:pt x="85" y="81"/>
                    <a:pt x="85" y="81"/>
                    <a:pt x="85" y="81"/>
                  </a:cubicBezTo>
                  <a:cubicBezTo>
                    <a:pt x="86" y="81"/>
                    <a:pt x="86" y="81"/>
                    <a:pt x="86" y="81"/>
                  </a:cubicBezTo>
                  <a:cubicBezTo>
                    <a:pt x="86" y="81"/>
                    <a:pt x="87" y="81"/>
                    <a:pt x="87" y="81"/>
                  </a:cubicBezTo>
                  <a:cubicBezTo>
                    <a:pt x="88" y="81"/>
                    <a:pt x="88" y="81"/>
                    <a:pt x="89" y="81"/>
                  </a:cubicBezTo>
                  <a:cubicBezTo>
                    <a:pt x="90" y="81"/>
                    <a:pt x="91" y="81"/>
                    <a:pt x="91" y="81"/>
                  </a:cubicBezTo>
                  <a:cubicBezTo>
                    <a:pt x="92" y="81"/>
                    <a:pt x="92" y="81"/>
                    <a:pt x="92" y="81"/>
                  </a:cubicBezTo>
                  <a:cubicBezTo>
                    <a:pt x="92" y="81"/>
                    <a:pt x="93" y="81"/>
                    <a:pt x="93" y="82"/>
                  </a:cubicBezTo>
                  <a:cubicBezTo>
                    <a:pt x="93" y="82"/>
                    <a:pt x="93" y="82"/>
                    <a:pt x="93" y="82"/>
                  </a:cubicBezTo>
                  <a:cubicBezTo>
                    <a:pt x="93" y="121"/>
                    <a:pt x="93" y="121"/>
                    <a:pt x="93" y="121"/>
                  </a:cubicBezTo>
                  <a:cubicBezTo>
                    <a:pt x="101" y="121"/>
                    <a:pt x="101" y="121"/>
                    <a:pt x="101" y="121"/>
                  </a:cubicBezTo>
                  <a:cubicBezTo>
                    <a:pt x="101" y="121"/>
                    <a:pt x="101" y="121"/>
                    <a:pt x="101" y="121"/>
                  </a:cubicBezTo>
                  <a:cubicBezTo>
                    <a:pt x="102" y="122"/>
                    <a:pt x="102" y="122"/>
                    <a:pt x="102" y="122"/>
                  </a:cubicBezTo>
                  <a:cubicBezTo>
                    <a:pt x="102" y="122"/>
                    <a:pt x="102" y="123"/>
                    <a:pt x="102" y="123"/>
                  </a:cubicBezTo>
                  <a:cubicBezTo>
                    <a:pt x="102" y="124"/>
                    <a:pt x="102" y="125"/>
                    <a:pt x="102" y="125"/>
                  </a:cubicBezTo>
                  <a:cubicBezTo>
                    <a:pt x="103" y="125"/>
                    <a:pt x="103" y="126"/>
                    <a:pt x="102" y="126"/>
                  </a:cubicBezTo>
                  <a:close/>
                  <a:moveTo>
                    <a:pt x="103" y="50"/>
                  </a:moveTo>
                  <a:cubicBezTo>
                    <a:pt x="102" y="53"/>
                    <a:pt x="101" y="55"/>
                    <a:pt x="99" y="57"/>
                  </a:cubicBezTo>
                  <a:cubicBezTo>
                    <a:pt x="98" y="59"/>
                    <a:pt x="96" y="61"/>
                    <a:pt x="94" y="63"/>
                  </a:cubicBezTo>
                  <a:cubicBezTo>
                    <a:pt x="92" y="64"/>
                    <a:pt x="89" y="64"/>
                    <a:pt x="86" y="64"/>
                  </a:cubicBezTo>
                  <a:cubicBezTo>
                    <a:pt x="83" y="64"/>
                    <a:pt x="80" y="64"/>
                    <a:pt x="78" y="63"/>
                  </a:cubicBezTo>
                  <a:cubicBezTo>
                    <a:pt x="76" y="61"/>
                    <a:pt x="74" y="60"/>
                    <a:pt x="72" y="58"/>
                  </a:cubicBezTo>
                  <a:cubicBezTo>
                    <a:pt x="71" y="56"/>
                    <a:pt x="71" y="54"/>
                    <a:pt x="70" y="50"/>
                  </a:cubicBezTo>
                  <a:cubicBezTo>
                    <a:pt x="69" y="47"/>
                    <a:pt x="69" y="44"/>
                    <a:pt x="69" y="40"/>
                  </a:cubicBezTo>
                  <a:cubicBezTo>
                    <a:pt x="69" y="36"/>
                    <a:pt x="69" y="33"/>
                    <a:pt x="70" y="30"/>
                  </a:cubicBezTo>
                  <a:cubicBezTo>
                    <a:pt x="71" y="27"/>
                    <a:pt x="72" y="24"/>
                    <a:pt x="73" y="22"/>
                  </a:cubicBezTo>
                  <a:cubicBezTo>
                    <a:pt x="74" y="20"/>
                    <a:pt x="76" y="18"/>
                    <a:pt x="78" y="17"/>
                  </a:cubicBezTo>
                  <a:cubicBezTo>
                    <a:pt x="80" y="16"/>
                    <a:pt x="83" y="15"/>
                    <a:pt x="87" y="15"/>
                  </a:cubicBezTo>
                  <a:cubicBezTo>
                    <a:pt x="90" y="15"/>
                    <a:pt x="92" y="16"/>
                    <a:pt x="95" y="17"/>
                  </a:cubicBezTo>
                  <a:cubicBezTo>
                    <a:pt x="97" y="18"/>
                    <a:pt x="99" y="20"/>
                    <a:pt x="100" y="22"/>
                  </a:cubicBezTo>
                  <a:cubicBezTo>
                    <a:pt x="101" y="23"/>
                    <a:pt x="102" y="26"/>
                    <a:pt x="103" y="29"/>
                  </a:cubicBezTo>
                  <a:cubicBezTo>
                    <a:pt x="103" y="32"/>
                    <a:pt x="103" y="36"/>
                    <a:pt x="103" y="39"/>
                  </a:cubicBezTo>
                  <a:cubicBezTo>
                    <a:pt x="104" y="43"/>
                    <a:pt x="103" y="47"/>
                    <a:pt x="103" y="5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7"/>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9"/>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0"/>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1"/>
            <p:cNvSpPr>
              <a:spLocks/>
            </p:cNvSpPr>
            <p:nvPr/>
          </p:nvSpPr>
          <p:spPr bwMode="auto">
            <a:xfrm>
              <a:off x="2497138" y="2297113"/>
              <a:ext cx="239713" cy="28575"/>
            </a:xfrm>
            <a:custGeom>
              <a:avLst/>
              <a:gdLst>
                <a:gd name="T0" fmla="*/ 64 w 64"/>
                <a:gd name="T1" fmla="*/ 4 h 8"/>
                <a:gd name="T2" fmla="*/ 60 w 64"/>
                <a:gd name="T3" fmla="*/ 8 h 8"/>
                <a:gd name="T4" fmla="*/ 4 w 64"/>
                <a:gd name="T5" fmla="*/ 8 h 8"/>
                <a:gd name="T6" fmla="*/ 0 w 64"/>
                <a:gd name="T7" fmla="*/ 4 h 8"/>
                <a:gd name="T8" fmla="*/ 4 w 64"/>
                <a:gd name="T9" fmla="*/ 0 h 8"/>
                <a:gd name="T10" fmla="*/ 60 w 64"/>
                <a:gd name="T11" fmla="*/ 0 h 8"/>
                <a:gd name="T12" fmla="*/ 64 w 64"/>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64" h="8">
                  <a:moveTo>
                    <a:pt x="64" y="4"/>
                  </a:moveTo>
                  <a:cubicBezTo>
                    <a:pt x="64" y="7"/>
                    <a:pt x="62" y="8"/>
                    <a:pt x="60" y="8"/>
                  </a:cubicBezTo>
                  <a:cubicBezTo>
                    <a:pt x="4" y="8"/>
                    <a:pt x="4" y="8"/>
                    <a:pt x="4" y="8"/>
                  </a:cubicBezTo>
                  <a:cubicBezTo>
                    <a:pt x="2" y="8"/>
                    <a:pt x="0" y="7"/>
                    <a:pt x="0" y="4"/>
                  </a:cubicBezTo>
                  <a:cubicBezTo>
                    <a:pt x="0" y="2"/>
                    <a:pt x="2" y="0"/>
                    <a:pt x="4" y="0"/>
                  </a:cubicBezTo>
                  <a:cubicBezTo>
                    <a:pt x="60" y="0"/>
                    <a:pt x="60" y="0"/>
                    <a:pt x="60" y="0"/>
                  </a:cubicBezTo>
                  <a:cubicBezTo>
                    <a:pt x="62" y="0"/>
                    <a:pt x="64" y="2"/>
                    <a:pt x="64"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2"/>
            <p:cNvSpPr>
              <a:spLocks/>
            </p:cNvSpPr>
            <p:nvPr/>
          </p:nvSpPr>
          <p:spPr bwMode="auto">
            <a:xfrm>
              <a:off x="2497138" y="2146300"/>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3"/>
            <p:cNvSpPr>
              <a:spLocks/>
            </p:cNvSpPr>
            <p:nvPr/>
          </p:nvSpPr>
          <p:spPr bwMode="auto">
            <a:xfrm>
              <a:off x="2497138" y="2220913"/>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4"/>
            <p:cNvSpPr>
              <a:spLocks/>
            </p:cNvSpPr>
            <p:nvPr/>
          </p:nvSpPr>
          <p:spPr bwMode="auto">
            <a:xfrm>
              <a:off x="2497138" y="2066925"/>
              <a:ext cx="280988" cy="33338"/>
            </a:xfrm>
            <a:custGeom>
              <a:avLst/>
              <a:gdLst>
                <a:gd name="T0" fmla="*/ 75 w 75"/>
                <a:gd name="T1" fmla="*/ 4 h 9"/>
                <a:gd name="T2" fmla="*/ 71 w 75"/>
                <a:gd name="T3" fmla="*/ 9 h 9"/>
                <a:gd name="T4" fmla="*/ 4 w 75"/>
                <a:gd name="T5" fmla="*/ 9 h 9"/>
                <a:gd name="T6" fmla="*/ 0 w 75"/>
                <a:gd name="T7" fmla="*/ 4 h 9"/>
                <a:gd name="T8" fmla="*/ 4 w 75"/>
                <a:gd name="T9" fmla="*/ 0 h 9"/>
                <a:gd name="T10" fmla="*/ 71 w 75"/>
                <a:gd name="T11" fmla="*/ 0 h 9"/>
                <a:gd name="T12" fmla="*/ 75 w 75"/>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75" h="9">
                  <a:moveTo>
                    <a:pt x="75" y="4"/>
                  </a:moveTo>
                  <a:cubicBezTo>
                    <a:pt x="75" y="7"/>
                    <a:pt x="73" y="9"/>
                    <a:pt x="71" y="9"/>
                  </a:cubicBezTo>
                  <a:cubicBezTo>
                    <a:pt x="4" y="9"/>
                    <a:pt x="4" y="9"/>
                    <a:pt x="4" y="9"/>
                  </a:cubicBezTo>
                  <a:cubicBezTo>
                    <a:pt x="2" y="9"/>
                    <a:pt x="0" y="7"/>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27475" y="2759075"/>
            <a:ext cx="3913188" cy="2020888"/>
            <a:chOff x="3927475" y="2759075"/>
            <a:chExt cx="3913188" cy="2020888"/>
          </a:xfrm>
        </p:grpSpPr>
        <p:sp>
          <p:nvSpPr>
            <p:cNvPr id="18" name="Freeform 17"/>
            <p:cNvSpPr>
              <a:spLocks noEditPoints="1"/>
            </p:cNvSpPr>
            <p:nvPr/>
          </p:nvSpPr>
          <p:spPr bwMode="auto">
            <a:xfrm>
              <a:off x="5346700"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562133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2"/>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7"/>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3"/>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7"/>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4397375" y="2887663"/>
              <a:ext cx="225425" cy="398463"/>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3927475" y="2887663"/>
              <a:ext cx="222250" cy="398463"/>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5"/>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6"/>
            <p:cNvSpPr>
              <a:spLocks noChangeArrowheads="1"/>
            </p:cNvSpPr>
            <p:nvPr/>
          </p:nvSpPr>
          <p:spPr bwMode="auto">
            <a:xfrm>
              <a:off x="4854575" y="4475163"/>
              <a:ext cx="198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922838" y="4475163"/>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5387975"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448300" y="4475163"/>
              <a:ext cx="1265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CSV to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6589713"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Rectangle 61"/>
            <p:cNvSpPr>
              <a:spLocks noChangeArrowheads="1"/>
            </p:cNvSpPr>
            <p:nvPr/>
          </p:nvSpPr>
          <p:spPr bwMode="auto">
            <a:xfrm>
              <a:off x="6646863" y="4475163"/>
              <a:ext cx="412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 name="Freeform 62"/>
            <p:cNvSpPr>
              <a:spLocks noEditPoints="1"/>
            </p:cNvSpPr>
            <p:nvPr/>
          </p:nvSpPr>
          <p:spPr bwMode="auto">
            <a:xfrm>
              <a:off x="3949700" y="2759075"/>
              <a:ext cx="3890963" cy="1655763"/>
            </a:xfrm>
            <a:custGeom>
              <a:avLst/>
              <a:gdLst>
                <a:gd name="T0" fmla="*/ 183 w 1036"/>
                <a:gd name="T1" fmla="*/ 10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1 h 440"/>
                <a:gd name="T34" fmla="*/ 867 w 1036"/>
                <a:gd name="T35" fmla="*/ 5 h 440"/>
                <a:gd name="T36" fmla="*/ 908 w 1036"/>
                <a:gd name="T37" fmla="*/ 27 h 440"/>
                <a:gd name="T38" fmla="*/ 934 w 1036"/>
                <a:gd name="T39" fmla="*/ 41 h 440"/>
                <a:gd name="T40" fmla="*/ 974 w 1036"/>
                <a:gd name="T41" fmla="*/ 64 h 440"/>
                <a:gd name="T42" fmla="*/ 1011 w 1036"/>
                <a:gd name="T43" fmla="*/ 114 h 440"/>
                <a:gd name="T44" fmla="*/ 1021 w 1036"/>
                <a:gd name="T45" fmla="*/ 135 h 440"/>
                <a:gd name="T46" fmla="*/ 1025 w 1036"/>
                <a:gd name="T47" fmla="*/ 181 h 440"/>
                <a:gd name="T48" fmla="*/ 1036 w 1036"/>
                <a:gd name="T49" fmla="*/ 211 h 440"/>
                <a:gd name="T50" fmla="*/ 1035 w 1036"/>
                <a:gd name="T51" fmla="*/ 249 h 440"/>
                <a:gd name="T52" fmla="*/ 1017 w 1036"/>
                <a:gd name="T53" fmla="*/ 292 h 440"/>
                <a:gd name="T54" fmla="*/ 1006 w 1036"/>
                <a:gd name="T55" fmla="*/ 319 h 440"/>
                <a:gd name="T56" fmla="*/ 987 w 1036"/>
                <a:gd name="T57" fmla="*/ 362 h 440"/>
                <a:gd name="T58" fmla="*/ 941 w 1036"/>
                <a:gd name="T59" fmla="*/ 403 h 440"/>
                <a:gd name="T60" fmla="*/ 921 w 1036"/>
                <a:gd name="T61" fmla="*/ 415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0 h 440"/>
                <a:gd name="T102" fmla="*/ 80 w 1036"/>
                <a:gd name="T103" fmla="*/ 392 h 440"/>
                <a:gd name="T104" fmla="*/ 38 w 1036"/>
                <a:gd name="T105" fmla="*/ 347 h 440"/>
                <a:gd name="T106" fmla="*/ 26 w 1036"/>
                <a:gd name="T107" fmla="*/ 327 h 440"/>
                <a:gd name="T108" fmla="*/ 16 w 1036"/>
                <a:gd name="T109" fmla="*/ 282 h 440"/>
                <a:gd name="T110" fmla="*/ 10 w 1036"/>
                <a:gd name="T111" fmla="*/ 253 h 440"/>
                <a:gd name="T112" fmla="*/ 0 w 1036"/>
                <a:gd name="T113" fmla="*/ 215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7"/>
                  </a:moveTo>
                  <a:cubicBezTo>
                    <a:pt x="156" y="8"/>
                    <a:pt x="152" y="9"/>
                    <a:pt x="149" y="10"/>
                  </a:cubicBezTo>
                  <a:cubicBezTo>
                    <a:pt x="151" y="18"/>
                    <a:pt x="151" y="18"/>
                    <a:pt x="151" y="18"/>
                  </a:cubicBezTo>
                  <a:cubicBezTo>
                    <a:pt x="154" y="17"/>
                    <a:pt x="158" y="16"/>
                    <a:pt x="161" y="15"/>
                  </a:cubicBezTo>
                  <a:cubicBezTo>
                    <a:pt x="159" y="7"/>
                    <a:pt x="159" y="7"/>
                    <a:pt x="159" y="7"/>
                  </a:cubicBezTo>
                  <a:close/>
                  <a:moveTo>
                    <a:pt x="182" y="3"/>
                  </a:moveTo>
                  <a:cubicBezTo>
                    <a:pt x="177" y="3"/>
                    <a:pt x="172" y="4"/>
                    <a:pt x="167" y="6"/>
                  </a:cubicBezTo>
                  <a:cubicBezTo>
                    <a:pt x="168" y="13"/>
                    <a:pt x="168" y="13"/>
                    <a:pt x="168" y="13"/>
                  </a:cubicBezTo>
                  <a:cubicBezTo>
                    <a:pt x="173" y="12"/>
                    <a:pt x="178" y="11"/>
                    <a:pt x="183" y="10"/>
                  </a:cubicBezTo>
                  <a:cubicBezTo>
                    <a:pt x="182" y="3"/>
                    <a:pt x="182" y="3"/>
                    <a:pt x="182" y="3"/>
                  </a:cubicBezTo>
                  <a:close/>
                  <a:moveTo>
                    <a:pt x="205" y="0"/>
                  </a:moveTo>
                  <a:cubicBezTo>
                    <a:pt x="200" y="1"/>
                    <a:pt x="195" y="1"/>
                    <a:pt x="189" y="2"/>
                  </a:cubicBezTo>
                  <a:cubicBezTo>
                    <a:pt x="190" y="9"/>
                    <a:pt x="190" y="9"/>
                    <a:pt x="190" y="9"/>
                  </a:cubicBezTo>
                  <a:cubicBezTo>
                    <a:pt x="195" y="9"/>
                    <a:pt x="200" y="8"/>
                    <a:pt x="205" y="8"/>
                  </a:cubicBezTo>
                  <a:lnTo>
                    <a:pt x="205" y="0"/>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1"/>
                  </a:moveTo>
                  <a:cubicBezTo>
                    <a:pt x="839" y="1"/>
                    <a:pt x="834" y="0"/>
                    <a:pt x="829" y="0"/>
                  </a:cubicBezTo>
                  <a:cubicBezTo>
                    <a:pt x="829" y="8"/>
                    <a:pt x="829" y="8"/>
                    <a:pt x="829" y="8"/>
                  </a:cubicBezTo>
                  <a:cubicBezTo>
                    <a:pt x="834" y="8"/>
                    <a:pt x="839" y="9"/>
                    <a:pt x="844" y="9"/>
                  </a:cubicBezTo>
                  <a:cubicBezTo>
                    <a:pt x="845" y="1"/>
                    <a:pt x="845" y="1"/>
                    <a:pt x="845" y="1"/>
                  </a:cubicBezTo>
                  <a:close/>
                  <a:moveTo>
                    <a:pt x="867" y="5"/>
                  </a:moveTo>
                  <a:cubicBezTo>
                    <a:pt x="862" y="4"/>
                    <a:pt x="857" y="3"/>
                    <a:pt x="852" y="2"/>
                  </a:cubicBezTo>
                  <a:cubicBezTo>
                    <a:pt x="851" y="10"/>
                    <a:pt x="851" y="10"/>
                    <a:pt x="851" y="10"/>
                  </a:cubicBezTo>
                  <a:cubicBezTo>
                    <a:pt x="856" y="11"/>
                    <a:pt x="861" y="12"/>
                    <a:pt x="866" y="13"/>
                  </a:cubicBezTo>
                  <a:cubicBezTo>
                    <a:pt x="867" y="5"/>
                    <a:pt x="867" y="5"/>
                    <a:pt x="867" y="5"/>
                  </a:cubicBezTo>
                  <a:close/>
                  <a:moveTo>
                    <a:pt x="890" y="11"/>
                  </a:moveTo>
                  <a:cubicBezTo>
                    <a:pt x="885" y="10"/>
                    <a:pt x="880" y="8"/>
                    <a:pt x="875" y="7"/>
                  </a:cubicBezTo>
                  <a:cubicBezTo>
                    <a:pt x="873" y="14"/>
                    <a:pt x="873" y="14"/>
                    <a:pt x="873" y="14"/>
                  </a:cubicBezTo>
                  <a:cubicBezTo>
                    <a:pt x="878" y="16"/>
                    <a:pt x="883" y="17"/>
                    <a:pt x="887" y="19"/>
                  </a:cubicBezTo>
                  <a:cubicBezTo>
                    <a:pt x="890" y="11"/>
                    <a:pt x="890" y="11"/>
                    <a:pt x="890" y="11"/>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3"/>
                  </a:cubicBezTo>
                  <a:cubicBezTo>
                    <a:pt x="915" y="30"/>
                    <a:pt x="915" y="30"/>
                    <a:pt x="915" y="30"/>
                  </a:cubicBezTo>
                  <a:cubicBezTo>
                    <a:pt x="919" y="32"/>
                    <a:pt x="924" y="35"/>
                    <a:pt x="928" y="37"/>
                  </a:cubicBezTo>
                  <a:cubicBezTo>
                    <a:pt x="932" y="31"/>
                    <a:pt x="932" y="31"/>
                    <a:pt x="932" y="31"/>
                  </a:cubicBezTo>
                  <a:close/>
                  <a:moveTo>
                    <a:pt x="951" y="44"/>
                  </a:moveTo>
                  <a:cubicBezTo>
                    <a:pt x="947" y="41"/>
                    <a:pt x="943" y="38"/>
                    <a:pt x="938" y="35"/>
                  </a:cubicBezTo>
                  <a:cubicBezTo>
                    <a:pt x="934" y="41"/>
                    <a:pt x="934" y="41"/>
                    <a:pt x="934" y="41"/>
                  </a:cubicBezTo>
                  <a:cubicBezTo>
                    <a:pt x="938" y="44"/>
                    <a:pt x="942" y="47"/>
                    <a:pt x="946" y="50"/>
                  </a:cubicBezTo>
                  <a:cubicBezTo>
                    <a:pt x="951" y="44"/>
                    <a:pt x="951" y="44"/>
                    <a:pt x="951" y="44"/>
                  </a:cubicBezTo>
                  <a:close/>
                  <a:moveTo>
                    <a:pt x="969" y="59"/>
                  </a:moveTo>
                  <a:cubicBezTo>
                    <a:pt x="965" y="55"/>
                    <a:pt x="961" y="52"/>
                    <a:pt x="957" y="49"/>
                  </a:cubicBezTo>
                  <a:cubicBezTo>
                    <a:pt x="952" y="55"/>
                    <a:pt x="952" y="55"/>
                    <a:pt x="952" y="55"/>
                  </a:cubicBezTo>
                  <a:cubicBezTo>
                    <a:pt x="956" y="58"/>
                    <a:pt x="960" y="61"/>
                    <a:pt x="963" y="64"/>
                  </a:cubicBezTo>
                  <a:cubicBezTo>
                    <a:pt x="969" y="59"/>
                    <a:pt x="969" y="59"/>
                    <a:pt x="969" y="59"/>
                  </a:cubicBezTo>
                  <a:close/>
                  <a:moveTo>
                    <a:pt x="985" y="76"/>
                  </a:moveTo>
                  <a:cubicBezTo>
                    <a:pt x="981" y="72"/>
                    <a:pt x="978" y="68"/>
                    <a:pt x="974" y="64"/>
                  </a:cubicBezTo>
                  <a:cubicBezTo>
                    <a:pt x="969" y="70"/>
                    <a:pt x="969" y="70"/>
                    <a:pt x="969" y="70"/>
                  </a:cubicBezTo>
                  <a:cubicBezTo>
                    <a:pt x="972" y="73"/>
                    <a:pt x="976" y="77"/>
                    <a:pt x="979" y="81"/>
                  </a:cubicBezTo>
                  <a:cubicBezTo>
                    <a:pt x="985" y="76"/>
                    <a:pt x="985" y="76"/>
                    <a:pt x="985" y="76"/>
                  </a:cubicBezTo>
                  <a:close/>
                  <a:moveTo>
                    <a:pt x="999" y="94"/>
                  </a:moveTo>
                  <a:cubicBezTo>
                    <a:pt x="996" y="90"/>
                    <a:pt x="993" y="86"/>
                    <a:pt x="990" y="82"/>
                  </a:cubicBezTo>
                  <a:cubicBezTo>
                    <a:pt x="984" y="86"/>
                    <a:pt x="984" y="86"/>
                    <a:pt x="984" y="86"/>
                  </a:cubicBezTo>
                  <a:cubicBezTo>
                    <a:pt x="987" y="90"/>
                    <a:pt x="990" y="94"/>
                    <a:pt x="992" y="98"/>
                  </a:cubicBezTo>
                  <a:lnTo>
                    <a:pt x="999" y="94"/>
                  </a:lnTo>
                  <a:close/>
                  <a:moveTo>
                    <a:pt x="1011" y="114"/>
                  </a:moveTo>
                  <a:cubicBezTo>
                    <a:pt x="1008" y="109"/>
                    <a:pt x="1006" y="105"/>
                    <a:pt x="1003" y="101"/>
                  </a:cubicBezTo>
                  <a:cubicBezTo>
                    <a:pt x="997" y="105"/>
                    <a:pt x="997" y="105"/>
                    <a:pt x="997" y="105"/>
                  </a:cubicBezTo>
                  <a:cubicBezTo>
                    <a:pt x="999" y="109"/>
                    <a:pt x="1002" y="113"/>
                    <a:pt x="1004" y="118"/>
                  </a:cubicBezTo>
                  <a:cubicBezTo>
                    <a:pt x="1011" y="114"/>
                    <a:pt x="1011" y="114"/>
                    <a:pt x="1011" y="114"/>
                  </a:cubicBezTo>
                  <a:close/>
                  <a:moveTo>
                    <a:pt x="1021" y="135"/>
                  </a:moveTo>
                  <a:cubicBezTo>
                    <a:pt x="1019" y="130"/>
                    <a:pt x="1017" y="126"/>
                    <a:pt x="1014" y="121"/>
                  </a:cubicBezTo>
                  <a:cubicBezTo>
                    <a:pt x="1007" y="124"/>
                    <a:pt x="1007" y="124"/>
                    <a:pt x="1007" y="124"/>
                  </a:cubicBezTo>
                  <a:cubicBezTo>
                    <a:pt x="1010" y="129"/>
                    <a:pt x="1012" y="133"/>
                    <a:pt x="1014" y="138"/>
                  </a:cubicBezTo>
                  <a:cubicBezTo>
                    <a:pt x="1021" y="135"/>
                    <a:pt x="1021" y="135"/>
                    <a:pt x="1021" y="135"/>
                  </a:cubicBezTo>
                  <a:close/>
                  <a:moveTo>
                    <a:pt x="1028" y="157"/>
                  </a:moveTo>
                  <a:cubicBezTo>
                    <a:pt x="1027" y="152"/>
                    <a:pt x="1025" y="147"/>
                    <a:pt x="1023" y="142"/>
                  </a:cubicBezTo>
                  <a:cubicBezTo>
                    <a:pt x="1016" y="145"/>
                    <a:pt x="1016" y="145"/>
                    <a:pt x="1016" y="145"/>
                  </a:cubicBezTo>
                  <a:cubicBezTo>
                    <a:pt x="1018" y="150"/>
                    <a:pt x="1019" y="154"/>
                    <a:pt x="1021" y="159"/>
                  </a:cubicBezTo>
                  <a:cubicBezTo>
                    <a:pt x="1028" y="157"/>
                    <a:pt x="1028" y="157"/>
                    <a:pt x="1028" y="157"/>
                  </a:cubicBezTo>
                  <a:close/>
                  <a:moveTo>
                    <a:pt x="1033" y="180"/>
                  </a:moveTo>
                  <a:cubicBezTo>
                    <a:pt x="1032" y="175"/>
                    <a:pt x="1031" y="170"/>
                    <a:pt x="1030" y="165"/>
                  </a:cubicBezTo>
                  <a:cubicBezTo>
                    <a:pt x="1023" y="166"/>
                    <a:pt x="1023" y="166"/>
                    <a:pt x="1023" y="166"/>
                  </a:cubicBezTo>
                  <a:cubicBezTo>
                    <a:pt x="1024" y="171"/>
                    <a:pt x="1025" y="176"/>
                    <a:pt x="1025" y="181"/>
                  </a:cubicBezTo>
                  <a:cubicBezTo>
                    <a:pt x="1033" y="180"/>
                    <a:pt x="1033" y="180"/>
                    <a:pt x="1033" y="180"/>
                  </a:cubicBezTo>
                  <a:close/>
                  <a:moveTo>
                    <a:pt x="1036" y="203"/>
                  </a:moveTo>
                  <a:cubicBezTo>
                    <a:pt x="1035" y="198"/>
                    <a:pt x="1035" y="193"/>
                    <a:pt x="1034" y="188"/>
                  </a:cubicBezTo>
                  <a:cubicBezTo>
                    <a:pt x="1027" y="188"/>
                    <a:pt x="1027" y="188"/>
                    <a:pt x="1027" y="188"/>
                  </a:cubicBezTo>
                  <a:cubicBezTo>
                    <a:pt x="1027" y="193"/>
                    <a:pt x="1028" y="198"/>
                    <a:pt x="1028" y="203"/>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49"/>
                  </a:moveTo>
                  <a:cubicBezTo>
                    <a:pt x="1035" y="244"/>
                    <a:pt x="1036" y="239"/>
                    <a:pt x="1036" y="234"/>
                  </a:cubicBezTo>
                  <a:cubicBezTo>
                    <a:pt x="1028" y="233"/>
                    <a:pt x="1028" y="233"/>
                    <a:pt x="1028" y="233"/>
                  </a:cubicBezTo>
                  <a:cubicBezTo>
                    <a:pt x="1028" y="238"/>
                    <a:pt x="1027" y="243"/>
                    <a:pt x="1027" y="248"/>
                  </a:cubicBezTo>
                  <a:cubicBezTo>
                    <a:pt x="1035" y="249"/>
                    <a:pt x="1035" y="249"/>
                    <a:pt x="1035" y="249"/>
                  </a:cubicBezTo>
                  <a:close/>
                  <a:moveTo>
                    <a:pt x="1031" y="272"/>
                  </a:moveTo>
                  <a:cubicBezTo>
                    <a:pt x="1032" y="267"/>
                    <a:pt x="1033" y="262"/>
                    <a:pt x="1034" y="257"/>
                  </a:cubicBezTo>
                  <a:cubicBezTo>
                    <a:pt x="1026" y="256"/>
                    <a:pt x="1026" y="256"/>
                    <a:pt x="1026" y="256"/>
                  </a:cubicBezTo>
                  <a:cubicBezTo>
                    <a:pt x="1025" y="261"/>
                    <a:pt x="1024" y="266"/>
                    <a:pt x="1023" y="270"/>
                  </a:cubicBezTo>
                  <a:lnTo>
                    <a:pt x="1031" y="272"/>
                  </a:lnTo>
                  <a:close/>
                  <a:moveTo>
                    <a:pt x="1025" y="294"/>
                  </a:moveTo>
                  <a:cubicBezTo>
                    <a:pt x="1026" y="290"/>
                    <a:pt x="1028" y="285"/>
                    <a:pt x="1029" y="280"/>
                  </a:cubicBezTo>
                  <a:cubicBezTo>
                    <a:pt x="1022" y="278"/>
                    <a:pt x="1022" y="278"/>
                    <a:pt x="1022" y="278"/>
                  </a:cubicBezTo>
                  <a:cubicBezTo>
                    <a:pt x="1020" y="282"/>
                    <a:pt x="1019" y="287"/>
                    <a:pt x="1017" y="292"/>
                  </a:cubicBezTo>
                  <a:lnTo>
                    <a:pt x="1025" y="294"/>
                  </a:lnTo>
                  <a:close/>
                  <a:moveTo>
                    <a:pt x="1016" y="316"/>
                  </a:moveTo>
                  <a:cubicBezTo>
                    <a:pt x="1018" y="311"/>
                    <a:pt x="1020" y="307"/>
                    <a:pt x="1022" y="302"/>
                  </a:cubicBezTo>
                  <a:cubicBezTo>
                    <a:pt x="1015" y="299"/>
                    <a:pt x="1015" y="299"/>
                    <a:pt x="1015" y="299"/>
                  </a:cubicBezTo>
                  <a:cubicBezTo>
                    <a:pt x="1013" y="304"/>
                    <a:pt x="1011" y="308"/>
                    <a:pt x="1009" y="313"/>
                  </a:cubicBezTo>
                  <a:cubicBezTo>
                    <a:pt x="1016" y="316"/>
                    <a:pt x="1016" y="316"/>
                    <a:pt x="1016" y="316"/>
                  </a:cubicBezTo>
                  <a:close/>
                  <a:moveTo>
                    <a:pt x="1005" y="336"/>
                  </a:moveTo>
                  <a:cubicBezTo>
                    <a:pt x="1008" y="332"/>
                    <a:pt x="1010" y="328"/>
                    <a:pt x="1013" y="323"/>
                  </a:cubicBezTo>
                  <a:cubicBezTo>
                    <a:pt x="1006" y="319"/>
                    <a:pt x="1006" y="319"/>
                    <a:pt x="1006" y="319"/>
                  </a:cubicBezTo>
                  <a:cubicBezTo>
                    <a:pt x="1003" y="324"/>
                    <a:pt x="1001" y="328"/>
                    <a:pt x="998" y="332"/>
                  </a:cubicBezTo>
                  <a:cubicBezTo>
                    <a:pt x="1005" y="336"/>
                    <a:pt x="1005" y="336"/>
                    <a:pt x="1005" y="336"/>
                  </a:cubicBezTo>
                  <a:close/>
                  <a:moveTo>
                    <a:pt x="992" y="356"/>
                  </a:moveTo>
                  <a:cubicBezTo>
                    <a:pt x="995" y="352"/>
                    <a:pt x="998" y="347"/>
                    <a:pt x="1001" y="343"/>
                  </a:cubicBezTo>
                  <a:cubicBezTo>
                    <a:pt x="994" y="339"/>
                    <a:pt x="994" y="339"/>
                    <a:pt x="994" y="339"/>
                  </a:cubicBezTo>
                  <a:cubicBezTo>
                    <a:pt x="992" y="343"/>
                    <a:pt x="989" y="347"/>
                    <a:pt x="986" y="351"/>
                  </a:cubicBezTo>
                  <a:lnTo>
                    <a:pt x="992" y="356"/>
                  </a:lnTo>
                  <a:close/>
                  <a:moveTo>
                    <a:pt x="977" y="373"/>
                  </a:moveTo>
                  <a:cubicBezTo>
                    <a:pt x="980" y="370"/>
                    <a:pt x="984" y="366"/>
                    <a:pt x="987" y="362"/>
                  </a:cubicBezTo>
                  <a:cubicBezTo>
                    <a:pt x="981" y="357"/>
                    <a:pt x="981" y="357"/>
                    <a:pt x="981" y="357"/>
                  </a:cubicBezTo>
                  <a:cubicBezTo>
                    <a:pt x="978" y="361"/>
                    <a:pt x="975" y="364"/>
                    <a:pt x="971" y="368"/>
                  </a:cubicBezTo>
                  <a:cubicBezTo>
                    <a:pt x="977" y="373"/>
                    <a:pt x="977" y="373"/>
                    <a:pt x="977" y="373"/>
                  </a:cubicBezTo>
                  <a:close/>
                  <a:moveTo>
                    <a:pt x="960" y="389"/>
                  </a:moveTo>
                  <a:cubicBezTo>
                    <a:pt x="964" y="386"/>
                    <a:pt x="968" y="382"/>
                    <a:pt x="971" y="379"/>
                  </a:cubicBezTo>
                  <a:cubicBezTo>
                    <a:pt x="966" y="373"/>
                    <a:pt x="966" y="373"/>
                    <a:pt x="966" y="373"/>
                  </a:cubicBezTo>
                  <a:cubicBezTo>
                    <a:pt x="962" y="377"/>
                    <a:pt x="959" y="380"/>
                    <a:pt x="955" y="383"/>
                  </a:cubicBezTo>
                  <a:cubicBezTo>
                    <a:pt x="960" y="389"/>
                    <a:pt x="960" y="389"/>
                    <a:pt x="960" y="389"/>
                  </a:cubicBezTo>
                  <a:close/>
                  <a:moveTo>
                    <a:pt x="941" y="403"/>
                  </a:moveTo>
                  <a:cubicBezTo>
                    <a:pt x="946" y="400"/>
                    <a:pt x="950" y="397"/>
                    <a:pt x="954" y="394"/>
                  </a:cubicBezTo>
                  <a:cubicBezTo>
                    <a:pt x="949" y="388"/>
                    <a:pt x="949" y="388"/>
                    <a:pt x="949" y="388"/>
                  </a:cubicBezTo>
                  <a:cubicBezTo>
                    <a:pt x="945" y="391"/>
                    <a:pt x="941" y="394"/>
                    <a:pt x="937" y="397"/>
                  </a:cubicBezTo>
                  <a:cubicBezTo>
                    <a:pt x="941" y="403"/>
                    <a:pt x="941" y="403"/>
                    <a:pt x="941" y="403"/>
                  </a:cubicBezTo>
                  <a:close/>
                  <a:moveTo>
                    <a:pt x="921" y="415"/>
                  </a:moveTo>
                  <a:cubicBezTo>
                    <a:pt x="926" y="413"/>
                    <a:pt x="930" y="410"/>
                    <a:pt x="935" y="407"/>
                  </a:cubicBezTo>
                  <a:cubicBezTo>
                    <a:pt x="931" y="401"/>
                    <a:pt x="931" y="401"/>
                    <a:pt x="931" y="401"/>
                  </a:cubicBezTo>
                  <a:cubicBezTo>
                    <a:pt x="927" y="404"/>
                    <a:pt x="922" y="406"/>
                    <a:pt x="918" y="408"/>
                  </a:cubicBezTo>
                  <a:cubicBezTo>
                    <a:pt x="921" y="415"/>
                    <a:pt x="921" y="415"/>
                    <a:pt x="921" y="415"/>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2"/>
                  </a:moveTo>
                  <a:cubicBezTo>
                    <a:pt x="883" y="431"/>
                    <a:pt x="888" y="429"/>
                    <a:pt x="893" y="428"/>
                  </a:cubicBezTo>
                  <a:cubicBezTo>
                    <a:pt x="890" y="420"/>
                    <a:pt x="890" y="420"/>
                    <a:pt x="890" y="420"/>
                  </a:cubicBezTo>
                  <a:cubicBezTo>
                    <a:pt x="886" y="422"/>
                    <a:pt x="881" y="424"/>
                    <a:pt x="876" y="425"/>
                  </a:cubicBezTo>
                  <a:lnTo>
                    <a:pt x="878" y="432"/>
                  </a:lnTo>
                  <a:close/>
                  <a:moveTo>
                    <a:pt x="856" y="437"/>
                  </a:moveTo>
                  <a:cubicBezTo>
                    <a:pt x="861" y="436"/>
                    <a:pt x="866" y="435"/>
                    <a:pt x="871" y="434"/>
                  </a:cubicBezTo>
                  <a:cubicBezTo>
                    <a:pt x="869" y="427"/>
                    <a:pt x="869" y="427"/>
                    <a:pt x="869" y="427"/>
                  </a:cubicBezTo>
                  <a:cubicBezTo>
                    <a:pt x="864" y="428"/>
                    <a:pt x="859" y="429"/>
                    <a:pt x="854" y="430"/>
                  </a:cubicBezTo>
                  <a:cubicBezTo>
                    <a:pt x="856" y="437"/>
                    <a:pt x="856" y="437"/>
                    <a:pt x="856" y="437"/>
                  </a:cubicBezTo>
                  <a:close/>
                  <a:moveTo>
                    <a:pt x="832" y="440"/>
                  </a:moveTo>
                  <a:cubicBezTo>
                    <a:pt x="838" y="439"/>
                    <a:pt x="843" y="439"/>
                    <a:pt x="848" y="438"/>
                  </a:cubicBezTo>
                  <a:cubicBezTo>
                    <a:pt x="847" y="431"/>
                    <a:pt x="847" y="431"/>
                    <a:pt x="847" y="431"/>
                  </a:cubicBezTo>
                  <a:cubicBezTo>
                    <a:pt x="842" y="431"/>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lnTo>
                    <a:pt x="16" y="306"/>
                  </a:lnTo>
                  <a:close/>
                  <a:moveTo>
                    <a:pt x="8" y="284"/>
                  </a:moveTo>
                  <a:cubicBezTo>
                    <a:pt x="10" y="289"/>
                    <a:pt x="11" y="294"/>
                    <a:pt x="13" y="299"/>
                  </a:cubicBezTo>
                  <a:cubicBezTo>
                    <a:pt x="20" y="296"/>
                    <a:pt x="20" y="296"/>
                    <a:pt x="20" y="296"/>
                  </a:cubicBezTo>
                  <a:cubicBezTo>
                    <a:pt x="19" y="292"/>
                    <a:pt x="17" y="287"/>
                    <a:pt x="16" y="282"/>
                  </a:cubicBezTo>
                  <a:lnTo>
                    <a:pt x="8" y="284"/>
                  </a:ln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5"/>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6"/>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8"/>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79"/>
            <p:cNvSpPr>
              <a:spLocks noChangeArrowheads="1"/>
            </p:cNvSpPr>
            <p:nvPr/>
          </p:nvSpPr>
          <p:spPr bwMode="auto">
            <a:xfrm>
              <a:off x="4821238" y="3549650"/>
              <a:ext cx="38258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0" cap="none" spc="0" normalizeH="0" baseline="0" noProof="0">
                  <a:ln>
                    <a:noFill/>
                  </a:ln>
                  <a:solidFill>
                    <a:srgbClr val="0072C6"/>
                  </a:solidFill>
                  <a:effectLst/>
                  <a:uLnTx/>
                  <a:uFillTx/>
                  <a:latin typeface="Segoe UI Black" panose="020B0A02040204020203" pitchFamily="34" charset="0"/>
                  <a:ea typeface="+mn-ea"/>
                  <a:cs typeface="+mn-cs"/>
                </a:rPr>
                <a:t>CSV</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2" name="Group 91"/>
          <p:cNvGrpSpPr/>
          <p:nvPr/>
        </p:nvGrpSpPr>
        <p:grpSpPr>
          <a:xfrm>
            <a:off x="7983538" y="2759075"/>
            <a:ext cx="2176462" cy="2239963"/>
            <a:chOff x="7983538" y="2759075"/>
            <a:chExt cx="2176462" cy="2239963"/>
          </a:xfrm>
        </p:grpSpPr>
        <p:sp>
          <p:nvSpPr>
            <p:cNvPr id="8" name="Freeform 7"/>
            <p:cNvSpPr>
              <a:spLocks noEditPoints="1"/>
            </p:cNvSpPr>
            <p:nvPr/>
          </p:nvSpPr>
          <p:spPr bwMode="auto">
            <a:xfrm>
              <a:off x="8509000" y="2759075"/>
              <a:ext cx="1651000" cy="1655763"/>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9012238" y="4475163"/>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9097963" y="4475163"/>
              <a:ext cx="7016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er BI</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820150" y="4694238"/>
              <a:ext cx="4206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9117013" y="46942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185275" y="4694238"/>
              <a:ext cx="8143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 name="Freeform 19"/>
            <p:cNvSpPr>
              <a:spLocks noEditPoints="1"/>
            </p:cNvSpPr>
            <p:nvPr/>
          </p:nvSpPr>
          <p:spPr bwMode="auto">
            <a:xfrm>
              <a:off x="7983538" y="3571875"/>
              <a:ext cx="295275" cy="30163"/>
            </a:xfrm>
            <a:custGeom>
              <a:avLst/>
              <a:gdLst>
                <a:gd name="T0" fmla="*/ 168 w 186"/>
                <a:gd name="T1" fmla="*/ 19 h 19"/>
                <a:gd name="T2" fmla="*/ 186 w 186"/>
                <a:gd name="T3" fmla="*/ 19 h 19"/>
                <a:gd name="T4" fmla="*/ 186 w 186"/>
                <a:gd name="T5" fmla="*/ 0 h 19"/>
                <a:gd name="T6" fmla="*/ 168 w 186"/>
                <a:gd name="T7" fmla="*/ 0 h 19"/>
                <a:gd name="T8" fmla="*/ 168 w 186"/>
                <a:gd name="T9" fmla="*/ 19 h 19"/>
                <a:gd name="T10" fmla="*/ 168 w 186"/>
                <a:gd name="T11" fmla="*/ 19 h 19"/>
                <a:gd name="T12" fmla="*/ 168 w 186"/>
                <a:gd name="T13" fmla="*/ 19 h 19"/>
                <a:gd name="T14" fmla="*/ 168 w 186"/>
                <a:gd name="T15" fmla="*/ 0 h 19"/>
                <a:gd name="T16" fmla="*/ 168 w 186"/>
                <a:gd name="T17" fmla="*/ 0 h 19"/>
                <a:gd name="T18" fmla="*/ 168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8" y="19"/>
                  </a:moveTo>
                  <a:lnTo>
                    <a:pt x="186" y="19"/>
                  </a:lnTo>
                  <a:lnTo>
                    <a:pt x="186"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825658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Rectangle 80"/>
            <p:cNvSpPr>
              <a:spLocks noChangeArrowheads="1"/>
            </p:cNvSpPr>
            <p:nvPr/>
          </p:nvSpPr>
          <p:spPr bwMode="auto">
            <a:xfrm>
              <a:off x="8847138" y="3602038"/>
              <a:ext cx="171450" cy="496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9113838" y="3467100"/>
              <a:ext cx="171450" cy="6318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9383713" y="3681413"/>
              <a:ext cx="173038" cy="41751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9650413" y="3533775"/>
              <a:ext cx="173038" cy="5651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4"/>
            <p:cNvSpPr>
              <a:spLocks/>
            </p:cNvSpPr>
            <p:nvPr/>
          </p:nvSpPr>
          <p:spPr bwMode="auto">
            <a:xfrm>
              <a:off x="8905875" y="3176588"/>
              <a:ext cx="868363" cy="339725"/>
            </a:xfrm>
            <a:custGeom>
              <a:avLst/>
              <a:gdLst>
                <a:gd name="T0" fmla="*/ 346 w 547"/>
                <a:gd name="T1" fmla="*/ 214 h 214"/>
                <a:gd name="T2" fmla="*/ 225 w 547"/>
                <a:gd name="T3" fmla="*/ 38 h 214"/>
                <a:gd name="T4" fmla="*/ 17 w 547"/>
                <a:gd name="T5" fmla="*/ 192 h 214"/>
                <a:gd name="T6" fmla="*/ 0 w 547"/>
                <a:gd name="T7" fmla="*/ 169 h 214"/>
                <a:gd name="T8" fmla="*/ 230 w 547"/>
                <a:gd name="T9" fmla="*/ 0 h 214"/>
                <a:gd name="T10" fmla="*/ 351 w 547"/>
                <a:gd name="T11" fmla="*/ 173 h 214"/>
                <a:gd name="T12" fmla="*/ 535 w 547"/>
                <a:gd name="T13" fmla="*/ 10 h 214"/>
                <a:gd name="T14" fmla="*/ 547 w 547"/>
                <a:gd name="T15" fmla="*/ 24 h 214"/>
                <a:gd name="T16" fmla="*/ 537 w 547"/>
                <a:gd name="T17" fmla="*/ 33 h 214"/>
                <a:gd name="T18" fmla="*/ 542 w 547"/>
                <a:gd name="T19" fmla="*/ 41 h 214"/>
                <a:gd name="T20" fmla="*/ 346 w 547"/>
                <a:gd name="T2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4">
                  <a:moveTo>
                    <a:pt x="346" y="214"/>
                  </a:moveTo>
                  <a:lnTo>
                    <a:pt x="225" y="38"/>
                  </a:lnTo>
                  <a:lnTo>
                    <a:pt x="17" y="192"/>
                  </a:lnTo>
                  <a:lnTo>
                    <a:pt x="0" y="169"/>
                  </a:lnTo>
                  <a:lnTo>
                    <a:pt x="230" y="0"/>
                  </a:lnTo>
                  <a:lnTo>
                    <a:pt x="351" y="173"/>
                  </a:lnTo>
                  <a:lnTo>
                    <a:pt x="535" y="10"/>
                  </a:lnTo>
                  <a:lnTo>
                    <a:pt x="547" y="24"/>
                  </a:lnTo>
                  <a:lnTo>
                    <a:pt x="537" y="33"/>
                  </a:lnTo>
                  <a:lnTo>
                    <a:pt x="542" y="41"/>
                  </a:lnTo>
                  <a:lnTo>
                    <a:pt x="346" y="21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Oval 85"/>
            <p:cNvSpPr>
              <a:spLocks noChangeArrowheads="1"/>
            </p:cNvSpPr>
            <p:nvPr/>
          </p:nvSpPr>
          <p:spPr bwMode="auto">
            <a:xfrm>
              <a:off x="8847138" y="3402013"/>
              <a:ext cx="127000"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Oval 86"/>
            <p:cNvSpPr>
              <a:spLocks noChangeArrowheads="1"/>
            </p:cNvSpPr>
            <p:nvPr/>
          </p:nvSpPr>
          <p:spPr bwMode="auto">
            <a:xfrm>
              <a:off x="9202738" y="3151188"/>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Oval 87"/>
            <p:cNvSpPr>
              <a:spLocks noChangeArrowheads="1"/>
            </p:cNvSpPr>
            <p:nvPr/>
          </p:nvSpPr>
          <p:spPr bwMode="auto">
            <a:xfrm>
              <a:off x="9386888" y="3421063"/>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Oval 88"/>
            <p:cNvSpPr>
              <a:spLocks noChangeArrowheads="1"/>
            </p:cNvSpPr>
            <p:nvPr/>
          </p:nvSpPr>
          <p:spPr bwMode="auto">
            <a:xfrm>
              <a:off x="9694863" y="3157538"/>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0"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1"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zure service event processing</a:t>
            </a:r>
          </a:p>
        </p:txBody>
      </p:sp>
    </p:spTree>
    <p:extLst>
      <p:ext uri="{BB962C8B-B14F-4D97-AF65-F5344CB8AC3E}">
        <p14:creationId xmlns:p14="http://schemas.microsoft.com/office/powerpoint/2010/main" val="42901542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57400" y="1905000"/>
            <a:ext cx="807720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57400" y="1905000"/>
            <a:ext cx="1727201" cy="3086100"/>
            <a:chOff x="2057400" y="1905000"/>
            <a:chExt cx="1727201" cy="3086100"/>
          </a:xfrm>
        </p:grpSpPr>
        <p:sp>
          <p:nvSpPr>
            <p:cNvPr id="6" name="Rectangle 5"/>
            <p:cNvSpPr>
              <a:spLocks noChangeArrowheads="1"/>
            </p:cNvSpPr>
            <p:nvPr/>
          </p:nvSpPr>
          <p:spPr bwMode="auto">
            <a:xfrm>
              <a:off x="2057400" y="4471988"/>
              <a:ext cx="1295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xcel file sav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9000" y="4686300"/>
              <a:ext cx="10810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OneDri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 name="Freeform 14"/>
            <p:cNvSpPr>
              <a:spLocks noEditPoints="1"/>
            </p:cNvSpPr>
            <p:nvPr/>
          </p:nvSpPr>
          <p:spPr bwMode="auto">
            <a:xfrm>
              <a:off x="2601913" y="2541588"/>
              <a:ext cx="30163" cy="296863"/>
            </a:xfrm>
            <a:custGeom>
              <a:avLst/>
              <a:gdLst>
                <a:gd name="T0" fmla="*/ 0 w 19"/>
                <a:gd name="T1" fmla="*/ 165 h 187"/>
                <a:gd name="T2" fmla="*/ 0 w 19"/>
                <a:gd name="T3" fmla="*/ 187 h 187"/>
                <a:gd name="T4" fmla="*/ 19 w 19"/>
                <a:gd name="T5" fmla="*/ 187 h 187"/>
                <a:gd name="T6" fmla="*/ 19 w 19"/>
                <a:gd name="T7" fmla="*/ 165 h 187"/>
                <a:gd name="T8" fmla="*/ 0 w 19"/>
                <a:gd name="T9" fmla="*/ 165 h 187"/>
                <a:gd name="T10" fmla="*/ 0 w 19"/>
                <a:gd name="T11" fmla="*/ 165 h 187"/>
                <a:gd name="T12" fmla="*/ 0 w 19"/>
                <a:gd name="T13" fmla="*/ 165 h 187"/>
                <a:gd name="T14" fmla="*/ 19 w 19"/>
                <a:gd name="T15" fmla="*/ 165 h 187"/>
                <a:gd name="T16" fmla="*/ 19 w 19"/>
                <a:gd name="T17" fmla="*/ 165 h 187"/>
                <a:gd name="T18" fmla="*/ 0 w 19"/>
                <a:gd name="T19" fmla="*/ 165 h 187"/>
                <a:gd name="T20" fmla="*/ 0 w 19"/>
                <a:gd name="T21" fmla="*/ 111 h 187"/>
                <a:gd name="T22" fmla="*/ 0 w 19"/>
                <a:gd name="T23" fmla="*/ 149 h 187"/>
                <a:gd name="T24" fmla="*/ 19 w 19"/>
                <a:gd name="T25" fmla="*/ 149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5"/>
                  </a:moveTo>
                  <a:lnTo>
                    <a:pt x="0" y="187"/>
                  </a:lnTo>
                  <a:lnTo>
                    <a:pt x="19" y="187"/>
                  </a:lnTo>
                  <a:lnTo>
                    <a:pt x="19" y="165"/>
                  </a:lnTo>
                  <a:lnTo>
                    <a:pt x="0" y="165"/>
                  </a:lnTo>
                  <a:close/>
                  <a:moveTo>
                    <a:pt x="0" y="165"/>
                  </a:moveTo>
                  <a:lnTo>
                    <a:pt x="0" y="165"/>
                  </a:lnTo>
                  <a:lnTo>
                    <a:pt x="19" y="165"/>
                  </a:lnTo>
                  <a:lnTo>
                    <a:pt x="19" y="165"/>
                  </a:lnTo>
                  <a:lnTo>
                    <a:pt x="0" y="165"/>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2541588" y="2816225"/>
              <a:ext cx="150813" cy="131763"/>
            </a:xfrm>
            <a:custGeom>
              <a:avLst/>
              <a:gdLst>
                <a:gd name="T0" fmla="*/ 0 w 95"/>
                <a:gd name="T1" fmla="*/ 0 h 83"/>
                <a:gd name="T2" fmla="*/ 47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7"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noEditPoints="1"/>
            </p:cNvSpPr>
            <p:nvPr/>
          </p:nvSpPr>
          <p:spPr bwMode="auto">
            <a:xfrm>
              <a:off x="3379788" y="3568700"/>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6 w 187"/>
                <a:gd name="T41" fmla="*/ 19 h 19"/>
                <a:gd name="T42" fmla="*/ 92 w 187"/>
                <a:gd name="T43" fmla="*/ 19 h 19"/>
                <a:gd name="T44" fmla="*/ 92 w 187"/>
                <a:gd name="T45" fmla="*/ 0 h 19"/>
                <a:gd name="T46" fmla="*/ 56 w 187"/>
                <a:gd name="T47" fmla="*/ 0 h 19"/>
                <a:gd name="T48" fmla="*/ 56 w 187"/>
                <a:gd name="T49" fmla="*/ 19 h 19"/>
                <a:gd name="T50" fmla="*/ 56 w 187"/>
                <a:gd name="T51" fmla="*/ 19 h 19"/>
                <a:gd name="T52" fmla="*/ 56 w 187"/>
                <a:gd name="T53" fmla="*/ 19 h 19"/>
                <a:gd name="T54" fmla="*/ 56 w 187"/>
                <a:gd name="T55" fmla="*/ 0 h 19"/>
                <a:gd name="T56" fmla="*/ 56 w 187"/>
                <a:gd name="T57" fmla="*/ 0 h 19"/>
                <a:gd name="T58" fmla="*/ 56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3652838"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2"/>
            <p:cNvSpPr>
              <a:spLocks/>
            </p:cNvSpPr>
            <p:nvPr/>
          </p:nvSpPr>
          <p:spPr bwMode="auto">
            <a:xfrm>
              <a:off x="2384425" y="1905000"/>
              <a:ext cx="457200" cy="500063"/>
            </a:xfrm>
            <a:custGeom>
              <a:avLst/>
              <a:gdLst>
                <a:gd name="T0" fmla="*/ 269 w 288"/>
                <a:gd name="T1" fmla="*/ 59 h 315"/>
                <a:gd name="T2" fmla="*/ 229 w 288"/>
                <a:gd name="T3" fmla="*/ 17 h 315"/>
                <a:gd name="T4" fmla="*/ 210 w 288"/>
                <a:gd name="T5" fmla="*/ 0 h 315"/>
                <a:gd name="T6" fmla="*/ 210 w 288"/>
                <a:gd name="T7" fmla="*/ 0 h 315"/>
                <a:gd name="T8" fmla="*/ 0 w 288"/>
                <a:gd name="T9" fmla="*/ 0 h 315"/>
                <a:gd name="T10" fmla="*/ 0 w 288"/>
                <a:gd name="T11" fmla="*/ 315 h 315"/>
                <a:gd name="T12" fmla="*/ 288 w 288"/>
                <a:gd name="T13" fmla="*/ 315 h 315"/>
                <a:gd name="T14" fmla="*/ 288 w 288"/>
                <a:gd name="T15" fmla="*/ 78 h 315"/>
                <a:gd name="T16" fmla="*/ 288 w 288"/>
                <a:gd name="T17" fmla="*/ 76 h 315"/>
                <a:gd name="T18" fmla="*/ 269 w 288"/>
                <a:gd name="T19" fmla="*/ 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315">
                  <a:moveTo>
                    <a:pt x="269" y="59"/>
                  </a:moveTo>
                  <a:lnTo>
                    <a:pt x="229" y="17"/>
                  </a:lnTo>
                  <a:lnTo>
                    <a:pt x="210" y="0"/>
                  </a:lnTo>
                  <a:lnTo>
                    <a:pt x="210" y="0"/>
                  </a:lnTo>
                  <a:lnTo>
                    <a:pt x="0" y="0"/>
                  </a:lnTo>
                  <a:lnTo>
                    <a:pt x="0" y="315"/>
                  </a:lnTo>
                  <a:lnTo>
                    <a:pt x="288" y="315"/>
                  </a:lnTo>
                  <a:lnTo>
                    <a:pt x="288" y="78"/>
                  </a:lnTo>
                  <a:lnTo>
                    <a:pt x="288" y="76"/>
                  </a:lnTo>
                  <a:lnTo>
                    <a:pt x="269" y="5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p:cNvSpPr>
            <p:nvPr/>
          </p:nvSpPr>
          <p:spPr bwMode="auto">
            <a:xfrm>
              <a:off x="2414588" y="1931988"/>
              <a:ext cx="396875" cy="442913"/>
            </a:xfrm>
            <a:custGeom>
              <a:avLst/>
              <a:gdLst>
                <a:gd name="T0" fmla="*/ 191 w 250"/>
                <a:gd name="T1" fmla="*/ 0 h 279"/>
                <a:gd name="T2" fmla="*/ 0 w 250"/>
                <a:gd name="T3" fmla="*/ 0 h 279"/>
                <a:gd name="T4" fmla="*/ 0 w 250"/>
                <a:gd name="T5" fmla="*/ 279 h 279"/>
                <a:gd name="T6" fmla="*/ 250 w 250"/>
                <a:gd name="T7" fmla="*/ 279 h 279"/>
                <a:gd name="T8" fmla="*/ 250 w 250"/>
                <a:gd name="T9" fmla="*/ 61 h 279"/>
                <a:gd name="T10" fmla="*/ 191 w 250"/>
                <a:gd name="T11" fmla="*/ 61 h 279"/>
                <a:gd name="T12" fmla="*/ 191 w 250"/>
                <a:gd name="T13" fmla="*/ 0 h 279"/>
              </a:gdLst>
              <a:ahLst/>
              <a:cxnLst>
                <a:cxn ang="0">
                  <a:pos x="T0" y="T1"/>
                </a:cxn>
                <a:cxn ang="0">
                  <a:pos x="T2" y="T3"/>
                </a:cxn>
                <a:cxn ang="0">
                  <a:pos x="T4" y="T5"/>
                </a:cxn>
                <a:cxn ang="0">
                  <a:pos x="T6" y="T7"/>
                </a:cxn>
                <a:cxn ang="0">
                  <a:pos x="T8" y="T9"/>
                </a:cxn>
                <a:cxn ang="0">
                  <a:pos x="T10" y="T11"/>
                </a:cxn>
                <a:cxn ang="0">
                  <a:pos x="T12" y="T13"/>
                </a:cxn>
              </a:cxnLst>
              <a:rect l="0" t="0" r="r" b="b"/>
              <a:pathLst>
                <a:path w="250" h="279">
                  <a:moveTo>
                    <a:pt x="191" y="0"/>
                  </a:moveTo>
                  <a:lnTo>
                    <a:pt x="0" y="0"/>
                  </a:lnTo>
                  <a:lnTo>
                    <a:pt x="0" y="279"/>
                  </a:lnTo>
                  <a:lnTo>
                    <a:pt x="250" y="279"/>
                  </a:lnTo>
                  <a:lnTo>
                    <a:pt x="250" y="61"/>
                  </a:lnTo>
                  <a:lnTo>
                    <a:pt x="191" y="61"/>
                  </a:lnTo>
                  <a:lnTo>
                    <a:pt x="1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3"/>
            <p:cNvSpPr>
              <a:spLocks noChangeArrowheads="1"/>
            </p:cNvSpPr>
            <p:nvPr/>
          </p:nvSpPr>
          <p:spPr bwMode="auto">
            <a:xfrm>
              <a:off x="2687638" y="21161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4"/>
            <p:cNvSpPr>
              <a:spLocks noChangeArrowheads="1"/>
            </p:cNvSpPr>
            <p:nvPr/>
          </p:nvSpPr>
          <p:spPr bwMode="auto">
            <a:xfrm>
              <a:off x="2687638" y="21605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5"/>
            <p:cNvSpPr>
              <a:spLocks noChangeArrowheads="1"/>
            </p:cNvSpPr>
            <p:nvPr/>
          </p:nvSpPr>
          <p:spPr bwMode="auto">
            <a:xfrm>
              <a:off x="2687638" y="22066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6"/>
            <p:cNvSpPr>
              <a:spLocks noChangeArrowheads="1"/>
            </p:cNvSpPr>
            <p:nvPr/>
          </p:nvSpPr>
          <p:spPr bwMode="auto">
            <a:xfrm>
              <a:off x="2687638" y="22510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noEditPoints="1"/>
            </p:cNvSpPr>
            <p:nvPr/>
          </p:nvSpPr>
          <p:spPr bwMode="auto">
            <a:xfrm>
              <a:off x="2463800" y="2036763"/>
              <a:ext cx="300038"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8"/>
            <p:cNvSpPr>
              <a:spLocks noChangeArrowheads="1"/>
            </p:cNvSpPr>
            <p:nvPr/>
          </p:nvSpPr>
          <p:spPr bwMode="auto">
            <a:xfrm>
              <a:off x="2120900" y="3090863"/>
              <a:ext cx="987425" cy="989013"/>
            </a:xfrm>
            <a:prstGeom prst="rect">
              <a:avLst/>
            </a:prstGeom>
            <a:solidFill>
              <a:srgbClr val="094A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9"/>
            <p:cNvSpPr>
              <a:spLocks/>
            </p:cNvSpPr>
            <p:nvPr/>
          </p:nvSpPr>
          <p:spPr bwMode="auto">
            <a:xfrm>
              <a:off x="2428875" y="3473450"/>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0"/>
            <p:cNvSpPr>
              <a:spLocks/>
            </p:cNvSpPr>
            <p:nvPr/>
          </p:nvSpPr>
          <p:spPr bwMode="auto">
            <a:xfrm>
              <a:off x="2238375" y="3341688"/>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05250" y="2755900"/>
            <a:ext cx="3913188" cy="2020888"/>
            <a:chOff x="3905250" y="2755900"/>
            <a:chExt cx="3913188" cy="2020888"/>
          </a:xfrm>
        </p:grpSpPr>
        <p:sp>
          <p:nvSpPr>
            <p:cNvPr id="21" name="Freeform 20"/>
            <p:cNvSpPr>
              <a:spLocks/>
            </p:cNvSpPr>
            <p:nvPr/>
          </p:nvSpPr>
          <p:spPr bwMode="auto">
            <a:xfrm>
              <a:off x="5865813" y="3305175"/>
              <a:ext cx="1125538" cy="788988"/>
            </a:xfrm>
            <a:custGeom>
              <a:avLst/>
              <a:gdLst>
                <a:gd name="T0" fmla="*/ 0 w 300"/>
                <a:gd name="T1" fmla="*/ 199 h 210"/>
                <a:gd name="T2" fmla="*/ 11 w 300"/>
                <a:gd name="T3" fmla="*/ 210 h 210"/>
                <a:gd name="T4" fmla="*/ 289 w 300"/>
                <a:gd name="T5" fmla="*/ 210 h 210"/>
                <a:gd name="T6" fmla="*/ 300 w 300"/>
                <a:gd name="T7" fmla="*/ 199 h 210"/>
                <a:gd name="T8" fmla="*/ 300 w 300"/>
                <a:gd name="T9" fmla="*/ 0 h 210"/>
                <a:gd name="T10" fmla="*/ 0 w 300"/>
                <a:gd name="T11" fmla="*/ 0 h 210"/>
                <a:gd name="T12" fmla="*/ 0 w 300"/>
                <a:gd name="T13" fmla="*/ 199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9"/>
                  </a:moveTo>
                  <a:cubicBezTo>
                    <a:pt x="0" y="205"/>
                    <a:pt x="4" y="210"/>
                    <a:pt x="11" y="210"/>
                  </a:cubicBezTo>
                  <a:cubicBezTo>
                    <a:pt x="289" y="210"/>
                    <a:pt x="289" y="210"/>
                    <a:pt x="289" y="210"/>
                  </a:cubicBezTo>
                  <a:cubicBezTo>
                    <a:pt x="295" y="210"/>
                    <a:pt x="300" y="206"/>
                    <a:pt x="300" y="199"/>
                  </a:cubicBezTo>
                  <a:cubicBezTo>
                    <a:pt x="300" y="0"/>
                    <a:pt x="300" y="0"/>
                    <a:pt x="300" y="0"/>
                  </a:cubicBezTo>
                  <a:cubicBezTo>
                    <a:pt x="0" y="0"/>
                    <a:pt x="0" y="0"/>
                    <a:pt x="0" y="0"/>
                  </a:cubicBezTo>
                  <a:cubicBezTo>
                    <a:pt x="0" y="199"/>
                    <a:pt x="0" y="199"/>
                    <a:pt x="0" y="199"/>
                  </a:cubicBezTo>
                </a:path>
              </a:pathLst>
            </a:custGeom>
            <a:solidFill>
              <a:srgbClr val="3B9B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65813" y="3132138"/>
              <a:ext cx="1125538" cy="173038"/>
            </a:xfrm>
            <a:custGeom>
              <a:avLst/>
              <a:gdLst>
                <a:gd name="T0" fmla="*/ 289 w 300"/>
                <a:gd name="T1" fmla="*/ 0 h 46"/>
                <a:gd name="T2" fmla="*/ 11 w 300"/>
                <a:gd name="T3" fmla="*/ 0 h 46"/>
                <a:gd name="T4" fmla="*/ 0 w 300"/>
                <a:gd name="T5" fmla="*/ 12 h 46"/>
                <a:gd name="T6" fmla="*/ 0 w 300"/>
                <a:gd name="T7" fmla="*/ 46 h 46"/>
                <a:gd name="T8" fmla="*/ 300 w 300"/>
                <a:gd name="T9" fmla="*/ 46 h 46"/>
                <a:gd name="T10" fmla="*/ 300 w 300"/>
                <a:gd name="T11" fmla="*/ 12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6"/>
                    <a:pt x="0" y="12"/>
                  </a:cubicBezTo>
                  <a:cubicBezTo>
                    <a:pt x="0" y="46"/>
                    <a:pt x="0" y="46"/>
                    <a:pt x="0" y="46"/>
                  </a:cubicBezTo>
                  <a:cubicBezTo>
                    <a:pt x="300" y="46"/>
                    <a:pt x="300" y="46"/>
                    <a:pt x="300" y="46"/>
                  </a:cubicBezTo>
                  <a:cubicBezTo>
                    <a:pt x="300" y="12"/>
                    <a:pt x="300" y="12"/>
                    <a:pt x="300" y="12"/>
                  </a:cubicBezTo>
                  <a:cubicBezTo>
                    <a:pt x="300" y="6"/>
                    <a:pt x="296" y="0"/>
                    <a:pt x="289" y="0"/>
                  </a:cubicBezTo>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Rectangle 22"/>
            <p:cNvSpPr>
              <a:spLocks noChangeArrowheads="1"/>
            </p:cNvSpPr>
            <p:nvPr/>
          </p:nvSpPr>
          <p:spPr bwMode="auto">
            <a:xfrm>
              <a:off x="6289675"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289675"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289675"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289675"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627813"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27813"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27813"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51538"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51538" y="3843338"/>
              <a:ext cx="2809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6289675"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627813"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7"/>
            <p:cNvSpPr>
              <a:spLocks noEditPoints="1"/>
            </p:cNvSpPr>
            <p:nvPr/>
          </p:nvSpPr>
          <p:spPr bwMode="auto">
            <a:xfrm>
              <a:off x="5865813" y="3305175"/>
              <a:ext cx="822325" cy="788988"/>
            </a:xfrm>
            <a:custGeom>
              <a:avLst/>
              <a:gdLst>
                <a:gd name="T0" fmla="*/ 23 w 219"/>
                <a:gd name="T1" fmla="*/ 127 h 210"/>
                <a:gd name="T2" fmla="*/ 23 w 219"/>
                <a:gd name="T3" fmla="*/ 82 h 210"/>
                <a:gd name="T4" fmla="*/ 98 w 219"/>
                <a:gd name="T5" fmla="*/ 82 h 210"/>
                <a:gd name="T6" fmla="*/ 98 w 219"/>
                <a:gd name="T7" fmla="*/ 127 h 210"/>
                <a:gd name="T8" fmla="*/ 23 w 219"/>
                <a:gd name="T9" fmla="*/ 127 h 210"/>
                <a:gd name="T10" fmla="*/ 23 w 219"/>
                <a:gd name="T11" fmla="*/ 65 h 210"/>
                <a:gd name="T12" fmla="*/ 23 w 219"/>
                <a:gd name="T13" fmla="*/ 20 h 210"/>
                <a:gd name="T14" fmla="*/ 98 w 219"/>
                <a:gd name="T15" fmla="*/ 20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9 h 210"/>
                <a:gd name="T30" fmla="*/ 11 w 219"/>
                <a:gd name="T31" fmla="*/ 210 h 210"/>
                <a:gd name="T32" fmla="*/ 24 w 219"/>
                <a:gd name="T33" fmla="*/ 210 h 210"/>
                <a:gd name="T34" fmla="*/ 44 w 219"/>
                <a:gd name="T35" fmla="*/ 188 h 210"/>
                <a:gd name="T36" fmla="*/ 23 w 219"/>
                <a:gd name="T37" fmla="*/ 188 h 210"/>
                <a:gd name="T38" fmla="*/ 23 w 219"/>
                <a:gd name="T39" fmla="*/ 143 h 210"/>
                <a:gd name="T40" fmla="*/ 86 w 219"/>
                <a:gd name="T41" fmla="*/ 143 h 210"/>
                <a:gd name="T42" fmla="*/ 113 w 219"/>
                <a:gd name="T43" fmla="*/ 114 h 210"/>
                <a:gd name="T44" fmla="*/ 113 w 219"/>
                <a:gd name="T45" fmla="*/ 82 h 210"/>
                <a:gd name="T46" fmla="*/ 143 w 219"/>
                <a:gd name="T47" fmla="*/ 82 h 210"/>
                <a:gd name="T48" fmla="*/ 158 w 219"/>
                <a:gd name="T49" fmla="*/ 65 h 210"/>
                <a:gd name="T50" fmla="*/ 113 w 219"/>
                <a:gd name="T51" fmla="*/ 65 h 210"/>
                <a:gd name="T52" fmla="*/ 113 w 219"/>
                <a:gd name="T53" fmla="*/ 20 h 210"/>
                <a:gd name="T54" fmla="*/ 188 w 219"/>
                <a:gd name="T55" fmla="*/ 20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2"/>
                    <a:pt x="23" y="82"/>
                    <a:pt x="23" y="82"/>
                  </a:cubicBezTo>
                  <a:cubicBezTo>
                    <a:pt x="98" y="82"/>
                    <a:pt x="98" y="82"/>
                    <a:pt x="98" y="82"/>
                  </a:cubicBezTo>
                  <a:cubicBezTo>
                    <a:pt x="98" y="127"/>
                    <a:pt x="98" y="127"/>
                    <a:pt x="98" y="127"/>
                  </a:cubicBezTo>
                  <a:cubicBezTo>
                    <a:pt x="23" y="127"/>
                    <a:pt x="23" y="127"/>
                    <a:pt x="23" y="127"/>
                  </a:cubicBezTo>
                  <a:moveTo>
                    <a:pt x="23" y="65"/>
                  </a:moveTo>
                  <a:cubicBezTo>
                    <a:pt x="23" y="20"/>
                    <a:pt x="23" y="20"/>
                    <a:pt x="23" y="20"/>
                  </a:cubicBezTo>
                  <a:cubicBezTo>
                    <a:pt x="98" y="20"/>
                    <a:pt x="98" y="20"/>
                    <a:pt x="98" y="20"/>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9"/>
                    <a:pt x="0" y="199"/>
                    <a:pt x="0" y="199"/>
                  </a:cubicBezTo>
                  <a:cubicBezTo>
                    <a:pt x="0" y="205"/>
                    <a:pt x="6" y="210"/>
                    <a:pt x="11" y="210"/>
                  </a:cubicBezTo>
                  <a:cubicBezTo>
                    <a:pt x="24" y="210"/>
                    <a:pt x="24" y="210"/>
                    <a:pt x="24" y="210"/>
                  </a:cubicBezTo>
                  <a:cubicBezTo>
                    <a:pt x="44" y="188"/>
                    <a:pt x="44" y="188"/>
                    <a:pt x="44" y="188"/>
                  </a:cubicBezTo>
                  <a:cubicBezTo>
                    <a:pt x="23" y="188"/>
                    <a:pt x="23" y="188"/>
                    <a:pt x="23" y="188"/>
                  </a:cubicBezTo>
                  <a:cubicBezTo>
                    <a:pt x="23" y="143"/>
                    <a:pt x="23" y="143"/>
                    <a:pt x="23" y="143"/>
                  </a:cubicBezTo>
                  <a:cubicBezTo>
                    <a:pt x="86" y="143"/>
                    <a:pt x="86" y="143"/>
                    <a:pt x="86" y="143"/>
                  </a:cubicBezTo>
                  <a:cubicBezTo>
                    <a:pt x="113" y="114"/>
                    <a:pt x="113" y="114"/>
                    <a:pt x="113" y="114"/>
                  </a:cubicBezTo>
                  <a:cubicBezTo>
                    <a:pt x="113" y="82"/>
                    <a:pt x="113" y="82"/>
                    <a:pt x="113" y="82"/>
                  </a:cubicBezTo>
                  <a:cubicBezTo>
                    <a:pt x="143" y="82"/>
                    <a:pt x="143" y="82"/>
                    <a:pt x="143" y="82"/>
                  </a:cubicBezTo>
                  <a:cubicBezTo>
                    <a:pt x="158" y="65"/>
                    <a:pt x="158" y="65"/>
                    <a:pt x="158" y="65"/>
                  </a:cubicBezTo>
                  <a:cubicBezTo>
                    <a:pt x="113" y="65"/>
                    <a:pt x="113" y="65"/>
                    <a:pt x="113" y="65"/>
                  </a:cubicBezTo>
                  <a:cubicBezTo>
                    <a:pt x="113" y="20"/>
                    <a:pt x="113" y="20"/>
                    <a:pt x="113" y="20"/>
                  </a:cubicBezTo>
                  <a:cubicBezTo>
                    <a:pt x="188" y="20"/>
                    <a:pt x="188" y="20"/>
                    <a:pt x="188" y="20"/>
                  </a:cubicBezTo>
                  <a:cubicBezTo>
                    <a:pt x="188" y="33"/>
                    <a:pt x="188" y="33"/>
                    <a:pt x="188" y="33"/>
                  </a:cubicBezTo>
                  <a:cubicBezTo>
                    <a:pt x="219" y="0"/>
                    <a:pt x="219" y="0"/>
                    <a:pt x="219" y="0"/>
                  </a:cubicBezTo>
                </a:path>
              </a:pathLst>
            </a:custGeom>
            <a:solidFill>
              <a:srgbClr val="62A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p:cNvSpPr>
            <p:nvPr/>
          </p:nvSpPr>
          <p:spPr bwMode="auto">
            <a:xfrm>
              <a:off x="5865813" y="3132138"/>
              <a:ext cx="982663" cy="173038"/>
            </a:xfrm>
            <a:custGeom>
              <a:avLst/>
              <a:gdLst>
                <a:gd name="T0" fmla="*/ 262 w 262"/>
                <a:gd name="T1" fmla="*/ 0 h 46"/>
                <a:gd name="T2" fmla="*/ 11 w 262"/>
                <a:gd name="T3" fmla="*/ 0 h 46"/>
                <a:gd name="T4" fmla="*/ 11 w 262"/>
                <a:gd name="T5" fmla="*/ 0 h 46"/>
                <a:gd name="T6" fmla="*/ 0 w 262"/>
                <a:gd name="T7" fmla="*/ 12 h 46"/>
                <a:gd name="T8" fmla="*/ 0 w 262"/>
                <a:gd name="T9" fmla="*/ 12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6"/>
                    <a:pt x="0" y="12"/>
                  </a:cubicBezTo>
                  <a:cubicBezTo>
                    <a:pt x="0" y="12"/>
                    <a:pt x="0" y="12"/>
                    <a:pt x="0" y="12"/>
                  </a:cubicBezTo>
                  <a:cubicBezTo>
                    <a:pt x="0" y="46"/>
                    <a:pt x="0" y="46"/>
                    <a:pt x="0" y="46"/>
                  </a:cubicBezTo>
                  <a:cubicBezTo>
                    <a:pt x="219" y="46"/>
                    <a:pt x="219" y="46"/>
                    <a:pt x="219" y="46"/>
                  </a:cubicBezTo>
                  <a:cubicBezTo>
                    <a:pt x="262" y="0"/>
                    <a:pt x="262" y="0"/>
                    <a:pt x="262" y="0"/>
                  </a:cubicBezTo>
                </a:path>
              </a:pathLst>
            </a:custGeom>
            <a:solidFill>
              <a:srgbClr val="4D8F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3"/>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7"/>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4375150" y="2882900"/>
              <a:ext cx="223838" cy="403225"/>
            </a:xfrm>
            <a:custGeom>
              <a:avLst/>
              <a:gdLst>
                <a:gd name="T0" fmla="*/ 58 w 60"/>
                <a:gd name="T1" fmla="*/ 56 h 107"/>
                <a:gd name="T2" fmla="*/ 58 w 60"/>
                <a:gd name="T3" fmla="*/ 50 h 107"/>
                <a:gd name="T4" fmla="*/ 49 w 60"/>
                <a:gd name="T5" fmla="*/ 41 h 107"/>
                <a:gd name="T6" fmla="*/ 9 w 60"/>
                <a:gd name="T7" fmla="*/ 2 h 107"/>
                <a:gd name="T8" fmla="*/ 3 w 60"/>
                <a:gd name="T9" fmla="*/ 2 h 107"/>
                <a:gd name="T10" fmla="*/ 3 w 60"/>
                <a:gd name="T11" fmla="*/ 9 h 107"/>
                <a:gd name="T12" fmla="*/ 45 w 60"/>
                <a:gd name="T13" fmla="*/ 50 h 107"/>
                <a:gd name="T14" fmla="*/ 45 w 60"/>
                <a:gd name="T15" fmla="*/ 56 h 107"/>
                <a:gd name="T16" fmla="*/ 2 w 60"/>
                <a:gd name="T17" fmla="*/ 98 h 107"/>
                <a:gd name="T18" fmla="*/ 2 w 60"/>
                <a:gd name="T19" fmla="*/ 105 h 107"/>
                <a:gd name="T20" fmla="*/ 8 w 60"/>
                <a:gd name="T21" fmla="*/ 105 h 107"/>
                <a:gd name="T22" fmla="*/ 48 w 60"/>
                <a:gd name="T23" fmla="*/ 66 h 107"/>
                <a:gd name="T24" fmla="*/ 48 w 60"/>
                <a:gd name="T25" fmla="*/ 66 h 107"/>
                <a:gd name="T26" fmla="*/ 58 w 60"/>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7">
                  <a:moveTo>
                    <a:pt x="58" y="56"/>
                  </a:moveTo>
                  <a:cubicBezTo>
                    <a:pt x="60" y="54"/>
                    <a:pt x="59" y="51"/>
                    <a:pt x="58" y="50"/>
                  </a:cubicBezTo>
                  <a:cubicBezTo>
                    <a:pt x="49" y="41"/>
                    <a:pt x="49" y="41"/>
                    <a:pt x="49" y="41"/>
                  </a:cubicBezTo>
                  <a:cubicBezTo>
                    <a:pt x="9" y="2"/>
                    <a:pt x="9" y="2"/>
                    <a:pt x="9" y="2"/>
                  </a:cubicBezTo>
                  <a:cubicBezTo>
                    <a:pt x="8" y="0"/>
                    <a:pt x="5" y="0"/>
                    <a:pt x="3" y="2"/>
                  </a:cubicBezTo>
                  <a:cubicBezTo>
                    <a:pt x="1" y="4"/>
                    <a:pt x="1" y="7"/>
                    <a:pt x="3" y="9"/>
                  </a:cubicBezTo>
                  <a:cubicBezTo>
                    <a:pt x="45" y="50"/>
                    <a:pt x="45" y="50"/>
                    <a:pt x="45" y="50"/>
                  </a:cubicBezTo>
                  <a:cubicBezTo>
                    <a:pt x="46" y="51"/>
                    <a:pt x="46" y="54"/>
                    <a:pt x="45" y="56"/>
                  </a:cubicBezTo>
                  <a:cubicBezTo>
                    <a:pt x="2" y="98"/>
                    <a:pt x="2" y="98"/>
                    <a:pt x="2" y="98"/>
                  </a:cubicBezTo>
                  <a:cubicBezTo>
                    <a:pt x="0" y="100"/>
                    <a:pt x="0" y="103"/>
                    <a:pt x="2" y="105"/>
                  </a:cubicBezTo>
                  <a:cubicBezTo>
                    <a:pt x="4" y="107"/>
                    <a:pt x="7" y="106"/>
                    <a:pt x="8" y="105"/>
                  </a:cubicBezTo>
                  <a:cubicBezTo>
                    <a:pt x="48" y="66"/>
                    <a:pt x="48" y="66"/>
                    <a:pt x="48" y="66"/>
                  </a:cubicBezTo>
                  <a:cubicBezTo>
                    <a:pt x="48" y="66"/>
                    <a:pt x="48" y="66"/>
                    <a:pt x="48" y="66"/>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3905250" y="2882900"/>
              <a:ext cx="220663" cy="403225"/>
            </a:xfrm>
            <a:custGeom>
              <a:avLst/>
              <a:gdLst>
                <a:gd name="T0" fmla="*/ 1 w 59"/>
                <a:gd name="T1" fmla="*/ 56 h 107"/>
                <a:gd name="T2" fmla="*/ 1 w 59"/>
                <a:gd name="T3" fmla="*/ 50 h 107"/>
                <a:gd name="T4" fmla="*/ 10 w 59"/>
                <a:gd name="T5" fmla="*/ 41 h 107"/>
                <a:gd name="T6" fmla="*/ 50 w 59"/>
                <a:gd name="T7" fmla="*/ 2 h 107"/>
                <a:gd name="T8" fmla="*/ 56 w 59"/>
                <a:gd name="T9" fmla="*/ 2 h 107"/>
                <a:gd name="T10" fmla="*/ 56 w 59"/>
                <a:gd name="T11" fmla="*/ 9 h 107"/>
                <a:gd name="T12" fmla="*/ 16 w 59"/>
                <a:gd name="T13" fmla="*/ 50 h 107"/>
                <a:gd name="T14" fmla="*/ 16 w 59"/>
                <a:gd name="T15" fmla="*/ 56 h 107"/>
                <a:gd name="T16" fmla="*/ 57 w 59"/>
                <a:gd name="T17" fmla="*/ 98 h 107"/>
                <a:gd name="T18" fmla="*/ 57 w 59"/>
                <a:gd name="T19" fmla="*/ 105 h 107"/>
                <a:gd name="T20" fmla="*/ 51 w 59"/>
                <a:gd name="T21" fmla="*/ 105 h 107"/>
                <a:gd name="T22" fmla="*/ 11 w 59"/>
                <a:gd name="T23" fmla="*/ 66 h 107"/>
                <a:gd name="T24" fmla="*/ 10 w 59"/>
                <a:gd name="T25" fmla="*/ 66 h 107"/>
                <a:gd name="T26" fmla="*/ 1 w 59"/>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7">
                  <a:moveTo>
                    <a:pt x="1" y="56"/>
                  </a:moveTo>
                  <a:cubicBezTo>
                    <a:pt x="0" y="54"/>
                    <a:pt x="0" y="51"/>
                    <a:pt x="1" y="50"/>
                  </a:cubicBezTo>
                  <a:cubicBezTo>
                    <a:pt x="10" y="41"/>
                    <a:pt x="10" y="41"/>
                    <a:pt x="10" y="41"/>
                  </a:cubicBezTo>
                  <a:cubicBezTo>
                    <a:pt x="50" y="2"/>
                    <a:pt x="50" y="2"/>
                    <a:pt x="50" y="2"/>
                  </a:cubicBezTo>
                  <a:cubicBezTo>
                    <a:pt x="52" y="0"/>
                    <a:pt x="54" y="0"/>
                    <a:pt x="56" y="2"/>
                  </a:cubicBezTo>
                  <a:cubicBezTo>
                    <a:pt x="58" y="4"/>
                    <a:pt x="59" y="7"/>
                    <a:pt x="56" y="9"/>
                  </a:cubicBezTo>
                  <a:cubicBezTo>
                    <a:pt x="16" y="50"/>
                    <a:pt x="16" y="50"/>
                    <a:pt x="16" y="50"/>
                  </a:cubicBezTo>
                  <a:cubicBezTo>
                    <a:pt x="14" y="51"/>
                    <a:pt x="14" y="54"/>
                    <a:pt x="16" y="56"/>
                  </a:cubicBezTo>
                  <a:cubicBezTo>
                    <a:pt x="57" y="98"/>
                    <a:pt x="57" y="98"/>
                    <a:pt x="57" y="98"/>
                  </a:cubicBezTo>
                  <a:cubicBezTo>
                    <a:pt x="59" y="100"/>
                    <a:pt x="59" y="103"/>
                    <a:pt x="57" y="105"/>
                  </a:cubicBezTo>
                  <a:cubicBezTo>
                    <a:pt x="55" y="107"/>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5"/>
            <p:cNvSpPr>
              <a:spLocks noChangeArrowheads="1"/>
            </p:cNvSpPr>
            <p:nvPr/>
          </p:nvSpPr>
          <p:spPr bwMode="auto">
            <a:xfrm>
              <a:off x="4460875" y="4471988"/>
              <a:ext cx="3873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 name="Rectangle 56"/>
            <p:cNvSpPr>
              <a:spLocks noChangeArrowheads="1"/>
            </p:cNvSpPr>
            <p:nvPr/>
          </p:nvSpPr>
          <p:spPr bwMode="auto">
            <a:xfrm>
              <a:off x="4730750"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783138" y="4471988"/>
              <a:ext cx="285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4956175" y="4471988"/>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054600" y="4471988"/>
              <a:ext cx="153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5106988" y="4471988"/>
              <a:ext cx="2430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 API analyzes cont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Freeform 61"/>
            <p:cNvSpPr>
              <a:spLocks noEditPoints="1"/>
            </p:cNvSpPr>
            <p:nvPr/>
          </p:nvSpPr>
          <p:spPr bwMode="auto">
            <a:xfrm>
              <a:off x="3927475" y="2755900"/>
              <a:ext cx="3890963" cy="1655763"/>
            </a:xfrm>
            <a:custGeom>
              <a:avLst/>
              <a:gdLst>
                <a:gd name="T0" fmla="*/ 183 w 1036"/>
                <a:gd name="T1" fmla="*/ 11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2 h 440"/>
                <a:gd name="T34" fmla="*/ 867 w 1036"/>
                <a:gd name="T35" fmla="*/ 5 h 440"/>
                <a:gd name="T36" fmla="*/ 908 w 1036"/>
                <a:gd name="T37" fmla="*/ 27 h 440"/>
                <a:gd name="T38" fmla="*/ 934 w 1036"/>
                <a:gd name="T39" fmla="*/ 42 h 440"/>
                <a:gd name="T40" fmla="*/ 974 w 1036"/>
                <a:gd name="T41" fmla="*/ 65 h 440"/>
                <a:gd name="T42" fmla="*/ 1011 w 1036"/>
                <a:gd name="T43" fmla="*/ 114 h 440"/>
                <a:gd name="T44" fmla="*/ 1021 w 1036"/>
                <a:gd name="T45" fmla="*/ 135 h 440"/>
                <a:gd name="T46" fmla="*/ 1025 w 1036"/>
                <a:gd name="T47" fmla="*/ 181 h 440"/>
                <a:gd name="T48" fmla="*/ 1036 w 1036"/>
                <a:gd name="T49" fmla="*/ 211 h 440"/>
                <a:gd name="T50" fmla="*/ 1035 w 1036"/>
                <a:gd name="T51" fmla="*/ 250 h 440"/>
                <a:gd name="T52" fmla="*/ 1017 w 1036"/>
                <a:gd name="T53" fmla="*/ 292 h 440"/>
                <a:gd name="T54" fmla="*/ 1006 w 1036"/>
                <a:gd name="T55" fmla="*/ 320 h 440"/>
                <a:gd name="T56" fmla="*/ 987 w 1036"/>
                <a:gd name="T57" fmla="*/ 362 h 440"/>
                <a:gd name="T58" fmla="*/ 941 w 1036"/>
                <a:gd name="T59" fmla="*/ 404 h 440"/>
                <a:gd name="T60" fmla="*/ 921 w 1036"/>
                <a:gd name="T61" fmla="*/ 416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1 h 440"/>
                <a:gd name="T102" fmla="*/ 80 w 1036"/>
                <a:gd name="T103" fmla="*/ 393 h 440"/>
                <a:gd name="T104" fmla="*/ 38 w 1036"/>
                <a:gd name="T105" fmla="*/ 347 h 440"/>
                <a:gd name="T106" fmla="*/ 26 w 1036"/>
                <a:gd name="T107" fmla="*/ 327 h 440"/>
                <a:gd name="T108" fmla="*/ 16 w 1036"/>
                <a:gd name="T109" fmla="*/ 282 h 440"/>
                <a:gd name="T110" fmla="*/ 10 w 1036"/>
                <a:gd name="T111" fmla="*/ 253 h 440"/>
                <a:gd name="T112" fmla="*/ 0 w 1036"/>
                <a:gd name="T113" fmla="*/ 216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8"/>
                  </a:moveTo>
                  <a:cubicBezTo>
                    <a:pt x="156" y="9"/>
                    <a:pt x="152" y="10"/>
                    <a:pt x="149" y="11"/>
                  </a:cubicBezTo>
                  <a:cubicBezTo>
                    <a:pt x="151" y="18"/>
                    <a:pt x="151" y="18"/>
                    <a:pt x="151" y="18"/>
                  </a:cubicBezTo>
                  <a:cubicBezTo>
                    <a:pt x="154" y="17"/>
                    <a:pt x="158" y="16"/>
                    <a:pt x="161" y="15"/>
                  </a:cubicBezTo>
                  <a:cubicBezTo>
                    <a:pt x="159" y="8"/>
                    <a:pt x="159" y="8"/>
                    <a:pt x="159" y="8"/>
                  </a:cubicBezTo>
                  <a:close/>
                  <a:moveTo>
                    <a:pt x="182" y="3"/>
                  </a:moveTo>
                  <a:cubicBezTo>
                    <a:pt x="177" y="4"/>
                    <a:pt x="172" y="5"/>
                    <a:pt x="167" y="6"/>
                  </a:cubicBezTo>
                  <a:cubicBezTo>
                    <a:pt x="168" y="13"/>
                    <a:pt x="168" y="13"/>
                    <a:pt x="168" y="13"/>
                  </a:cubicBezTo>
                  <a:cubicBezTo>
                    <a:pt x="173" y="12"/>
                    <a:pt x="178" y="11"/>
                    <a:pt x="183" y="11"/>
                  </a:cubicBezTo>
                  <a:cubicBezTo>
                    <a:pt x="182" y="3"/>
                    <a:pt x="182" y="3"/>
                    <a:pt x="182" y="3"/>
                  </a:cubicBezTo>
                  <a:close/>
                  <a:moveTo>
                    <a:pt x="205" y="1"/>
                  </a:moveTo>
                  <a:cubicBezTo>
                    <a:pt x="200" y="1"/>
                    <a:pt x="195" y="1"/>
                    <a:pt x="189" y="2"/>
                  </a:cubicBezTo>
                  <a:cubicBezTo>
                    <a:pt x="190" y="10"/>
                    <a:pt x="190" y="10"/>
                    <a:pt x="190" y="10"/>
                  </a:cubicBezTo>
                  <a:cubicBezTo>
                    <a:pt x="195" y="9"/>
                    <a:pt x="200" y="9"/>
                    <a:pt x="205" y="8"/>
                  </a:cubicBezTo>
                  <a:lnTo>
                    <a:pt x="205" y="1"/>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2"/>
                  </a:moveTo>
                  <a:cubicBezTo>
                    <a:pt x="839" y="1"/>
                    <a:pt x="834" y="1"/>
                    <a:pt x="829" y="1"/>
                  </a:cubicBezTo>
                  <a:cubicBezTo>
                    <a:pt x="829" y="8"/>
                    <a:pt x="829" y="8"/>
                    <a:pt x="829" y="8"/>
                  </a:cubicBezTo>
                  <a:cubicBezTo>
                    <a:pt x="834" y="9"/>
                    <a:pt x="839" y="9"/>
                    <a:pt x="844" y="9"/>
                  </a:cubicBezTo>
                  <a:cubicBezTo>
                    <a:pt x="845" y="2"/>
                    <a:pt x="845" y="2"/>
                    <a:pt x="845" y="2"/>
                  </a:cubicBezTo>
                  <a:close/>
                  <a:moveTo>
                    <a:pt x="867" y="5"/>
                  </a:moveTo>
                  <a:cubicBezTo>
                    <a:pt x="862" y="4"/>
                    <a:pt x="857" y="3"/>
                    <a:pt x="852" y="3"/>
                  </a:cubicBezTo>
                  <a:cubicBezTo>
                    <a:pt x="851" y="10"/>
                    <a:pt x="851" y="10"/>
                    <a:pt x="851" y="10"/>
                  </a:cubicBezTo>
                  <a:cubicBezTo>
                    <a:pt x="856" y="11"/>
                    <a:pt x="861" y="12"/>
                    <a:pt x="866" y="13"/>
                  </a:cubicBezTo>
                  <a:cubicBezTo>
                    <a:pt x="867" y="5"/>
                    <a:pt x="867" y="5"/>
                    <a:pt x="867" y="5"/>
                  </a:cubicBezTo>
                  <a:close/>
                  <a:moveTo>
                    <a:pt x="890" y="12"/>
                  </a:moveTo>
                  <a:cubicBezTo>
                    <a:pt x="885" y="10"/>
                    <a:pt x="880" y="8"/>
                    <a:pt x="875" y="7"/>
                  </a:cubicBezTo>
                  <a:cubicBezTo>
                    <a:pt x="873" y="15"/>
                    <a:pt x="873" y="15"/>
                    <a:pt x="873" y="15"/>
                  </a:cubicBezTo>
                  <a:cubicBezTo>
                    <a:pt x="878" y="16"/>
                    <a:pt x="883" y="17"/>
                    <a:pt x="887" y="19"/>
                  </a:cubicBezTo>
                  <a:cubicBezTo>
                    <a:pt x="890" y="12"/>
                    <a:pt x="890" y="12"/>
                    <a:pt x="890" y="12"/>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4"/>
                  </a:cubicBezTo>
                  <a:cubicBezTo>
                    <a:pt x="915" y="30"/>
                    <a:pt x="915" y="30"/>
                    <a:pt x="915" y="30"/>
                  </a:cubicBezTo>
                  <a:cubicBezTo>
                    <a:pt x="919" y="33"/>
                    <a:pt x="924" y="35"/>
                    <a:pt x="928" y="38"/>
                  </a:cubicBezTo>
                  <a:cubicBezTo>
                    <a:pt x="932" y="31"/>
                    <a:pt x="932" y="31"/>
                    <a:pt x="932" y="31"/>
                  </a:cubicBezTo>
                  <a:close/>
                  <a:moveTo>
                    <a:pt x="951" y="44"/>
                  </a:moveTo>
                  <a:cubicBezTo>
                    <a:pt x="947" y="41"/>
                    <a:pt x="943" y="38"/>
                    <a:pt x="938" y="35"/>
                  </a:cubicBezTo>
                  <a:cubicBezTo>
                    <a:pt x="934" y="42"/>
                    <a:pt x="934" y="42"/>
                    <a:pt x="934" y="42"/>
                  </a:cubicBezTo>
                  <a:cubicBezTo>
                    <a:pt x="938" y="44"/>
                    <a:pt x="942" y="47"/>
                    <a:pt x="946" y="50"/>
                  </a:cubicBezTo>
                  <a:cubicBezTo>
                    <a:pt x="951" y="44"/>
                    <a:pt x="951" y="44"/>
                    <a:pt x="951" y="44"/>
                  </a:cubicBezTo>
                  <a:close/>
                  <a:moveTo>
                    <a:pt x="969" y="59"/>
                  </a:moveTo>
                  <a:cubicBezTo>
                    <a:pt x="965" y="56"/>
                    <a:pt x="961" y="52"/>
                    <a:pt x="957" y="49"/>
                  </a:cubicBezTo>
                  <a:cubicBezTo>
                    <a:pt x="952" y="55"/>
                    <a:pt x="952" y="55"/>
                    <a:pt x="952" y="55"/>
                  </a:cubicBezTo>
                  <a:cubicBezTo>
                    <a:pt x="956" y="58"/>
                    <a:pt x="960" y="61"/>
                    <a:pt x="963" y="65"/>
                  </a:cubicBezTo>
                  <a:lnTo>
                    <a:pt x="969" y="59"/>
                  </a:lnTo>
                  <a:close/>
                  <a:moveTo>
                    <a:pt x="985" y="76"/>
                  </a:moveTo>
                  <a:cubicBezTo>
                    <a:pt x="981" y="72"/>
                    <a:pt x="978" y="68"/>
                    <a:pt x="974" y="65"/>
                  </a:cubicBezTo>
                  <a:cubicBezTo>
                    <a:pt x="969" y="70"/>
                    <a:pt x="969" y="70"/>
                    <a:pt x="969" y="70"/>
                  </a:cubicBezTo>
                  <a:cubicBezTo>
                    <a:pt x="972" y="74"/>
                    <a:pt x="976" y="77"/>
                    <a:pt x="979" y="81"/>
                  </a:cubicBezTo>
                  <a:cubicBezTo>
                    <a:pt x="985" y="76"/>
                    <a:pt x="985" y="76"/>
                    <a:pt x="985" y="76"/>
                  </a:cubicBezTo>
                  <a:close/>
                  <a:moveTo>
                    <a:pt x="999" y="94"/>
                  </a:moveTo>
                  <a:cubicBezTo>
                    <a:pt x="996" y="90"/>
                    <a:pt x="993" y="86"/>
                    <a:pt x="990" y="82"/>
                  </a:cubicBezTo>
                  <a:cubicBezTo>
                    <a:pt x="984" y="87"/>
                    <a:pt x="984" y="87"/>
                    <a:pt x="984" y="87"/>
                  </a:cubicBezTo>
                  <a:cubicBezTo>
                    <a:pt x="987" y="91"/>
                    <a:pt x="990" y="95"/>
                    <a:pt x="992" y="99"/>
                  </a:cubicBezTo>
                  <a:lnTo>
                    <a:pt x="999" y="94"/>
                  </a:lnTo>
                  <a:close/>
                  <a:moveTo>
                    <a:pt x="1011" y="114"/>
                  </a:moveTo>
                  <a:cubicBezTo>
                    <a:pt x="1008" y="110"/>
                    <a:pt x="1006" y="105"/>
                    <a:pt x="1003" y="101"/>
                  </a:cubicBezTo>
                  <a:cubicBezTo>
                    <a:pt x="997" y="105"/>
                    <a:pt x="997" y="105"/>
                    <a:pt x="997" y="105"/>
                  </a:cubicBezTo>
                  <a:cubicBezTo>
                    <a:pt x="999" y="109"/>
                    <a:pt x="1002" y="114"/>
                    <a:pt x="1004" y="118"/>
                  </a:cubicBezTo>
                  <a:cubicBezTo>
                    <a:pt x="1011" y="114"/>
                    <a:pt x="1011" y="114"/>
                    <a:pt x="1011" y="114"/>
                  </a:cubicBezTo>
                  <a:close/>
                  <a:moveTo>
                    <a:pt x="1021" y="135"/>
                  </a:moveTo>
                  <a:cubicBezTo>
                    <a:pt x="1019" y="131"/>
                    <a:pt x="1017" y="126"/>
                    <a:pt x="1014" y="121"/>
                  </a:cubicBezTo>
                  <a:cubicBezTo>
                    <a:pt x="1007" y="125"/>
                    <a:pt x="1007" y="125"/>
                    <a:pt x="1007" y="125"/>
                  </a:cubicBezTo>
                  <a:cubicBezTo>
                    <a:pt x="1010" y="129"/>
                    <a:pt x="1012" y="134"/>
                    <a:pt x="1014" y="138"/>
                  </a:cubicBezTo>
                  <a:cubicBezTo>
                    <a:pt x="1021" y="135"/>
                    <a:pt x="1021" y="135"/>
                    <a:pt x="1021" y="135"/>
                  </a:cubicBezTo>
                  <a:close/>
                  <a:moveTo>
                    <a:pt x="1028" y="158"/>
                  </a:moveTo>
                  <a:cubicBezTo>
                    <a:pt x="1027" y="153"/>
                    <a:pt x="1025" y="148"/>
                    <a:pt x="1023" y="143"/>
                  </a:cubicBezTo>
                  <a:cubicBezTo>
                    <a:pt x="1016" y="145"/>
                    <a:pt x="1016" y="145"/>
                    <a:pt x="1016" y="145"/>
                  </a:cubicBezTo>
                  <a:cubicBezTo>
                    <a:pt x="1018" y="150"/>
                    <a:pt x="1019" y="155"/>
                    <a:pt x="1021" y="160"/>
                  </a:cubicBezTo>
                  <a:lnTo>
                    <a:pt x="1028" y="158"/>
                  </a:lnTo>
                  <a:close/>
                  <a:moveTo>
                    <a:pt x="1033" y="180"/>
                  </a:moveTo>
                  <a:cubicBezTo>
                    <a:pt x="1032" y="175"/>
                    <a:pt x="1031" y="170"/>
                    <a:pt x="1030" y="165"/>
                  </a:cubicBezTo>
                  <a:cubicBezTo>
                    <a:pt x="1023" y="167"/>
                    <a:pt x="1023" y="167"/>
                    <a:pt x="1023" y="167"/>
                  </a:cubicBezTo>
                  <a:cubicBezTo>
                    <a:pt x="1024" y="172"/>
                    <a:pt x="1025" y="177"/>
                    <a:pt x="1025" y="181"/>
                  </a:cubicBezTo>
                  <a:cubicBezTo>
                    <a:pt x="1033" y="180"/>
                    <a:pt x="1033" y="180"/>
                    <a:pt x="1033" y="180"/>
                  </a:cubicBezTo>
                  <a:close/>
                  <a:moveTo>
                    <a:pt x="1036" y="203"/>
                  </a:moveTo>
                  <a:cubicBezTo>
                    <a:pt x="1035" y="198"/>
                    <a:pt x="1035" y="193"/>
                    <a:pt x="1034" y="188"/>
                  </a:cubicBezTo>
                  <a:cubicBezTo>
                    <a:pt x="1027" y="189"/>
                    <a:pt x="1027" y="189"/>
                    <a:pt x="1027" y="189"/>
                  </a:cubicBezTo>
                  <a:cubicBezTo>
                    <a:pt x="1027" y="194"/>
                    <a:pt x="1028" y="199"/>
                    <a:pt x="1028" y="204"/>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50"/>
                  </a:moveTo>
                  <a:cubicBezTo>
                    <a:pt x="1035" y="244"/>
                    <a:pt x="1036" y="239"/>
                    <a:pt x="1036" y="234"/>
                  </a:cubicBezTo>
                  <a:cubicBezTo>
                    <a:pt x="1028" y="234"/>
                    <a:pt x="1028" y="234"/>
                    <a:pt x="1028" y="234"/>
                  </a:cubicBezTo>
                  <a:cubicBezTo>
                    <a:pt x="1028" y="239"/>
                    <a:pt x="1027" y="244"/>
                    <a:pt x="1027" y="249"/>
                  </a:cubicBezTo>
                  <a:lnTo>
                    <a:pt x="1035" y="250"/>
                  </a:lnTo>
                  <a:close/>
                  <a:moveTo>
                    <a:pt x="1031" y="272"/>
                  </a:moveTo>
                  <a:cubicBezTo>
                    <a:pt x="1032" y="267"/>
                    <a:pt x="1033" y="262"/>
                    <a:pt x="1034" y="257"/>
                  </a:cubicBezTo>
                  <a:cubicBezTo>
                    <a:pt x="1026" y="256"/>
                    <a:pt x="1026" y="256"/>
                    <a:pt x="1026" y="256"/>
                  </a:cubicBezTo>
                  <a:cubicBezTo>
                    <a:pt x="1025" y="261"/>
                    <a:pt x="1024" y="266"/>
                    <a:pt x="1023" y="271"/>
                  </a:cubicBezTo>
                  <a:cubicBezTo>
                    <a:pt x="1031" y="272"/>
                    <a:pt x="1031" y="272"/>
                    <a:pt x="1031" y="272"/>
                  </a:cubicBezTo>
                  <a:close/>
                  <a:moveTo>
                    <a:pt x="1025" y="295"/>
                  </a:moveTo>
                  <a:cubicBezTo>
                    <a:pt x="1026" y="290"/>
                    <a:pt x="1028" y="285"/>
                    <a:pt x="1029" y="280"/>
                  </a:cubicBezTo>
                  <a:cubicBezTo>
                    <a:pt x="1022" y="278"/>
                    <a:pt x="1022" y="278"/>
                    <a:pt x="1022" y="278"/>
                  </a:cubicBezTo>
                  <a:cubicBezTo>
                    <a:pt x="1020" y="283"/>
                    <a:pt x="1019" y="288"/>
                    <a:pt x="1017" y="292"/>
                  </a:cubicBezTo>
                  <a:cubicBezTo>
                    <a:pt x="1025" y="295"/>
                    <a:pt x="1025" y="295"/>
                    <a:pt x="1025" y="295"/>
                  </a:cubicBezTo>
                  <a:close/>
                  <a:moveTo>
                    <a:pt x="1016" y="316"/>
                  </a:moveTo>
                  <a:cubicBezTo>
                    <a:pt x="1018" y="312"/>
                    <a:pt x="1020" y="307"/>
                    <a:pt x="1022" y="302"/>
                  </a:cubicBezTo>
                  <a:cubicBezTo>
                    <a:pt x="1015" y="299"/>
                    <a:pt x="1015" y="299"/>
                    <a:pt x="1015" y="299"/>
                  </a:cubicBezTo>
                  <a:cubicBezTo>
                    <a:pt x="1013" y="304"/>
                    <a:pt x="1011" y="309"/>
                    <a:pt x="1009" y="313"/>
                  </a:cubicBezTo>
                  <a:cubicBezTo>
                    <a:pt x="1016" y="316"/>
                    <a:pt x="1016" y="316"/>
                    <a:pt x="1016" y="316"/>
                  </a:cubicBezTo>
                  <a:close/>
                  <a:moveTo>
                    <a:pt x="1005" y="337"/>
                  </a:moveTo>
                  <a:cubicBezTo>
                    <a:pt x="1008" y="332"/>
                    <a:pt x="1010" y="328"/>
                    <a:pt x="1013" y="323"/>
                  </a:cubicBezTo>
                  <a:cubicBezTo>
                    <a:pt x="1006" y="320"/>
                    <a:pt x="1006" y="320"/>
                    <a:pt x="1006" y="320"/>
                  </a:cubicBezTo>
                  <a:cubicBezTo>
                    <a:pt x="1003" y="324"/>
                    <a:pt x="1001" y="329"/>
                    <a:pt x="998" y="333"/>
                  </a:cubicBezTo>
                  <a:lnTo>
                    <a:pt x="1005" y="337"/>
                  </a:lnTo>
                  <a:close/>
                  <a:moveTo>
                    <a:pt x="992" y="356"/>
                  </a:moveTo>
                  <a:cubicBezTo>
                    <a:pt x="995" y="352"/>
                    <a:pt x="998" y="348"/>
                    <a:pt x="1001" y="343"/>
                  </a:cubicBezTo>
                  <a:cubicBezTo>
                    <a:pt x="994" y="339"/>
                    <a:pt x="994" y="339"/>
                    <a:pt x="994" y="339"/>
                  </a:cubicBezTo>
                  <a:cubicBezTo>
                    <a:pt x="992" y="343"/>
                    <a:pt x="989" y="347"/>
                    <a:pt x="986" y="351"/>
                  </a:cubicBezTo>
                  <a:lnTo>
                    <a:pt x="992" y="356"/>
                  </a:lnTo>
                  <a:close/>
                  <a:moveTo>
                    <a:pt x="977" y="374"/>
                  </a:moveTo>
                  <a:cubicBezTo>
                    <a:pt x="980" y="370"/>
                    <a:pt x="984" y="366"/>
                    <a:pt x="987" y="362"/>
                  </a:cubicBezTo>
                  <a:cubicBezTo>
                    <a:pt x="981" y="357"/>
                    <a:pt x="981" y="357"/>
                    <a:pt x="981" y="357"/>
                  </a:cubicBezTo>
                  <a:cubicBezTo>
                    <a:pt x="978" y="361"/>
                    <a:pt x="975" y="365"/>
                    <a:pt x="971" y="368"/>
                  </a:cubicBezTo>
                  <a:cubicBezTo>
                    <a:pt x="977" y="374"/>
                    <a:pt x="977" y="374"/>
                    <a:pt x="977" y="374"/>
                  </a:cubicBezTo>
                  <a:close/>
                  <a:moveTo>
                    <a:pt x="960" y="390"/>
                  </a:moveTo>
                  <a:cubicBezTo>
                    <a:pt x="964" y="386"/>
                    <a:pt x="968" y="383"/>
                    <a:pt x="971" y="379"/>
                  </a:cubicBezTo>
                  <a:cubicBezTo>
                    <a:pt x="966" y="374"/>
                    <a:pt x="966" y="374"/>
                    <a:pt x="966" y="374"/>
                  </a:cubicBezTo>
                  <a:cubicBezTo>
                    <a:pt x="962" y="377"/>
                    <a:pt x="959" y="380"/>
                    <a:pt x="955" y="384"/>
                  </a:cubicBezTo>
                  <a:cubicBezTo>
                    <a:pt x="960" y="390"/>
                    <a:pt x="960" y="390"/>
                    <a:pt x="960" y="390"/>
                  </a:cubicBezTo>
                  <a:close/>
                  <a:moveTo>
                    <a:pt x="941" y="404"/>
                  </a:moveTo>
                  <a:cubicBezTo>
                    <a:pt x="946" y="401"/>
                    <a:pt x="950" y="398"/>
                    <a:pt x="954" y="394"/>
                  </a:cubicBezTo>
                  <a:cubicBezTo>
                    <a:pt x="949" y="388"/>
                    <a:pt x="949" y="388"/>
                    <a:pt x="949" y="388"/>
                  </a:cubicBezTo>
                  <a:cubicBezTo>
                    <a:pt x="945" y="391"/>
                    <a:pt x="941" y="394"/>
                    <a:pt x="937" y="397"/>
                  </a:cubicBezTo>
                  <a:cubicBezTo>
                    <a:pt x="941" y="404"/>
                    <a:pt x="941" y="404"/>
                    <a:pt x="941" y="404"/>
                  </a:cubicBezTo>
                  <a:close/>
                  <a:moveTo>
                    <a:pt x="921" y="416"/>
                  </a:moveTo>
                  <a:cubicBezTo>
                    <a:pt x="926" y="413"/>
                    <a:pt x="930" y="411"/>
                    <a:pt x="935" y="408"/>
                  </a:cubicBezTo>
                  <a:cubicBezTo>
                    <a:pt x="931" y="401"/>
                    <a:pt x="931" y="401"/>
                    <a:pt x="931" y="401"/>
                  </a:cubicBezTo>
                  <a:cubicBezTo>
                    <a:pt x="927" y="404"/>
                    <a:pt x="922" y="406"/>
                    <a:pt x="918" y="409"/>
                  </a:cubicBezTo>
                  <a:cubicBezTo>
                    <a:pt x="921" y="416"/>
                    <a:pt x="921" y="416"/>
                    <a:pt x="921" y="416"/>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3"/>
                  </a:moveTo>
                  <a:cubicBezTo>
                    <a:pt x="883" y="431"/>
                    <a:pt x="888" y="430"/>
                    <a:pt x="893" y="428"/>
                  </a:cubicBezTo>
                  <a:cubicBezTo>
                    <a:pt x="890" y="421"/>
                    <a:pt x="890" y="421"/>
                    <a:pt x="890" y="421"/>
                  </a:cubicBezTo>
                  <a:cubicBezTo>
                    <a:pt x="886" y="422"/>
                    <a:pt x="881" y="424"/>
                    <a:pt x="876" y="425"/>
                  </a:cubicBezTo>
                  <a:lnTo>
                    <a:pt x="878" y="433"/>
                  </a:lnTo>
                  <a:close/>
                  <a:moveTo>
                    <a:pt x="856" y="438"/>
                  </a:moveTo>
                  <a:cubicBezTo>
                    <a:pt x="861" y="437"/>
                    <a:pt x="866" y="436"/>
                    <a:pt x="871" y="435"/>
                  </a:cubicBezTo>
                  <a:cubicBezTo>
                    <a:pt x="869" y="427"/>
                    <a:pt x="869" y="427"/>
                    <a:pt x="869" y="427"/>
                  </a:cubicBezTo>
                  <a:cubicBezTo>
                    <a:pt x="864" y="428"/>
                    <a:pt x="859" y="429"/>
                    <a:pt x="854" y="430"/>
                  </a:cubicBezTo>
                  <a:cubicBezTo>
                    <a:pt x="856" y="438"/>
                    <a:pt x="856" y="438"/>
                    <a:pt x="856" y="438"/>
                  </a:cubicBezTo>
                  <a:close/>
                  <a:moveTo>
                    <a:pt x="832" y="440"/>
                  </a:moveTo>
                  <a:cubicBezTo>
                    <a:pt x="838" y="440"/>
                    <a:pt x="843" y="439"/>
                    <a:pt x="848" y="439"/>
                  </a:cubicBezTo>
                  <a:cubicBezTo>
                    <a:pt x="847" y="431"/>
                    <a:pt x="847" y="431"/>
                    <a:pt x="847" y="431"/>
                  </a:cubicBezTo>
                  <a:cubicBezTo>
                    <a:pt x="842" y="432"/>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40"/>
                    <a:pt x="203" y="440"/>
                    <a:pt x="208" y="440"/>
                  </a:cubicBezTo>
                  <a:cubicBezTo>
                    <a:pt x="208" y="432"/>
                    <a:pt x="208" y="432"/>
                    <a:pt x="208" y="432"/>
                  </a:cubicBezTo>
                  <a:cubicBezTo>
                    <a:pt x="203" y="432"/>
                    <a:pt x="198" y="432"/>
                    <a:pt x="194" y="431"/>
                  </a:cubicBezTo>
                  <a:cubicBezTo>
                    <a:pt x="193" y="439"/>
                    <a:pt x="193" y="439"/>
                    <a:pt x="193" y="439"/>
                  </a:cubicBezTo>
                  <a:close/>
                  <a:moveTo>
                    <a:pt x="170" y="436"/>
                  </a:moveTo>
                  <a:cubicBezTo>
                    <a:pt x="175" y="437"/>
                    <a:pt x="180" y="438"/>
                    <a:pt x="185" y="438"/>
                  </a:cubicBezTo>
                  <a:cubicBezTo>
                    <a:pt x="186" y="431"/>
                    <a:pt x="186" y="431"/>
                    <a:pt x="186" y="431"/>
                  </a:cubicBezTo>
                  <a:cubicBezTo>
                    <a:pt x="181" y="430"/>
                    <a:pt x="176" y="429"/>
                    <a:pt x="171" y="428"/>
                  </a:cubicBezTo>
                  <a:cubicBezTo>
                    <a:pt x="170" y="436"/>
                    <a:pt x="170" y="436"/>
                    <a:pt x="170" y="436"/>
                  </a:cubicBezTo>
                  <a:close/>
                  <a:moveTo>
                    <a:pt x="147" y="430"/>
                  </a:moveTo>
                  <a:cubicBezTo>
                    <a:pt x="152" y="431"/>
                    <a:pt x="157" y="433"/>
                    <a:pt x="162" y="434"/>
                  </a:cubicBezTo>
                  <a:cubicBezTo>
                    <a:pt x="164" y="426"/>
                    <a:pt x="164" y="426"/>
                    <a:pt x="164" y="426"/>
                  </a:cubicBezTo>
                  <a:cubicBezTo>
                    <a:pt x="159" y="425"/>
                    <a:pt x="155" y="424"/>
                    <a:pt x="150" y="422"/>
                  </a:cubicBezTo>
                  <a:cubicBezTo>
                    <a:pt x="147" y="430"/>
                    <a:pt x="147" y="430"/>
                    <a:pt x="147" y="430"/>
                  </a:cubicBezTo>
                  <a:close/>
                  <a:moveTo>
                    <a:pt x="126" y="421"/>
                  </a:moveTo>
                  <a:cubicBezTo>
                    <a:pt x="130" y="423"/>
                    <a:pt x="135" y="425"/>
                    <a:pt x="140" y="427"/>
                  </a:cubicBezTo>
                  <a:cubicBezTo>
                    <a:pt x="143" y="420"/>
                    <a:pt x="143" y="420"/>
                    <a:pt x="143" y="420"/>
                  </a:cubicBezTo>
                  <a:cubicBezTo>
                    <a:pt x="138" y="418"/>
                    <a:pt x="133" y="416"/>
                    <a:pt x="129" y="414"/>
                  </a:cubicBezTo>
                  <a:cubicBezTo>
                    <a:pt x="126" y="421"/>
                    <a:pt x="126" y="421"/>
                    <a:pt x="126" y="421"/>
                  </a:cubicBezTo>
                  <a:close/>
                  <a:moveTo>
                    <a:pt x="105" y="410"/>
                  </a:moveTo>
                  <a:cubicBezTo>
                    <a:pt x="110" y="413"/>
                    <a:pt x="114" y="415"/>
                    <a:pt x="119" y="418"/>
                  </a:cubicBezTo>
                  <a:cubicBezTo>
                    <a:pt x="122" y="411"/>
                    <a:pt x="122" y="411"/>
                    <a:pt x="122" y="411"/>
                  </a:cubicBezTo>
                  <a:cubicBezTo>
                    <a:pt x="118" y="409"/>
                    <a:pt x="113" y="406"/>
                    <a:pt x="109" y="404"/>
                  </a:cubicBezTo>
                  <a:cubicBezTo>
                    <a:pt x="105" y="410"/>
                    <a:pt x="105" y="410"/>
                    <a:pt x="105" y="410"/>
                  </a:cubicBezTo>
                  <a:close/>
                  <a:moveTo>
                    <a:pt x="86" y="397"/>
                  </a:moveTo>
                  <a:cubicBezTo>
                    <a:pt x="90" y="400"/>
                    <a:pt x="94" y="403"/>
                    <a:pt x="99" y="406"/>
                  </a:cubicBezTo>
                  <a:cubicBezTo>
                    <a:pt x="103" y="400"/>
                    <a:pt x="103" y="400"/>
                    <a:pt x="103" y="400"/>
                  </a:cubicBezTo>
                  <a:cubicBezTo>
                    <a:pt x="99" y="397"/>
                    <a:pt x="95" y="394"/>
                    <a:pt x="91" y="391"/>
                  </a:cubicBezTo>
                  <a:lnTo>
                    <a:pt x="86" y="397"/>
                  </a:lnTo>
                  <a:close/>
                  <a:moveTo>
                    <a:pt x="68" y="382"/>
                  </a:moveTo>
                  <a:cubicBezTo>
                    <a:pt x="72" y="386"/>
                    <a:pt x="76" y="389"/>
                    <a:pt x="80" y="393"/>
                  </a:cubicBezTo>
                  <a:cubicBezTo>
                    <a:pt x="85" y="387"/>
                    <a:pt x="85" y="387"/>
                    <a:pt x="85" y="387"/>
                  </a:cubicBezTo>
                  <a:cubicBezTo>
                    <a:pt x="81" y="383"/>
                    <a:pt x="77" y="380"/>
                    <a:pt x="73" y="377"/>
                  </a:cubicBezTo>
                  <a:cubicBezTo>
                    <a:pt x="68" y="382"/>
                    <a:pt x="68" y="382"/>
                    <a:pt x="68" y="382"/>
                  </a:cubicBezTo>
                  <a:close/>
                  <a:moveTo>
                    <a:pt x="52" y="366"/>
                  </a:moveTo>
                  <a:cubicBezTo>
                    <a:pt x="55" y="370"/>
                    <a:pt x="59" y="373"/>
                    <a:pt x="63" y="377"/>
                  </a:cubicBezTo>
                  <a:cubicBezTo>
                    <a:pt x="68" y="372"/>
                    <a:pt x="68" y="372"/>
                    <a:pt x="68" y="372"/>
                  </a:cubicBezTo>
                  <a:cubicBezTo>
                    <a:pt x="65" y="368"/>
                    <a:pt x="61" y="364"/>
                    <a:pt x="58" y="361"/>
                  </a:cubicBezTo>
                  <a:cubicBezTo>
                    <a:pt x="52" y="366"/>
                    <a:pt x="52" y="366"/>
                    <a:pt x="52" y="366"/>
                  </a:cubicBezTo>
                  <a:close/>
                  <a:moveTo>
                    <a:pt x="38" y="347"/>
                  </a:moveTo>
                  <a:cubicBezTo>
                    <a:pt x="41" y="352"/>
                    <a:pt x="44" y="356"/>
                    <a:pt x="47" y="360"/>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1"/>
                  </a:cubicBezTo>
                  <a:cubicBezTo>
                    <a:pt x="40" y="337"/>
                    <a:pt x="40" y="337"/>
                    <a:pt x="40" y="337"/>
                  </a:cubicBezTo>
                  <a:cubicBezTo>
                    <a:pt x="37" y="332"/>
                    <a:pt x="35" y="328"/>
                    <a:pt x="33" y="324"/>
                  </a:cubicBezTo>
                  <a:cubicBezTo>
                    <a:pt x="26" y="327"/>
                    <a:pt x="26" y="327"/>
                    <a:pt x="26" y="327"/>
                  </a:cubicBezTo>
                  <a:close/>
                  <a:moveTo>
                    <a:pt x="16" y="306"/>
                  </a:moveTo>
                  <a:cubicBezTo>
                    <a:pt x="18" y="311"/>
                    <a:pt x="20" y="316"/>
                    <a:pt x="22" y="321"/>
                  </a:cubicBezTo>
                  <a:cubicBezTo>
                    <a:pt x="29" y="317"/>
                    <a:pt x="29" y="317"/>
                    <a:pt x="29" y="317"/>
                  </a:cubicBezTo>
                  <a:cubicBezTo>
                    <a:pt x="27" y="313"/>
                    <a:pt x="25" y="308"/>
                    <a:pt x="23" y="304"/>
                  </a:cubicBezTo>
                  <a:cubicBezTo>
                    <a:pt x="16" y="306"/>
                    <a:pt x="16" y="306"/>
                    <a:pt x="16" y="306"/>
                  </a:cubicBezTo>
                  <a:close/>
                  <a:moveTo>
                    <a:pt x="8" y="284"/>
                  </a:moveTo>
                  <a:cubicBezTo>
                    <a:pt x="10" y="289"/>
                    <a:pt x="11" y="294"/>
                    <a:pt x="13" y="299"/>
                  </a:cubicBezTo>
                  <a:cubicBezTo>
                    <a:pt x="20" y="297"/>
                    <a:pt x="20" y="297"/>
                    <a:pt x="20" y="297"/>
                  </a:cubicBezTo>
                  <a:cubicBezTo>
                    <a:pt x="19" y="292"/>
                    <a:pt x="17" y="287"/>
                    <a:pt x="16" y="282"/>
                  </a:cubicBezTo>
                  <a:cubicBezTo>
                    <a:pt x="8" y="284"/>
                    <a:pt x="8" y="284"/>
                    <a:pt x="8" y="284"/>
                  </a:cubicBezTo>
                  <a:close/>
                  <a:moveTo>
                    <a:pt x="3" y="262"/>
                  </a:moveTo>
                  <a:cubicBezTo>
                    <a:pt x="4" y="267"/>
                    <a:pt x="5" y="272"/>
                    <a:pt x="6" y="277"/>
                  </a:cubicBezTo>
                  <a:cubicBezTo>
                    <a:pt x="14" y="275"/>
                    <a:pt x="14" y="275"/>
                    <a:pt x="14" y="275"/>
                  </a:cubicBezTo>
                  <a:cubicBezTo>
                    <a:pt x="13" y="270"/>
                    <a:pt x="12" y="265"/>
                    <a:pt x="11" y="261"/>
                  </a:cubicBezTo>
                  <a:cubicBezTo>
                    <a:pt x="3" y="262"/>
                    <a:pt x="3" y="262"/>
                    <a:pt x="3" y="262"/>
                  </a:cubicBezTo>
                  <a:close/>
                  <a:moveTo>
                    <a:pt x="0" y="239"/>
                  </a:moveTo>
                  <a:cubicBezTo>
                    <a:pt x="1" y="244"/>
                    <a:pt x="1" y="249"/>
                    <a:pt x="2" y="254"/>
                  </a:cubicBezTo>
                  <a:cubicBezTo>
                    <a:pt x="10" y="253"/>
                    <a:pt x="10" y="253"/>
                    <a:pt x="10" y="253"/>
                  </a:cubicBezTo>
                  <a:cubicBezTo>
                    <a:pt x="9" y="248"/>
                    <a:pt x="9" y="243"/>
                    <a:pt x="8" y="238"/>
                  </a:cubicBezTo>
                  <a:cubicBezTo>
                    <a:pt x="0" y="239"/>
                    <a:pt x="0" y="239"/>
                    <a:pt x="0" y="239"/>
                  </a:cubicBezTo>
                  <a:close/>
                  <a:moveTo>
                    <a:pt x="0" y="216"/>
                  </a:moveTo>
                  <a:cubicBezTo>
                    <a:pt x="0" y="226"/>
                    <a:pt x="0" y="226"/>
                    <a:pt x="0" y="226"/>
                  </a:cubicBezTo>
                  <a:cubicBezTo>
                    <a:pt x="0" y="228"/>
                    <a:pt x="0" y="229"/>
                    <a:pt x="0" y="231"/>
                  </a:cubicBezTo>
                  <a:cubicBezTo>
                    <a:pt x="8" y="231"/>
                    <a:pt x="8" y="231"/>
                    <a:pt x="8" y="231"/>
                  </a:cubicBezTo>
                  <a:cubicBezTo>
                    <a:pt x="8" y="229"/>
                    <a:pt x="8" y="228"/>
                    <a:pt x="8" y="226"/>
                  </a:cubicBezTo>
                  <a:cubicBezTo>
                    <a:pt x="8" y="216"/>
                    <a:pt x="8" y="216"/>
                    <a:pt x="8" y="216"/>
                  </a:cubicBezTo>
                  <a:cubicBezTo>
                    <a:pt x="0" y="216"/>
                    <a:pt x="0" y="216"/>
                    <a:pt x="0" y="216"/>
                  </a:cubicBezTo>
                  <a:close/>
                  <a:moveTo>
                    <a:pt x="1" y="192"/>
                  </a:moveTo>
                  <a:cubicBezTo>
                    <a:pt x="1" y="198"/>
                    <a:pt x="0" y="203"/>
                    <a:pt x="0" y="208"/>
                  </a:cubicBezTo>
                  <a:cubicBezTo>
                    <a:pt x="8" y="208"/>
                    <a:pt x="8" y="208"/>
                    <a:pt x="8" y="208"/>
                  </a:cubicBezTo>
                  <a:cubicBezTo>
                    <a:pt x="8" y="203"/>
                    <a:pt x="8" y="198"/>
                    <a:pt x="9" y="193"/>
                  </a:cubicBezTo>
                  <a:cubicBezTo>
                    <a:pt x="1" y="192"/>
                    <a:pt x="1" y="192"/>
                    <a:pt x="1" y="192"/>
                  </a:cubicBezTo>
                  <a:close/>
                  <a:moveTo>
                    <a:pt x="5" y="170"/>
                  </a:moveTo>
                  <a:cubicBezTo>
                    <a:pt x="4" y="175"/>
                    <a:pt x="3" y="180"/>
                    <a:pt x="2" y="185"/>
                  </a:cubicBezTo>
                  <a:cubicBezTo>
                    <a:pt x="10" y="186"/>
                    <a:pt x="10" y="186"/>
                    <a:pt x="10" y="186"/>
                  </a:cubicBezTo>
                  <a:cubicBezTo>
                    <a:pt x="11" y="181"/>
                    <a:pt x="11" y="176"/>
                    <a:pt x="13" y="171"/>
                  </a:cubicBezTo>
                  <a:cubicBezTo>
                    <a:pt x="5" y="170"/>
                    <a:pt x="5" y="170"/>
                    <a:pt x="5" y="170"/>
                  </a:cubicBezTo>
                  <a:close/>
                  <a:moveTo>
                    <a:pt x="11" y="147"/>
                  </a:moveTo>
                  <a:cubicBezTo>
                    <a:pt x="9" y="152"/>
                    <a:pt x="8" y="157"/>
                    <a:pt x="7" y="162"/>
                  </a:cubicBezTo>
                  <a:cubicBezTo>
                    <a:pt x="14" y="164"/>
                    <a:pt x="14" y="164"/>
                    <a:pt x="14" y="164"/>
                  </a:cubicBezTo>
                  <a:cubicBezTo>
                    <a:pt x="15" y="159"/>
                    <a:pt x="17" y="154"/>
                    <a:pt x="18" y="150"/>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4881563" y="3425825"/>
              <a:ext cx="179388" cy="17938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5076825" y="3425825"/>
              <a:ext cx="179388" cy="17938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4881563" y="3621088"/>
              <a:ext cx="179388" cy="1809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4"/>
            <p:cNvSpPr>
              <a:spLocks noChangeArrowheads="1"/>
            </p:cNvSpPr>
            <p:nvPr/>
          </p:nvSpPr>
          <p:spPr bwMode="auto">
            <a:xfrm>
              <a:off x="5076825" y="3621088"/>
              <a:ext cx="179388" cy="1809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5"/>
            <p:cNvSpPr>
              <a:spLocks noEditPoints="1"/>
            </p:cNvSpPr>
            <p:nvPr/>
          </p:nvSpPr>
          <p:spPr bwMode="auto">
            <a:xfrm>
              <a:off x="5407025" y="3154363"/>
              <a:ext cx="269875" cy="857250"/>
            </a:xfrm>
            <a:custGeom>
              <a:avLst/>
              <a:gdLst>
                <a:gd name="T0" fmla="*/ 72 w 72"/>
                <a:gd name="T1" fmla="*/ 8 h 228"/>
                <a:gd name="T2" fmla="*/ 66 w 72"/>
                <a:gd name="T3" fmla="*/ 1 h 228"/>
                <a:gd name="T4" fmla="*/ 49 w 72"/>
                <a:gd name="T5" fmla="*/ 18 h 228"/>
                <a:gd name="T6" fmla="*/ 58 w 72"/>
                <a:gd name="T7" fmla="*/ 3 h 228"/>
                <a:gd name="T8" fmla="*/ 49 w 72"/>
                <a:gd name="T9" fmla="*/ 18 h 228"/>
                <a:gd name="T10" fmla="*/ 45 w 72"/>
                <a:gd name="T11" fmla="*/ 23 h 228"/>
                <a:gd name="T12" fmla="*/ 33 w 72"/>
                <a:gd name="T13" fmla="*/ 35 h 228"/>
                <a:gd name="T14" fmla="*/ 40 w 72"/>
                <a:gd name="T15" fmla="*/ 58 h 228"/>
                <a:gd name="T16" fmla="*/ 32 w 72"/>
                <a:gd name="T17" fmla="*/ 43 h 228"/>
                <a:gd name="T18" fmla="*/ 40 w 72"/>
                <a:gd name="T19" fmla="*/ 58 h 228"/>
                <a:gd name="T20" fmla="*/ 40 w 72"/>
                <a:gd name="T21" fmla="*/ 78 h 228"/>
                <a:gd name="T22" fmla="*/ 32 w 72"/>
                <a:gd name="T23" fmla="*/ 65 h 228"/>
                <a:gd name="T24" fmla="*/ 32 w 72"/>
                <a:gd name="T25" fmla="*/ 80 h 228"/>
                <a:gd name="T26" fmla="*/ 30 w 72"/>
                <a:gd name="T27" fmla="*/ 104 h 228"/>
                <a:gd name="T28" fmla="*/ 31 w 72"/>
                <a:gd name="T29" fmla="*/ 87 h 228"/>
                <a:gd name="T30" fmla="*/ 30 w 72"/>
                <a:gd name="T31" fmla="*/ 104 h 228"/>
                <a:gd name="T32" fmla="*/ 24 w 72"/>
                <a:gd name="T33" fmla="*/ 110 h 228"/>
                <a:gd name="T34" fmla="*/ 8 w 72"/>
                <a:gd name="T35" fmla="*/ 110 h 228"/>
                <a:gd name="T36" fmla="*/ 15 w 72"/>
                <a:gd name="T37" fmla="*/ 114 h 228"/>
                <a:gd name="T38" fmla="*/ 0 w 72"/>
                <a:gd name="T39" fmla="*/ 118 h 228"/>
                <a:gd name="T40" fmla="*/ 1 w 72"/>
                <a:gd name="T41" fmla="*/ 110 h 228"/>
                <a:gd name="T42" fmla="*/ 0 w 72"/>
                <a:gd name="T43" fmla="*/ 118 h 228"/>
                <a:gd name="T44" fmla="*/ 15 w 72"/>
                <a:gd name="T45" fmla="*/ 114 h 228"/>
                <a:gd name="T46" fmla="*/ 23 w 72"/>
                <a:gd name="T47" fmla="*/ 118 h 228"/>
                <a:gd name="T48" fmla="*/ 28 w 72"/>
                <a:gd name="T49" fmla="*/ 134 h 228"/>
                <a:gd name="T50" fmla="*/ 40 w 72"/>
                <a:gd name="T51" fmla="*/ 154 h 228"/>
                <a:gd name="T52" fmla="*/ 38 w 72"/>
                <a:gd name="T53" fmla="*/ 137 h 228"/>
                <a:gd name="T54" fmla="*/ 32 w 72"/>
                <a:gd name="T55" fmla="*/ 150 h 228"/>
                <a:gd name="T56" fmla="*/ 40 w 72"/>
                <a:gd name="T57" fmla="*/ 154 h 228"/>
                <a:gd name="T58" fmla="*/ 40 w 72"/>
                <a:gd name="T59" fmla="*/ 161 h 228"/>
                <a:gd name="T60" fmla="*/ 32 w 72"/>
                <a:gd name="T61" fmla="*/ 177 h 228"/>
                <a:gd name="T62" fmla="*/ 41 w 72"/>
                <a:gd name="T63" fmla="*/ 198 h 228"/>
                <a:gd name="T64" fmla="*/ 40 w 72"/>
                <a:gd name="T65" fmla="*/ 184 h 228"/>
                <a:gd name="T66" fmla="*/ 32 w 72"/>
                <a:gd name="T67" fmla="*/ 189 h 228"/>
                <a:gd name="T68" fmla="*/ 41 w 72"/>
                <a:gd name="T69" fmla="*/ 198 h 228"/>
                <a:gd name="T70" fmla="*/ 44 w 72"/>
                <a:gd name="T71" fmla="*/ 204 h 228"/>
                <a:gd name="T72" fmla="*/ 48 w 72"/>
                <a:gd name="T73" fmla="*/ 221 h 228"/>
                <a:gd name="T74" fmla="*/ 72 w 72"/>
                <a:gd name="T75" fmla="*/ 221 h 228"/>
                <a:gd name="T76" fmla="*/ 56 w 72"/>
                <a:gd name="T77" fmla="*/ 225 h 228"/>
                <a:gd name="T78" fmla="*/ 72 w 72"/>
                <a:gd name="T79" fmla="*/ 22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228">
                  <a:moveTo>
                    <a:pt x="67" y="8"/>
                  </a:moveTo>
                  <a:cubicBezTo>
                    <a:pt x="69" y="8"/>
                    <a:pt x="70" y="8"/>
                    <a:pt x="72" y="8"/>
                  </a:cubicBezTo>
                  <a:cubicBezTo>
                    <a:pt x="72" y="0"/>
                    <a:pt x="72" y="0"/>
                    <a:pt x="72" y="0"/>
                  </a:cubicBezTo>
                  <a:cubicBezTo>
                    <a:pt x="70" y="0"/>
                    <a:pt x="68" y="0"/>
                    <a:pt x="66" y="1"/>
                  </a:cubicBezTo>
                  <a:lnTo>
                    <a:pt x="67" y="8"/>
                  </a:lnTo>
                  <a:close/>
                  <a:moveTo>
                    <a:pt x="49" y="18"/>
                  </a:moveTo>
                  <a:cubicBezTo>
                    <a:pt x="52" y="14"/>
                    <a:pt x="56" y="12"/>
                    <a:pt x="60" y="10"/>
                  </a:cubicBezTo>
                  <a:cubicBezTo>
                    <a:pt x="58" y="3"/>
                    <a:pt x="58" y="3"/>
                    <a:pt x="58" y="3"/>
                  </a:cubicBezTo>
                  <a:cubicBezTo>
                    <a:pt x="52" y="5"/>
                    <a:pt x="48" y="8"/>
                    <a:pt x="44" y="12"/>
                  </a:cubicBezTo>
                  <a:cubicBezTo>
                    <a:pt x="49" y="18"/>
                    <a:pt x="49" y="18"/>
                    <a:pt x="49" y="18"/>
                  </a:cubicBezTo>
                  <a:close/>
                  <a:moveTo>
                    <a:pt x="40" y="36"/>
                  </a:moveTo>
                  <a:cubicBezTo>
                    <a:pt x="41" y="31"/>
                    <a:pt x="43" y="27"/>
                    <a:pt x="45" y="23"/>
                  </a:cubicBezTo>
                  <a:cubicBezTo>
                    <a:pt x="38" y="19"/>
                    <a:pt x="38" y="19"/>
                    <a:pt x="38" y="19"/>
                  </a:cubicBezTo>
                  <a:cubicBezTo>
                    <a:pt x="35" y="23"/>
                    <a:pt x="33" y="29"/>
                    <a:pt x="33" y="35"/>
                  </a:cubicBezTo>
                  <a:lnTo>
                    <a:pt x="40" y="36"/>
                  </a:lnTo>
                  <a:close/>
                  <a:moveTo>
                    <a:pt x="40" y="58"/>
                  </a:moveTo>
                  <a:cubicBezTo>
                    <a:pt x="40" y="43"/>
                    <a:pt x="40" y="43"/>
                    <a:pt x="40" y="43"/>
                  </a:cubicBezTo>
                  <a:cubicBezTo>
                    <a:pt x="32" y="43"/>
                    <a:pt x="32" y="43"/>
                    <a:pt x="32" y="43"/>
                  </a:cubicBezTo>
                  <a:cubicBezTo>
                    <a:pt x="32" y="58"/>
                    <a:pt x="32" y="58"/>
                    <a:pt x="32" y="58"/>
                  </a:cubicBezTo>
                  <a:lnTo>
                    <a:pt x="40" y="58"/>
                  </a:lnTo>
                  <a:close/>
                  <a:moveTo>
                    <a:pt x="40" y="81"/>
                  </a:moveTo>
                  <a:cubicBezTo>
                    <a:pt x="40" y="80"/>
                    <a:pt x="40" y="79"/>
                    <a:pt x="40" y="78"/>
                  </a:cubicBezTo>
                  <a:cubicBezTo>
                    <a:pt x="40" y="65"/>
                    <a:pt x="40" y="65"/>
                    <a:pt x="40" y="65"/>
                  </a:cubicBezTo>
                  <a:cubicBezTo>
                    <a:pt x="32" y="65"/>
                    <a:pt x="32" y="65"/>
                    <a:pt x="32" y="65"/>
                  </a:cubicBezTo>
                  <a:cubicBezTo>
                    <a:pt x="32" y="78"/>
                    <a:pt x="32" y="78"/>
                    <a:pt x="32" y="78"/>
                  </a:cubicBezTo>
                  <a:cubicBezTo>
                    <a:pt x="32" y="79"/>
                    <a:pt x="32" y="80"/>
                    <a:pt x="32" y="80"/>
                  </a:cubicBezTo>
                  <a:cubicBezTo>
                    <a:pt x="40" y="81"/>
                    <a:pt x="40" y="81"/>
                    <a:pt x="40" y="81"/>
                  </a:cubicBezTo>
                  <a:close/>
                  <a:moveTo>
                    <a:pt x="30" y="104"/>
                  </a:moveTo>
                  <a:cubicBezTo>
                    <a:pt x="34" y="100"/>
                    <a:pt x="37" y="95"/>
                    <a:pt x="38" y="89"/>
                  </a:cubicBezTo>
                  <a:cubicBezTo>
                    <a:pt x="31" y="87"/>
                    <a:pt x="31" y="87"/>
                    <a:pt x="31" y="87"/>
                  </a:cubicBezTo>
                  <a:cubicBezTo>
                    <a:pt x="30" y="92"/>
                    <a:pt x="27" y="96"/>
                    <a:pt x="25" y="99"/>
                  </a:cubicBezTo>
                  <a:lnTo>
                    <a:pt x="30" y="104"/>
                  </a:lnTo>
                  <a:close/>
                  <a:moveTo>
                    <a:pt x="9" y="117"/>
                  </a:moveTo>
                  <a:cubicBezTo>
                    <a:pt x="15" y="116"/>
                    <a:pt x="20" y="113"/>
                    <a:pt x="24" y="110"/>
                  </a:cubicBezTo>
                  <a:cubicBezTo>
                    <a:pt x="20" y="104"/>
                    <a:pt x="20" y="104"/>
                    <a:pt x="20" y="104"/>
                  </a:cubicBezTo>
                  <a:cubicBezTo>
                    <a:pt x="16" y="106"/>
                    <a:pt x="12" y="108"/>
                    <a:pt x="8" y="110"/>
                  </a:cubicBezTo>
                  <a:cubicBezTo>
                    <a:pt x="9" y="117"/>
                    <a:pt x="9" y="117"/>
                    <a:pt x="9" y="117"/>
                  </a:cubicBezTo>
                  <a:close/>
                  <a:moveTo>
                    <a:pt x="15" y="114"/>
                  </a:moveTo>
                  <a:cubicBezTo>
                    <a:pt x="11" y="112"/>
                    <a:pt x="5" y="110"/>
                    <a:pt x="0" y="110"/>
                  </a:cubicBezTo>
                  <a:cubicBezTo>
                    <a:pt x="0" y="118"/>
                    <a:pt x="0" y="118"/>
                    <a:pt x="0" y="118"/>
                  </a:cubicBezTo>
                  <a:cubicBezTo>
                    <a:pt x="1" y="118"/>
                    <a:pt x="1" y="118"/>
                    <a:pt x="1" y="118"/>
                  </a:cubicBezTo>
                  <a:cubicBezTo>
                    <a:pt x="1" y="110"/>
                    <a:pt x="1" y="110"/>
                    <a:pt x="1" y="110"/>
                  </a:cubicBezTo>
                  <a:cubicBezTo>
                    <a:pt x="0" y="110"/>
                    <a:pt x="0" y="110"/>
                    <a:pt x="0" y="110"/>
                  </a:cubicBezTo>
                  <a:cubicBezTo>
                    <a:pt x="0" y="118"/>
                    <a:pt x="0" y="118"/>
                    <a:pt x="0" y="118"/>
                  </a:cubicBezTo>
                  <a:cubicBezTo>
                    <a:pt x="4" y="118"/>
                    <a:pt x="9" y="119"/>
                    <a:pt x="12" y="121"/>
                  </a:cubicBezTo>
                  <a:cubicBezTo>
                    <a:pt x="15" y="114"/>
                    <a:pt x="15" y="114"/>
                    <a:pt x="15" y="114"/>
                  </a:cubicBezTo>
                  <a:close/>
                  <a:moveTo>
                    <a:pt x="34" y="130"/>
                  </a:moveTo>
                  <a:cubicBezTo>
                    <a:pt x="31" y="125"/>
                    <a:pt x="27" y="121"/>
                    <a:pt x="23" y="118"/>
                  </a:cubicBezTo>
                  <a:cubicBezTo>
                    <a:pt x="18" y="124"/>
                    <a:pt x="18" y="124"/>
                    <a:pt x="18" y="124"/>
                  </a:cubicBezTo>
                  <a:cubicBezTo>
                    <a:pt x="22" y="127"/>
                    <a:pt x="25" y="130"/>
                    <a:pt x="28" y="134"/>
                  </a:cubicBezTo>
                  <a:cubicBezTo>
                    <a:pt x="34" y="130"/>
                    <a:pt x="34" y="130"/>
                    <a:pt x="34" y="130"/>
                  </a:cubicBezTo>
                  <a:close/>
                  <a:moveTo>
                    <a:pt x="40" y="154"/>
                  </a:moveTo>
                  <a:cubicBezTo>
                    <a:pt x="40" y="150"/>
                    <a:pt x="40" y="150"/>
                    <a:pt x="40" y="150"/>
                  </a:cubicBezTo>
                  <a:cubicBezTo>
                    <a:pt x="40" y="146"/>
                    <a:pt x="39" y="142"/>
                    <a:pt x="38" y="137"/>
                  </a:cubicBezTo>
                  <a:cubicBezTo>
                    <a:pt x="30" y="140"/>
                    <a:pt x="30" y="140"/>
                    <a:pt x="30" y="140"/>
                  </a:cubicBezTo>
                  <a:cubicBezTo>
                    <a:pt x="32" y="143"/>
                    <a:pt x="32" y="147"/>
                    <a:pt x="32" y="150"/>
                  </a:cubicBezTo>
                  <a:cubicBezTo>
                    <a:pt x="32" y="154"/>
                    <a:pt x="32" y="154"/>
                    <a:pt x="32" y="154"/>
                  </a:cubicBezTo>
                  <a:cubicBezTo>
                    <a:pt x="40" y="154"/>
                    <a:pt x="40" y="154"/>
                    <a:pt x="40" y="154"/>
                  </a:cubicBezTo>
                  <a:close/>
                  <a:moveTo>
                    <a:pt x="40" y="177"/>
                  </a:moveTo>
                  <a:cubicBezTo>
                    <a:pt x="40" y="161"/>
                    <a:pt x="40" y="161"/>
                    <a:pt x="40" y="161"/>
                  </a:cubicBezTo>
                  <a:cubicBezTo>
                    <a:pt x="32" y="161"/>
                    <a:pt x="32" y="161"/>
                    <a:pt x="32" y="161"/>
                  </a:cubicBezTo>
                  <a:cubicBezTo>
                    <a:pt x="32" y="177"/>
                    <a:pt x="32" y="177"/>
                    <a:pt x="32" y="177"/>
                  </a:cubicBezTo>
                  <a:lnTo>
                    <a:pt x="40" y="177"/>
                  </a:lnTo>
                  <a:close/>
                  <a:moveTo>
                    <a:pt x="41" y="198"/>
                  </a:moveTo>
                  <a:cubicBezTo>
                    <a:pt x="40" y="195"/>
                    <a:pt x="40" y="192"/>
                    <a:pt x="40" y="189"/>
                  </a:cubicBezTo>
                  <a:cubicBezTo>
                    <a:pt x="40" y="184"/>
                    <a:pt x="40" y="184"/>
                    <a:pt x="40" y="184"/>
                  </a:cubicBezTo>
                  <a:cubicBezTo>
                    <a:pt x="32" y="184"/>
                    <a:pt x="32" y="184"/>
                    <a:pt x="32" y="184"/>
                  </a:cubicBezTo>
                  <a:cubicBezTo>
                    <a:pt x="32" y="189"/>
                    <a:pt x="32" y="189"/>
                    <a:pt x="32" y="189"/>
                  </a:cubicBezTo>
                  <a:cubicBezTo>
                    <a:pt x="32" y="193"/>
                    <a:pt x="33" y="197"/>
                    <a:pt x="34" y="200"/>
                  </a:cubicBezTo>
                  <a:cubicBezTo>
                    <a:pt x="41" y="198"/>
                    <a:pt x="41" y="198"/>
                    <a:pt x="41" y="198"/>
                  </a:cubicBezTo>
                  <a:close/>
                  <a:moveTo>
                    <a:pt x="53" y="214"/>
                  </a:moveTo>
                  <a:cubicBezTo>
                    <a:pt x="49" y="212"/>
                    <a:pt x="46" y="208"/>
                    <a:pt x="44" y="204"/>
                  </a:cubicBezTo>
                  <a:cubicBezTo>
                    <a:pt x="37" y="208"/>
                    <a:pt x="37" y="208"/>
                    <a:pt x="37" y="208"/>
                  </a:cubicBezTo>
                  <a:cubicBezTo>
                    <a:pt x="40" y="213"/>
                    <a:pt x="44" y="217"/>
                    <a:pt x="48" y="221"/>
                  </a:cubicBezTo>
                  <a:cubicBezTo>
                    <a:pt x="53" y="214"/>
                    <a:pt x="53" y="214"/>
                    <a:pt x="53" y="214"/>
                  </a:cubicBezTo>
                  <a:close/>
                  <a:moveTo>
                    <a:pt x="72" y="221"/>
                  </a:moveTo>
                  <a:cubicBezTo>
                    <a:pt x="67" y="221"/>
                    <a:pt x="63" y="220"/>
                    <a:pt x="59" y="218"/>
                  </a:cubicBezTo>
                  <a:cubicBezTo>
                    <a:pt x="56" y="225"/>
                    <a:pt x="56" y="225"/>
                    <a:pt x="56" y="225"/>
                  </a:cubicBezTo>
                  <a:cubicBezTo>
                    <a:pt x="61" y="227"/>
                    <a:pt x="66" y="228"/>
                    <a:pt x="72" y="228"/>
                  </a:cubicBezTo>
                  <a:cubicBezTo>
                    <a:pt x="72" y="221"/>
                    <a:pt x="72" y="221"/>
                    <a:pt x="72" y="221"/>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4" name="Group 93"/>
          <p:cNvGrpSpPr/>
          <p:nvPr/>
        </p:nvGrpSpPr>
        <p:grpSpPr>
          <a:xfrm>
            <a:off x="7961313" y="2755900"/>
            <a:ext cx="2259012" cy="2235200"/>
            <a:chOff x="7961313" y="2755900"/>
            <a:chExt cx="2259012" cy="2235200"/>
          </a:xfrm>
        </p:grpSpPr>
        <p:sp>
          <p:nvSpPr>
            <p:cNvPr id="8" name="Freeform 7"/>
            <p:cNvSpPr>
              <a:spLocks noEditPoints="1"/>
            </p:cNvSpPr>
            <p:nvPr/>
          </p:nvSpPr>
          <p:spPr bwMode="auto">
            <a:xfrm>
              <a:off x="8486775" y="2755900"/>
              <a:ext cx="1651000" cy="1655763"/>
            </a:xfrm>
            <a:custGeom>
              <a:avLst/>
              <a:gdLst>
                <a:gd name="T0" fmla="*/ 392 w 440"/>
                <a:gd name="T1" fmla="*/ 429 h 440"/>
                <a:gd name="T2" fmla="*/ 399 w 440"/>
                <a:gd name="T3" fmla="*/ 427 h 440"/>
                <a:gd name="T4" fmla="*/ 423 w 440"/>
                <a:gd name="T5" fmla="*/ 419 h 440"/>
                <a:gd name="T6" fmla="*/ 440 w 440"/>
                <a:gd name="T7" fmla="*/ 381 h 440"/>
                <a:gd name="T8" fmla="*/ 432 w 440"/>
                <a:gd name="T9" fmla="*/ 358 h 440"/>
                <a:gd name="T10" fmla="*/ 432 w 440"/>
                <a:gd name="T11" fmla="*/ 310 h 440"/>
                <a:gd name="T12" fmla="*/ 432 w 440"/>
                <a:gd name="T13" fmla="*/ 303 h 440"/>
                <a:gd name="T14" fmla="*/ 440 w 440"/>
                <a:gd name="T15" fmla="*/ 279 h 440"/>
                <a:gd name="T16" fmla="*/ 440 w 440"/>
                <a:gd name="T17" fmla="*/ 240 h 440"/>
                <a:gd name="T18" fmla="*/ 432 w 440"/>
                <a:gd name="T19" fmla="*/ 216 h 440"/>
                <a:gd name="T20" fmla="*/ 432 w 440"/>
                <a:gd name="T21" fmla="*/ 169 h 440"/>
                <a:gd name="T22" fmla="*/ 432 w 440"/>
                <a:gd name="T23" fmla="*/ 161 h 440"/>
                <a:gd name="T24" fmla="*/ 440 w 440"/>
                <a:gd name="T25" fmla="*/ 138 h 440"/>
                <a:gd name="T26" fmla="*/ 440 w 440"/>
                <a:gd name="T27" fmla="*/ 98 h 440"/>
                <a:gd name="T28" fmla="*/ 432 w 440"/>
                <a:gd name="T29" fmla="*/ 75 h 440"/>
                <a:gd name="T30" fmla="*/ 438 w 440"/>
                <a:gd name="T31" fmla="*/ 51 h 440"/>
                <a:gd name="T32" fmla="*/ 421 w 440"/>
                <a:gd name="T33" fmla="*/ 33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5 h 440"/>
                <a:gd name="T72" fmla="*/ 0 w 440"/>
                <a:gd name="T73" fmla="*/ 144 h 440"/>
                <a:gd name="T74" fmla="*/ 8 w 440"/>
                <a:gd name="T75" fmla="*/ 167 h 440"/>
                <a:gd name="T76" fmla="*/ 8 w 440"/>
                <a:gd name="T77" fmla="*/ 215 h 440"/>
                <a:gd name="T78" fmla="*/ 8 w 440"/>
                <a:gd name="T79" fmla="*/ 222 h 440"/>
                <a:gd name="T80" fmla="*/ 0 w 440"/>
                <a:gd name="T81" fmla="*/ 246 h 440"/>
                <a:gd name="T82" fmla="*/ 0 w 440"/>
                <a:gd name="T83" fmla="*/ 285 h 440"/>
                <a:gd name="T84" fmla="*/ 8 w 440"/>
                <a:gd name="T85" fmla="*/ 309 h 440"/>
                <a:gd name="T86" fmla="*/ 8 w 440"/>
                <a:gd name="T87" fmla="*/ 356 h 440"/>
                <a:gd name="T88" fmla="*/ 8 w 440"/>
                <a:gd name="T89" fmla="*/ 374 h 440"/>
                <a:gd name="T90" fmla="*/ 14 w 440"/>
                <a:gd name="T91" fmla="*/ 400 h 440"/>
                <a:gd name="T92" fmla="*/ 18 w 440"/>
                <a:gd name="T93" fmla="*/ 406 h 440"/>
                <a:gd name="T94" fmla="*/ 29 w 440"/>
                <a:gd name="T95" fmla="*/ 429 h 440"/>
                <a:gd name="T96" fmla="*/ 51 w 440"/>
                <a:gd name="T97" fmla="*/ 439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40"/>
                    <a:pt x="390" y="439"/>
                    <a:pt x="395" y="437"/>
                  </a:cubicBezTo>
                  <a:cubicBezTo>
                    <a:pt x="392" y="429"/>
                    <a:pt x="392" y="429"/>
                    <a:pt x="392" y="429"/>
                  </a:cubicBezTo>
                  <a:close/>
                  <a:moveTo>
                    <a:pt x="411" y="419"/>
                  </a:moveTo>
                  <a:cubicBezTo>
                    <a:pt x="408" y="422"/>
                    <a:pt x="404" y="424"/>
                    <a:pt x="399" y="427"/>
                  </a:cubicBezTo>
                  <a:cubicBezTo>
                    <a:pt x="403" y="434"/>
                    <a:pt x="403" y="434"/>
                    <a:pt x="403" y="434"/>
                  </a:cubicBezTo>
                  <a:cubicBezTo>
                    <a:pt x="408" y="431"/>
                    <a:pt x="412" y="428"/>
                    <a:pt x="417" y="425"/>
                  </a:cubicBezTo>
                  <a:cubicBezTo>
                    <a:pt x="411" y="419"/>
                    <a:pt x="411" y="419"/>
                    <a:pt x="411" y="419"/>
                  </a:cubicBezTo>
                  <a:close/>
                  <a:moveTo>
                    <a:pt x="425" y="402"/>
                  </a:moveTo>
                  <a:cubicBezTo>
                    <a:pt x="423" y="406"/>
                    <a:pt x="420" y="410"/>
                    <a:pt x="417" y="413"/>
                  </a:cubicBezTo>
                  <a:cubicBezTo>
                    <a:pt x="423" y="419"/>
                    <a:pt x="423" y="419"/>
                    <a:pt x="423" y="419"/>
                  </a:cubicBezTo>
                  <a:cubicBezTo>
                    <a:pt x="426" y="415"/>
                    <a:pt x="430" y="410"/>
                    <a:pt x="432" y="405"/>
                  </a:cubicBezTo>
                  <a:cubicBezTo>
                    <a:pt x="425" y="402"/>
                    <a:pt x="425" y="402"/>
                    <a:pt x="425" y="402"/>
                  </a:cubicBezTo>
                  <a:close/>
                  <a:moveTo>
                    <a:pt x="432" y="381"/>
                  </a:moveTo>
                  <a:cubicBezTo>
                    <a:pt x="431" y="386"/>
                    <a:pt x="430" y="390"/>
                    <a:pt x="428" y="395"/>
                  </a:cubicBezTo>
                  <a:cubicBezTo>
                    <a:pt x="436" y="398"/>
                    <a:pt x="436" y="398"/>
                    <a:pt x="436" y="398"/>
                  </a:cubicBezTo>
                  <a:cubicBezTo>
                    <a:pt x="438" y="393"/>
                    <a:pt x="439" y="387"/>
                    <a:pt x="440" y="381"/>
                  </a:cubicBezTo>
                  <a:cubicBezTo>
                    <a:pt x="432" y="381"/>
                    <a:pt x="432" y="381"/>
                    <a:pt x="432" y="381"/>
                  </a:cubicBezTo>
                  <a:close/>
                  <a:moveTo>
                    <a:pt x="432" y="358"/>
                  </a:moveTo>
                  <a:cubicBezTo>
                    <a:pt x="432" y="373"/>
                    <a:pt x="432" y="373"/>
                    <a:pt x="432" y="373"/>
                  </a:cubicBezTo>
                  <a:cubicBezTo>
                    <a:pt x="440" y="373"/>
                    <a:pt x="440" y="373"/>
                    <a:pt x="440" y="373"/>
                  </a:cubicBezTo>
                  <a:cubicBezTo>
                    <a:pt x="440" y="358"/>
                    <a:pt x="440" y="358"/>
                    <a:pt x="440" y="358"/>
                  </a:cubicBezTo>
                  <a:lnTo>
                    <a:pt x="432" y="358"/>
                  </a:lnTo>
                  <a:close/>
                  <a:moveTo>
                    <a:pt x="432" y="334"/>
                  </a:moveTo>
                  <a:cubicBezTo>
                    <a:pt x="432" y="350"/>
                    <a:pt x="432" y="350"/>
                    <a:pt x="432" y="350"/>
                  </a:cubicBezTo>
                  <a:cubicBezTo>
                    <a:pt x="440" y="350"/>
                    <a:pt x="440" y="350"/>
                    <a:pt x="440" y="350"/>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3"/>
                    <a:pt x="432" y="303"/>
                    <a:pt x="432" y="303"/>
                  </a:cubicBezTo>
                  <a:cubicBezTo>
                    <a:pt x="440" y="303"/>
                    <a:pt x="440" y="303"/>
                    <a:pt x="440" y="303"/>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40"/>
                  </a:moveTo>
                  <a:cubicBezTo>
                    <a:pt x="432" y="255"/>
                    <a:pt x="432" y="255"/>
                    <a:pt x="432" y="255"/>
                  </a:cubicBezTo>
                  <a:cubicBezTo>
                    <a:pt x="440" y="255"/>
                    <a:pt x="440" y="255"/>
                    <a:pt x="440" y="255"/>
                  </a:cubicBezTo>
                  <a:cubicBezTo>
                    <a:pt x="440" y="240"/>
                    <a:pt x="440" y="240"/>
                    <a:pt x="440" y="240"/>
                  </a:cubicBezTo>
                  <a:lnTo>
                    <a:pt x="432" y="240"/>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3"/>
                  </a:moveTo>
                  <a:cubicBezTo>
                    <a:pt x="432" y="208"/>
                    <a:pt x="432" y="208"/>
                    <a:pt x="432" y="208"/>
                  </a:cubicBezTo>
                  <a:cubicBezTo>
                    <a:pt x="440" y="208"/>
                    <a:pt x="440" y="208"/>
                    <a:pt x="440" y="208"/>
                  </a:cubicBezTo>
                  <a:cubicBezTo>
                    <a:pt x="440" y="193"/>
                    <a:pt x="440" y="193"/>
                    <a:pt x="440" y="193"/>
                  </a:cubicBezTo>
                  <a:lnTo>
                    <a:pt x="432" y="193"/>
                  </a:lnTo>
                  <a:close/>
                  <a:moveTo>
                    <a:pt x="432" y="169"/>
                  </a:moveTo>
                  <a:cubicBezTo>
                    <a:pt x="432" y="185"/>
                    <a:pt x="432" y="185"/>
                    <a:pt x="432" y="185"/>
                  </a:cubicBezTo>
                  <a:cubicBezTo>
                    <a:pt x="440" y="185"/>
                    <a:pt x="440" y="185"/>
                    <a:pt x="440" y="185"/>
                  </a:cubicBezTo>
                  <a:cubicBezTo>
                    <a:pt x="440" y="169"/>
                    <a:pt x="440" y="169"/>
                    <a:pt x="440" y="169"/>
                  </a:cubicBezTo>
                  <a:lnTo>
                    <a:pt x="432" y="169"/>
                  </a:lnTo>
                  <a:close/>
                  <a:moveTo>
                    <a:pt x="432" y="146"/>
                  </a:moveTo>
                  <a:cubicBezTo>
                    <a:pt x="432" y="161"/>
                    <a:pt x="432" y="161"/>
                    <a:pt x="432" y="161"/>
                  </a:cubicBezTo>
                  <a:cubicBezTo>
                    <a:pt x="440" y="161"/>
                    <a:pt x="440" y="161"/>
                    <a:pt x="440" y="161"/>
                  </a:cubicBezTo>
                  <a:cubicBezTo>
                    <a:pt x="440" y="146"/>
                    <a:pt x="440" y="146"/>
                    <a:pt x="440" y="146"/>
                  </a:cubicBezTo>
                  <a:lnTo>
                    <a:pt x="432" y="146"/>
                  </a:lnTo>
                  <a:close/>
                  <a:moveTo>
                    <a:pt x="432" y="122"/>
                  </a:moveTo>
                  <a:cubicBezTo>
                    <a:pt x="432" y="138"/>
                    <a:pt x="432" y="138"/>
                    <a:pt x="432" y="138"/>
                  </a:cubicBezTo>
                  <a:cubicBezTo>
                    <a:pt x="440" y="138"/>
                    <a:pt x="440" y="138"/>
                    <a:pt x="440" y="138"/>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1"/>
                    <a:pt x="432" y="91"/>
                    <a:pt x="432" y="91"/>
                  </a:cubicBezTo>
                  <a:cubicBezTo>
                    <a:pt x="440" y="91"/>
                    <a:pt x="440" y="91"/>
                    <a:pt x="440" y="91"/>
                  </a:cubicBezTo>
                  <a:cubicBezTo>
                    <a:pt x="440" y="75"/>
                    <a:pt x="440" y="75"/>
                    <a:pt x="440" y="75"/>
                  </a:cubicBezTo>
                  <a:lnTo>
                    <a:pt x="432" y="75"/>
                  </a:lnTo>
                  <a:close/>
                  <a:moveTo>
                    <a:pt x="430" y="52"/>
                  </a:moveTo>
                  <a:cubicBezTo>
                    <a:pt x="431" y="57"/>
                    <a:pt x="432" y="62"/>
                    <a:pt x="432" y="66"/>
                  </a:cubicBezTo>
                  <a:cubicBezTo>
                    <a:pt x="432" y="67"/>
                    <a:pt x="432" y="67"/>
                    <a:pt x="432" y="67"/>
                  </a:cubicBezTo>
                  <a:cubicBezTo>
                    <a:pt x="440" y="67"/>
                    <a:pt x="440" y="67"/>
                    <a:pt x="440" y="67"/>
                  </a:cubicBezTo>
                  <a:cubicBezTo>
                    <a:pt x="440" y="66"/>
                    <a:pt x="440" y="66"/>
                    <a:pt x="440" y="66"/>
                  </a:cubicBezTo>
                  <a:cubicBezTo>
                    <a:pt x="440" y="61"/>
                    <a:pt x="439" y="56"/>
                    <a:pt x="438" y="51"/>
                  </a:cubicBezTo>
                  <a:cubicBezTo>
                    <a:pt x="430" y="52"/>
                    <a:pt x="430" y="52"/>
                    <a:pt x="430" y="52"/>
                  </a:cubicBezTo>
                  <a:close/>
                  <a:moveTo>
                    <a:pt x="421" y="33"/>
                  </a:moveTo>
                  <a:cubicBezTo>
                    <a:pt x="424" y="37"/>
                    <a:pt x="426" y="41"/>
                    <a:pt x="428" y="45"/>
                  </a:cubicBezTo>
                  <a:cubicBezTo>
                    <a:pt x="436" y="43"/>
                    <a:pt x="436" y="43"/>
                    <a:pt x="436" y="43"/>
                  </a:cubicBezTo>
                  <a:cubicBezTo>
                    <a:pt x="434" y="37"/>
                    <a:pt x="431" y="32"/>
                    <a:pt x="428" y="28"/>
                  </a:cubicBezTo>
                  <a:cubicBezTo>
                    <a:pt x="421" y="33"/>
                    <a:pt x="421" y="33"/>
                    <a:pt x="421" y="33"/>
                  </a:cubicBezTo>
                  <a:close/>
                  <a:moveTo>
                    <a:pt x="405" y="18"/>
                  </a:moveTo>
                  <a:cubicBezTo>
                    <a:pt x="409" y="20"/>
                    <a:pt x="413" y="23"/>
                    <a:pt x="416" y="27"/>
                  </a:cubicBezTo>
                  <a:cubicBezTo>
                    <a:pt x="422" y="22"/>
                    <a:pt x="422" y="22"/>
                    <a:pt x="422" y="22"/>
                  </a:cubicBezTo>
                  <a:cubicBezTo>
                    <a:pt x="419" y="17"/>
                    <a:pt x="414" y="14"/>
                    <a:pt x="410" y="11"/>
                  </a:cubicBezTo>
                  <a:cubicBezTo>
                    <a:pt x="405" y="18"/>
                    <a:pt x="405" y="18"/>
                    <a:pt x="405" y="18"/>
                  </a:cubicBezTo>
                  <a:close/>
                  <a:moveTo>
                    <a:pt x="385" y="9"/>
                  </a:moveTo>
                  <a:cubicBezTo>
                    <a:pt x="390" y="10"/>
                    <a:pt x="394" y="12"/>
                    <a:pt x="399" y="14"/>
                  </a:cubicBezTo>
                  <a:cubicBezTo>
                    <a:pt x="402" y="7"/>
                    <a:pt x="402" y="7"/>
                    <a:pt x="402" y="7"/>
                  </a:cubicBezTo>
                  <a:cubicBezTo>
                    <a:pt x="397" y="4"/>
                    <a:pt x="392" y="3"/>
                    <a:pt x="386" y="2"/>
                  </a:cubicBezTo>
                  <a:lnTo>
                    <a:pt x="385" y="9"/>
                  </a:ln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9"/>
                    <a:pt x="63" y="8"/>
                    <a:pt x="66" y="8"/>
                  </a:cubicBezTo>
                  <a:cubicBezTo>
                    <a:pt x="72" y="8"/>
                    <a:pt x="72" y="8"/>
                    <a:pt x="72" y="8"/>
                  </a:cubicBezTo>
                  <a:cubicBezTo>
                    <a:pt x="72" y="0"/>
                    <a:pt x="72" y="0"/>
                    <a:pt x="72" y="0"/>
                  </a:cubicBezTo>
                  <a:cubicBezTo>
                    <a:pt x="66" y="0"/>
                    <a:pt x="66" y="0"/>
                    <a:pt x="66" y="0"/>
                  </a:cubicBezTo>
                  <a:cubicBezTo>
                    <a:pt x="62" y="0"/>
                    <a:pt x="59" y="1"/>
                    <a:pt x="55" y="1"/>
                  </a:cubicBezTo>
                  <a:cubicBezTo>
                    <a:pt x="57" y="9"/>
                    <a:pt x="57" y="9"/>
                    <a:pt x="57" y="9"/>
                  </a:cubicBezTo>
                  <a:close/>
                  <a:moveTo>
                    <a:pt x="36" y="17"/>
                  </a:moveTo>
                  <a:cubicBezTo>
                    <a:pt x="40" y="14"/>
                    <a:pt x="45" y="12"/>
                    <a:pt x="50" y="11"/>
                  </a:cubicBezTo>
                  <a:cubicBezTo>
                    <a:pt x="47" y="3"/>
                    <a:pt x="47" y="3"/>
                    <a:pt x="47" y="3"/>
                  </a:cubicBezTo>
                  <a:cubicBezTo>
                    <a:pt x="42" y="5"/>
                    <a:pt x="37" y="7"/>
                    <a:pt x="32" y="10"/>
                  </a:cubicBezTo>
                  <a:cubicBezTo>
                    <a:pt x="36" y="17"/>
                    <a:pt x="36" y="17"/>
                    <a:pt x="36" y="17"/>
                  </a:cubicBezTo>
                  <a:close/>
                  <a:moveTo>
                    <a:pt x="20" y="31"/>
                  </a:moveTo>
                  <a:cubicBezTo>
                    <a:pt x="23" y="27"/>
                    <a:pt x="26" y="24"/>
                    <a:pt x="30" y="21"/>
                  </a:cubicBezTo>
                  <a:cubicBezTo>
                    <a:pt x="25" y="15"/>
                    <a:pt x="25" y="15"/>
                    <a:pt x="25" y="15"/>
                  </a:cubicBezTo>
                  <a:cubicBezTo>
                    <a:pt x="21" y="18"/>
                    <a:pt x="17" y="22"/>
                    <a:pt x="13" y="26"/>
                  </a:cubicBezTo>
                  <a:cubicBezTo>
                    <a:pt x="20" y="31"/>
                    <a:pt x="20" y="31"/>
                    <a:pt x="20" y="31"/>
                  </a:cubicBezTo>
                  <a:close/>
                  <a:moveTo>
                    <a:pt x="10" y="51"/>
                  </a:moveTo>
                  <a:cubicBezTo>
                    <a:pt x="11" y="46"/>
                    <a:pt x="13" y="42"/>
                    <a:pt x="16" y="37"/>
                  </a:cubicBezTo>
                  <a:cubicBezTo>
                    <a:pt x="9" y="33"/>
                    <a:pt x="9" y="33"/>
                    <a:pt x="9" y="33"/>
                  </a:cubicBezTo>
                  <a:cubicBezTo>
                    <a:pt x="6" y="38"/>
                    <a:pt x="4" y="43"/>
                    <a:pt x="2" y="49"/>
                  </a:cubicBezTo>
                  <a:cubicBezTo>
                    <a:pt x="10" y="51"/>
                    <a:pt x="10" y="51"/>
                    <a:pt x="10" y="51"/>
                  </a:cubicBezTo>
                  <a:close/>
                  <a:moveTo>
                    <a:pt x="8" y="73"/>
                  </a:moveTo>
                  <a:cubicBezTo>
                    <a:pt x="8" y="66"/>
                    <a:pt x="8" y="66"/>
                    <a:pt x="8" y="66"/>
                  </a:cubicBezTo>
                  <a:cubicBezTo>
                    <a:pt x="8" y="64"/>
                    <a:pt x="8" y="61"/>
                    <a:pt x="9" y="58"/>
                  </a:cubicBezTo>
                  <a:cubicBezTo>
                    <a:pt x="1" y="57"/>
                    <a:pt x="1" y="57"/>
                    <a:pt x="1" y="57"/>
                  </a:cubicBezTo>
                  <a:cubicBezTo>
                    <a:pt x="0" y="60"/>
                    <a:pt x="0" y="63"/>
                    <a:pt x="0" y="66"/>
                  </a:cubicBezTo>
                  <a:cubicBezTo>
                    <a:pt x="0" y="73"/>
                    <a:pt x="0" y="73"/>
                    <a:pt x="0" y="73"/>
                  </a:cubicBezTo>
                  <a:cubicBezTo>
                    <a:pt x="8" y="73"/>
                    <a:pt x="8" y="73"/>
                    <a:pt x="8" y="73"/>
                  </a:cubicBezTo>
                  <a:close/>
                  <a:moveTo>
                    <a:pt x="8" y="97"/>
                  </a:moveTo>
                  <a:cubicBezTo>
                    <a:pt x="8" y="81"/>
                    <a:pt x="8" y="81"/>
                    <a:pt x="8" y="81"/>
                  </a:cubicBezTo>
                  <a:cubicBezTo>
                    <a:pt x="0" y="81"/>
                    <a:pt x="0" y="81"/>
                    <a:pt x="0" y="81"/>
                  </a:cubicBezTo>
                  <a:cubicBezTo>
                    <a:pt x="0" y="97"/>
                    <a:pt x="0" y="97"/>
                    <a:pt x="0" y="97"/>
                  </a:cubicBezTo>
                  <a:lnTo>
                    <a:pt x="8" y="97"/>
                  </a:lnTo>
                  <a:close/>
                  <a:moveTo>
                    <a:pt x="8" y="120"/>
                  </a:moveTo>
                  <a:cubicBezTo>
                    <a:pt x="8" y="105"/>
                    <a:pt x="8" y="105"/>
                    <a:pt x="8" y="105"/>
                  </a:cubicBezTo>
                  <a:cubicBezTo>
                    <a:pt x="0" y="105"/>
                    <a:pt x="0" y="105"/>
                    <a:pt x="0" y="105"/>
                  </a:cubicBezTo>
                  <a:cubicBezTo>
                    <a:pt x="0" y="120"/>
                    <a:pt x="0" y="120"/>
                    <a:pt x="0" y="120"/>
                  </a:cubicBezTo>
                  <a:lnTo>
                    <a:pt x="8" y="120"/>
                  </a:lnTo>
                  <a:close/>
                  <a:moveTo>
                    <a:pt x="8" y="144"/>
                  </a:moveTo>
                  <a:cubicBezTo>
                    <a:pt x="8" y="128"/>
                    <a:pt x="8" y="128"/>
                    <a:pt x="8" y="128"/>
                  </a:cubicBezTo>
                  <a:cubicBezTo>
                    <a:pt x="0" y="128"/>
                    <a:pt x="0" y="128"/>
                    <a:pt x="0" y="128"/>
                  </a:cubicBezTo>
                  <a:cubicBezTo>
                    <a:pt x="0" y="144"/>
                    <a:pt x="0" y="144"/>
                    <a:pt x="0" y="144"/>
                  </a:cubicBezTo>
                  <a:lnTo>
                    <a:pt x="8" y="144"/>
                  </a:lnTo>
                  <a:close/>
                  <a:moveTo>
                    <a:pt x="8" y="167"/>
                  </a:moveTo>
                  <a:cubicBezTo>
                    <a:pt x="8" y="152"/>
                    <a:pt x="8" y="152"/>
                    <a:pt x="8" y="152"/>
                  </a:cubicBezTo>
                  <a:cubicBezTo>
                    <a:pt x="0" y="152"/>
                    <a:pt x="0" y="152"/>
                    <a:pt x="0" y="152"/>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5"/>
                  </a:moveTo>
                  <a:cubicBezTo>
                    <a:pt x="8" y="199"/>
                    <a:pt x="8" y="199"/>
                    <a:pt x="8" y="199"/>
                  </a:cubicBezTo>
                  <a:cubicBezTo>
                    <a:pt x="0" y="199"/>
                    <a:pt x="0" y="199"/>
                    <a:pt x="0" y="199"/>
                  </a:cubicBezTo>
                  <a:cubicBezTo>
                    <a:pt x="0" y="215"/>
                    <a:pt x="0" y="215"/>
                    <a:pt x="0" y="215"/>
                  </a:cubicBezTo>
                  <a:lnTo>
                    <a:pt x="8" y="215"/>
                  </a:lnTo>
                  <a:close/>
                  <a:moveTo>
                    <a:pt x="8" y="238"/>
                  </a:moveTo>
                  <a:cubicBezTo>
                    <a:pt x="8" y="222"/>
                    <a:pt x="8" y="222"/>
                    <a:pt x="8" y="222"/>
                  </a:cubicBezTo>
                  <a:cubicBezTo>
                    <a:pt x="0" y="222"/>
                    <a:pt x="0" y="222"/>
                    <a:pt x="0" y="222"/>
                  </a:cubicBezTo>
                  <a:cubicBezTo>
                    <a:pt x="0" y="238"/>
                    <a:pt x="0" y="238"/>
                    <a:pt x="0" y="238"/>
                  </a:cubicBezTo>
                  <a:lnTo>
                    <a:pt x="8" y="238"/>
                  </a:lnTo>
                  <a:close/>
                  <a:moveTo>
                    <a:pt x="8" y="262"/>
                  </a:moveTo>
                  <a:cubicBezTo>
                    <a:pt x="8" y="246"/>
                    <a:pt x="8" y="246"/>
                    <a:pt x="8" y="246"/>
                  </a:cubicBezTo>
                  <a:cubicBezTo>
                    <a:pt x="0" y="246"/>
                    <a:pt x="0" y="246"/>
                    <a:pt x="0" y="246"/>
                  </a:cubicBezTo>
                  <a:cubicBezTo>
                    <a:pt x="0" y="262"/>
                    <a:pt x="0" y="262"/>
                    <a:pt x="0" y="262"/>
                  </a:cubicBezTo>
                  <a:lnTo>
                    <a:pt x="8" y="262"/>
                  </a:lnTo>
                  <a:close/>
                  <a:moveTo>
                    <a:pt x="8" y="285"/>
                  </a:moveTo>
                  <a:cubicBezTo>
                    <a:pt x="8" y="269"/>
                    <a:pt x="8" y="269"/>
                    <a:pt x="8" y="269"/>
                  </a:cubicBezTo>
                  <a:cubicBezTo>
                    <a:pt x="0" y="269"/>
                    <a:pt x="0" y="269"/>
                    <a:pt x="0" y="269"/>
                  </a:cubicBezTo>
                  <a:cubicBezTo>
                    <a:pt x="0" y="285"/>
                    <a:pt x="0" y="285"/>
                    <a:pt x="0" y="285"/>
                  </a:cubicBezTo>
                  <a:lnTo>
                    <a:pt x="8" y="285"/>
                  </a:lnTo>
                  <a:close/>
                  <a:moveTo>
                    <a:pt x="8" y="309"/>
                  </a:moveTo>
                  <a:cubicBezTo>
                    <a:pt x="8" y="293"/>
                    <a:pt x="8" y="293"/>
                    <a:pt x="8" y="293"/>
                  </a:cubicBezTo>
                  <a:cubicBezTo>
                    <a:pt x="0" y="293"/>
                    <a:pt x="0" y="293"/>
                    <a:pt x="0" y="293"/>
                  </a:cubicBezTo>
                  <a:cubicBezTo>
                    <a:pt x="0" y="309"/>
                    <a:pt x="0" y="309"/>
                    <a:pt x="0" y="309"/>
                  </a:cubicBezTo>
                  <a:lnTo>
                    <a:pt x="8" y="309"/>
                  </a:lnTo>
                  <a:close/>
                  <a:moveTo>
                    <a:pt x="8" y="332"/>
                  </a:moveTo>
                  <a:cubicBezTo>
                    <a:pt x="8" y="317"/>
                    <a:pt x="8" y="317"/>
                    <a:pt x="8" y="317"/>
                  </a:cubicBezTo>
                  <a:cubicBezTo>
                    <a:pt x="0" y="317"/>
                    <a:pt x="0" y="317"/>
                    <a:pt x="0" y="317"/>
                  </a:cubicBezTo>
                  <a:cubicBezTo>
                    <a:pt x="0" y="332"/>
                    <a:pt x="0" y="332"/>
                    <a:pt x="0" y="332"/>
                  </a:cubicBezTo>
                  <a:lnTo>
                    <a:pt x="8" y="332"/>
                  </a:lnTo>
                  <a:close/>
                  <a:moveTo>
                    <a:pt x="8" y="356"/>
                  </a:moveTo>
                  <a:cubicBezTo>
                    <a:pt x="8" y="340"/>
                    <a:pt x="8" y="340"/>
                    <a:pt x="8" y="340"/>
                  </a:cubicBezTo>
                  <a:cubicBezTo>
                    <a:pt x="0" y="340"/>
                    <a:pt x="0" y="340"/>
                    <a:pt x="0" y="340"/>
                  </a:cubicBezTo>
                  <a:cubicBezTo>
                    <a:pt x="0" y="356"/>
                    <a:pt x="0" y="356"/>
                    <a:pt x="0" y="356"/>
                  </a:cubicBezTo>
                  <a:lnTo>
                    <a:pt x="8" y="356"/>
                  </a:lnTo>
                  <a:close/>
                  <a:moveTo>
                    <a:pt x="8" y="379"/>
                  </a:moveTo>
                  <a:cubicBezTo>
                    <a:pt x="8" y="377"/>
                    <a:pt x="8" y="376"/>
                    <a:pt x="8" y="374"/>
                  </a:cubicBezTo>
                  <a:cubicBezTo>
                    <a:pt x="8" y="364"/>
                    <a:pt x="8" y="364"/>
                    <a:pt x="8" y="364"/>
                  </a:cubicBezTo>
                  <a:cubicBezTo>
                    <a:pt x="0" y="364"/>
                    <a:pt x="0" y="364"/>
                    <a:pt x="0" y="364"/>
                  </a:cubicBezTo>
                  <a:cubicBezTo>
                    <a:pt x="0" y="374"/>
                    <a:pt x="0" y="374"/>
                    <a:pt x="0" y="374"/>
                  </a:cubicBezTo>
                  <a:cubicBezTo>
                    <a:pt x="0" y="376"/>
                    <a:pt x="0" y="378"/>
                    <a:pt x="0" y="380"/>
                  </a:cubicBezTo>
                  <a:cubicBezTo>
                    <a:pt x="8" y="379"/>
                    <a:pt x="8" y="379"/>
                    <a:pt x="8" y="379"/>
                  </a:cubicBezTo>
                  <a:close/>
                  <a:moveTo>
                    <a:pt x="14" y="400"/>
                  </a:moveTo>
                  <a:cubicBezTo>
                    <a:pt x="12" y="396"/>
                    <a:pt x="10" y="391"/>
                    <a:pt x="9" y="386"/>
                  </a:cubicBezTo>
                  <a:cubicBezTo>
                    <a:pt x="1" y="388"/>
                    <a:pt x="1" y="388"/>
                    <a:pt x="1" y="388"/>
                  </a:cubicBezTo>
                  <a:cubicBezTo>
                    <a:pt x="3" y="393"/>
                    <a:pt x="4" y="399"/>
                    <a:pt x="7" y="404"/>
                  </a:cubicBezTo>
                  <a:cubicBezTo>
                    <a:pt x="14" y="400"/>
                    <a:pt x="14" y="400"/>
                    <a:pt x="14" y="400"/>
                  </a:cubicBezTo>
                  <a:close/>
                  <a:moveTo>
                    <a:pt x="27" y="418"/>
                  </a:moveTo>
                  <a:cubicBezTo>
                    <a:pt x="24" y="414"/>
                    <a:pt x="20" y="411"/>
                    <a:pt x="18" y="406"/>
                  </a:cubicBezTo>
                  <a:cubicBezTo>
                    <a:pt x="11" y="411"/>
                    <a:pt x="11" y="411"/>
                    <a:pt x="11" y="411"/>
                  </a:cubicBezTo>
                  <a:cubicBezTo>
                    <a:pt x="14" y="416"/>
                    <a:pt x="18" y="420"/>
                    <a:pt x="22" y="423"/>
                  </a:cubicBezTo>
                  <a:cubicBezTo>
                    <a:pt x="27" y="418"/>
                    <a:pt x="27" y="418"/>
                    <a:pt x="27" y="418"/>
                  </a:cubicBezTo>
                  <a:close/>
                  <a:moveTo>
                    <a:pt x="46" y="429"/>
                  </a:moveTo>
                  <a:cubicBezTo>
                    <a:pt x="41" y="427"/>
                    <a:pt x="37" y="425"/>
                    <a:pt x="33" y="422"/>
                  </a:cubicBezTo>
                  <a:cubicBezTo>
                    <a:pt x="29" y="429"/>
                    <a:pt x="29" y="429"/>
                    <a:pt x="29" y="429"/>
                  </a:cubicBezTo>
                  <a:cubicBezTo>
                    <a:pt x="33" y="432"/>
                    <a:pt x="38" y="434"/>
                    <a:pt x="43" y="436"/>
                  </a:cubicBezTo>
                  <a:cubicBezTo>
                    <a:pt x="46" y="429"/>
                    <a:pt x="46" y="429"/>
                    <a:pt x="46" y="429"/>
                  </a:cubicBezTo>
                  <a:close/>
                  <a:moveTo>
                    <a:pt x="68" y="432"/>
                  </a:moveTo>
                  <a:cubicBezTo>
                    <a:pt x="66" y="432"/>
                    <a:pt x="66" y="432"/>
                    <a:pt x="66" y="432"/>
                  </a:cubicBezTo>
                  <a:cubicBezTo>
                    <a:pt x="62" y="432"/>
                    <a:pt x="57" y="432"/>
                    <a:pt x="53" y="431"/>
                  </a:cubicBezTo>
                  <a:cubicBezTo>
                    <a:pt x="51" y="439"/>
                    <a:pt x="51" y="439"/>
                    <a:pt x="51" y="439"/>
                  </a:cubicBezTo>
                  <a:cubicBezTo>
                    <a:pt x="56" y="440"/>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8591550" y="4471988"/>
              <a:ext cx="2222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8704263"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759825" y="4471988"/>
              <a:ext cx="1460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s new shee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8907463" y="4686300"/>
              <a:ext cx="7699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with 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529763" y="4686300"/>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Rectangle 13"/>
            <p:cNvSpPr>
              <a:spLocks noChangeArrowheads="1"/>
            </p:cNvSpPr>
            <p:nvPr/>
          </p:nvSpPr>
          <p:spPr bwMode="auto">
            <a:xfrm>
              <a:off x="9598025" y="4686300"/>
              <a:ext cx="233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 name="Freeform 18"/>
            <p:cNvSpPr>
              <a:spLocks noEditPoints="1"/>
            </p:cNvSpPr>
            <p:nvPr/>
          </p:nvSpPr>
          <p:spPr bwMode="auto">
            <a:xfrm>
              <a:off x="7961313" y="3568700"/>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8234363"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4"/>
            <p:cNvSpPr>
              <a:spLocks noChangeArrowheads="1"/>
            </p:cNvSpPr>
            <p:nvPr/>
          </p:nvSpPr>
          <p:spPr bwMode="auto">
            <a:xfrm>
              <a:off x="8824913" y="3890963"/>
              <a:ext cx="171450" cy="2032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5"/>
            <p:cNvSpPr>
              <a:spLocks noChangeArrowheads="1"/>
            </p:cNvSpPr>
            <p:nvPr/>
          </p:nvSpPr>
          <p:spPr bwMode="auto">
            <a:xfrm>
              <a:off x="9091613" y="3756025"/>
              <a:ext cx="171450"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6"/>
            <p:cNvSpPr>
              <a:spLocks noChangeArrowheads="1"/>
            </p:cNvSpPr>
            <p:nvPr/>
          </p:nvSpPr>
          <p:spPr bwMode="auto">
            <a:xfrm>
              <a:off x="9361488" y="3975100"/>
              <a:ext cx="173038" cy="1190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Rectangle 67"/>
            <p:cNvSpPr>
              <a:spLocks noChangeArrowheads="1"/>
            </p:cNvSpPr>
            <p:nvPr/>
          </p:nvSpPr>
          <p:spPr bwMode="auto">
            <a:xfrm>
              <a:off x="9628188" y="3824288"/>
              <a:ext cx="173038" cy="269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8883650" y="3467100"/>
              <a:ext cx="868363" cy="338138"/>
            </a:xfrm>
            <a:custGeom>
              <a:avLst/>
              <a:gdLst>
                <a:gd name="T0" fmla="*/ 346 w 547"/>
                <a:gd name="T1" fmla="*/ 213 h 213"/>
                <a:gd name="T2" fmla="*/ 225 w 547"/>
                <a:gd name="T3" fmla="*/ 40 h 213"/>
                <a:gd name="T4" fmla="*/ 17 w 547"/>
                <a:gd name="T5" fmla="*/ 192 h 213"/>
                <a:gd name="T6" fmla="*/ 0 w 547"/>
                <a:gd name="T7" fmla="*/ 170 h 213"/>
                <a:gd name="T8" fmla="*/ 230 w 547"/>
                <a:gd name="T9" fmla="*/ 0 h 213"/>
                <a:gd name="T10" fmla="*/ 350 w 547"/>
                <a:gd name="T11" fmla="*/ 173 h 213"/>
                <a:gd name="T12" fmla="*/ 535 w 547"/>
                <a:gd name="T13" fmla="*/ 11 h 213"/>
                <a:gd name="T14" fmla="*/ 547 w 547"/>
                <a:gd name="T15" fmla="*/ 23 h 213"/>
                <a:gd name="T16" fmla="*/ 537 w 547"/>
                <a:gd name="T17" fmla="*/ 35 h 213"/>
                <a:gd name="T18" fmla="*/ 542 w 547"/>
                <a:gd name="T19" fmla="*/ 42 h 213"/>
                <a:gd name="T20" fmla="*/ 346 w 547"/>
                <a:gd name="T21"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3">
                  <a:moveTo>
                    <a:pt x="346" y="213"/>
                  </a:moveTo>
                  <a:lnTo>
                    <a:pt x="225" y="40"/>
                  </a:lnTo>
                  <a:lnTo>
                    <a:pt x="17" y="192"/>
                  </a:lnTo>
                  <a:lnTo>
                    <a:pt x="0" y="170"/>
                  </a:lnTo>
                  <a:lnTo>
                    <a:pt x="230" y="0"/>
                  </a:lnTo>
                  <a:lnTo>
                    <a:pt x="350" y="173"/>
                  </a:lnTo>
                  <a:lnTo>
                    <a:pt x="535" y="11"/>
                  </a:lnTo>
                  <a:lnTo>
                    <a:pt x="547" y="23"/>
                  </a:lnTo>
                  <a:lnTo>
                    <a:pt x="537" y="35"/>
                  </a:lnTo>
                  <a:lnTo>
                    <a:pt x="542" y="42"/>
                  </a:lnTo>
                  <a:lnTo>
                    <a:pt x="346" y="21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Oval 69"/>
            <p:cNvSpPr>
              <a:spLocks noChangeArrowheads="1"/>
            </p:cNvSpPr>
            <p:nvPr/>
          </p:nvSpPr>
          <p:spPr bwMode="auto">
            <a:xfrm>
              <a:off x="8824913" y="3692525"/>
              <a:ext cx="127000"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Oval 70"/>
            <p:cNvSpPr>
              <a:spLocks noChangeArrowheads="1"/>
            </p:cNvSpPr>
            <p:nvPr/>
          </p:nvSpPr>
          <p:spPr bwMode="auto">
            <a:xfrm>
              <a:off x="9180513" y="3440113"/>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Oval 71"/>
            <p:cNvSpPr>
              <a:spLocks noChangeArrowheads="1"/>
            </p:cNvSpPr>
            <p:nvPr/>
          </p:nvSpPr>
          <p:spPr bwMode="auto">
            <a:xfrm>
              <a:off x="9364663" y="3711575"/>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Oval 72"/>
            <p:cNvSpPr>
              <a:spLocks noChangeArrowheads="1"/>
            </p:cNvSpPr>
            <p:nvPr/>
          </p:nvSpPr>
          <p:spPr bwMode="auto">
            <a:xfrm>
              <a:off x="9672638" y="3448050"/>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6"/>
            <p:cNvSpPr>
              <a:spLocks noChangeArrowheads="1"/>
            </p:cNvSpPr>
            <p:nvPr/>
          </p:nvSpPr>
          <p:spPr bwMode="auto">
            <a:xfrm>
              <a:off x="9386888" y="30940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7"/>
            <p:cNvSpPr>
              <a:spLocks noChangeArrowheads="1"/>
            </p:cNvSpPr>
            <p:nvPr/>
          </p:nvSpPr>
          <p:spPr bwMode="auto">
            <a:xfrm>
              <a:off x="9386888" y="31384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8"/>
            <p:cNvSpPr>
              <a:spLocks noChangeArrowheads="1"/>
            </p:cNvSpPr>
            <p:nvPr/>
          </p:nvSpPr>
          <p:spPr bwMode="auto">
            <a:xfrm>
              <a:off x="9386888" y="31845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Rectangle 89"/>
            <p:cNvSpPr>
              <a:spLocks noChangeArrowheads="1"/>
            </p:cNvSpPr>
            <p:nvPr/>
          </p:nvSpPr>
          <p:spPr bwMode="auto">
            <a:xfrm>
              <a:off x="9386888" y="32289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0"/>
            <p:cNvSpPr>
              <a:spLocks noEditPoints="1"/>
            </p:cNvSpPr>
            <p:nvPr/>
          </p:nvSpPr>
          <p:spPr bwMode="auto">
            <a:xfrm>
              <a:off x="9161463" y="3014663"/>
              <a:ext cx="301625"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2"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3"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SaaS event processing </a:t>
            </a:r>
          </a:p>
        </p:txBody>
      </p:sp>
    </p:spTree>
    <p:extLst>
      <p:ext uri="{BB962C8B-B14F-4D97-AF65-F5344CB8AC3E}">
        <p14:creationId xmlns:p14="http://schemas.microsoft.com/office/powerpoint/2010/main" val="3190291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2101850" y="2281238"/>
            <a:ext cx="7988300" cy="229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98675" y="2273301"/>
            <a:ext cx="1895475" cy="2344737"/>
            <a:chOff x="2098675" y="2273301"/>
            <a:chExt cx="1895475" cy="2344737"/>
          </a:xfrm>
        </p:grpSpPr>
        <p:sp>
          <p:nvSpPr>
            <p:cNvPr id="5" name="Rectangle 5"/>
            <p:cNvSpPr>
              <a:spLocks noChangeArrowheads="1"/>
            </p:cNvSpPr>
            <p:nvPr/>
          </p:nvSpPr>
          <p:spPr bwMode="auto">
            <a:xfrm>
              <a:off x="2098675" y="4098926"/>
              <a:ext cx="1550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Loaded web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222500" y="4313238"/>
              <a:ext cx="4349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all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586038" y="43132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740025" y="4313238"/>
              <a:ext cx="73501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Freeform 9"/>
            <p:cNvSpPr>
              <a:spLocks/>
            </p:cNvSpPr>
            <p:nvPr/>
          </p:nvSpPr>
          <p:spPr bwMode="auto">
            <a:xfrm>
              <a:off x="2632075" y="2273301"/>
              <a:ext cx="322263" cy="422275"/>
            </a:xfrm>
            <a:custGeom>
              <a:avLst/>
              <a:gdLst>
                <a:gd name="T0" fmla="*/ 46 w 86"/>
                <a:gd name="T1" fmla="*/ 56 h 112"/>
                <a:gd name="T2" fmla="*/ 29 w 86"/>
                <a:gd name="T3" fmla="*/ 84 h 112"/>
                <a:gd name="T4" fmla="*/ 28 w 86"/>
                <a:gd name="T5" fmla="*/ 91 h 112"/>
                <a:gd name="T6" fmla="*/ 18 w 86"/>
                <a:gd name="T7" fmla="*/ 110 h 112"/>
                <a:gd name="T8" fmla="*/ 1 w 86"/>
                <a:gd name="T9" fmla="*/ 98 h 112"/>
                <a:gd name="T10" fmla="*/ 14 w 86"/>
                <a:gd name="T11" fmla="*/ 82 h 112"/>
                <a:gd name="T12" fmla="*/ 17 w 86"/>
                <a:gd name="T13" fmla="*/ 82 h 112"/>
                <a:gd name="T14" fmla="*/ 29 w 86"/>
                <a:gd name="T15" fmla="*/ 61 h 112"/>
                <a:gd name="T16" fmla="*/ 18 w 86"/>
                <a:gd name="T17" fmla="*/ 33 h 112"/>
                <a:gd name="T18" fmla="*/ 27 w 86"/>
                <a:gd name="T19" fmla="*/ 13 h 112"/>
                <a:gd name="T20" fmla="*/ 68 w 86"/>
                <a:gd name="T21" fmla="*/ 8 h 112"/>
                <a:gd name="T22" fmla="*/ 81 w 86"/>
                <a:gd name="T23" fmla="*/ 45 h 112"/>
                <a:gd name="T24" fmla="*/ 70 w 86"/>
                <a:gd name="T25" fmla="*/ 42 h 112"/>
                <a:gd name="T26" fmla="*/ 65 w 86"/>
                <a:gd name="T27" fmla="*/ 22 h 112"/>
                <a:gd name="T28" fmla="*/ 53 w 86"/>
                <a:gd name="T29" fmla="*/ 16 h 112"/>
                <a:gd name="T30" fmla="*/ 31 w 86"/>
                <a:gd name="T31" fmla="*/ 30 h 112"/>
                <a:gd name="T32" fmla="*/ 46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6" y="56"/>
                  </a:moveTo>
                  <a:cubicBezTo>
                    <a:pt x="40" y="66"/>
                    <a:pt x="35" y="75"/>
                    <a:pt x="29" y="84"/>
                  </a:cubicBezTo>
                  <a:cubicBezTo>
                    <a:pt x="28" y="86"/>
                    <a:pt x="27" y="88"/>
                    <a:pt x="28" y="91"/>
                  </a:cubicBezTo>
                  <a:cubicBezTo>
                    <a:pt x="31" y="99"/>
                    <a:pt x="27" y="108"/>
                    <a:pt x="18" y="110"/>
                  </a:cubicBezTo>
                  <a:cubicBezTo>
                    <a:pt x="11" y="112"/>
                    <a:pt x="3" y="107"/>
                    <a:pt x="1" y="98"/>
                  </a:cubicBezTo>
                  <a:cubicBezTo>
                    <a:pt x="0" y="91"/>
                    <a:pt x="6" y="83"/>
                    <a:pt x="14" y="82"/>
                  </a:cubicBezTo>
                  <a:cubicBezTo>
                    <a:pt x="15" y="82"/>
                    <a:pt x="15" y="82"/>
                    <a:pt x="17" y="82"/>
                  </a:cubicBezTo>
                  <a:cubicBezTo>
                    <a:pt x="21" y="75"/>
                    <a:pt x="25" y="69"/>
                    <a:pt x="29" y="61"/>
                  </a:cubicBezTo>
                  <a:cubicBezTo>
                    <a:pt x="21" y="53"/>
                    <a:pt x="16" y="44"/>
                    <a:pt x="18" y="33"/>
                  </a:cubicBezTo>
                  <a:cubicBezTo>
                    <a:pt x="18" y="25"/>
                    <a:pt x="21" y="18"/>
                    <a:pt x="27" y="13"/>
                  </a:cubicBezTo>
                  <a:cubicBezTo>
                    <a:pt x="38" y="2"/>
                    <a:pt x="55" y="0"/>
                    <a:pt x="68" y="8"/>
                  </a:cubicBezTo>
                  <a:cubicBezTo>
                    <a:pt x="80" y="16"/>
                    <a:pt x="86" y="32"/>
                    <a:pt x="81" y="45"/>
                  </a:cubicBezTo>
                  <a:cubicBezTo>
                    <a:pt x="77" y="44"/>
                    <a:pt x="74" y="43"/>
                    <a:pt x="70" y="42"/>
                  </a:cubicBezTo>
                  <a:cubicBezTo>
                    <a:pt x="71" y="35"/>
                    <a:pt x="70" y="28"/>
                    <a:pt x="65" y="22"/>
                  </a:cubicBezTo>
                  <a:cubicBezTo>
                    <a:pt x="62" y="19"/>
                    <a:pt x="58" y="17"/>
                    <a:pt x="53" y="16"/>
                  </a:cubicBezTo>
                  <a:cubicBezTo>
                    <a:pt x="43" y="14"/>
                    <a:pt x="34" y="21"/>
                    <a:pt x="31" y="30"/>
                  </a:cubicBezTo>
                  <a:cubicBezTo>
                    <a:pt x="28" y="41"/>
                    <a:pt x="32" y="50"/>
                    <a:pt x="46"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767013" y="2355851"/>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5 w 85"/>
                <a:gd name="T13" fmla="*/ 88 h 111"/>
                <a:gd name="T14" fmla="*/ 64 w 85"/>
                <a:gd name="T15" fmla="*/ 62 h 111"/>
                <a:gd name="T16" fmla="*/ 34 w 85"/>
                <a:gd name="T17" fmla="*/ 61 h 111"/>
                <a:gd name="T18" fmla="*/ 19 w 85"/>
                <a:gd name="T19" fmla="*/ 33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5" y="111"/>
                    <a:pt x="38" y="109"/>
                    <a:pt x="26" y="98"/>
                  </a:cubicBezTo>
                  <a:cubicBezTo>
                    <a:pt x="29" y="95"/>
                    <a:pt x="32" y="93"/>
                    <a:pt x="35" y="90"/>
                  </a:cubicBezTo>
                  <a:cubicBezTo>
                    <a:pt x="47" y="97"/>
                    <a:pt x="57" y="97"/>
                    <a:pt x="65" y="88"/>
                  </a:cubicBezTo>
                  <a:cubicBezTo>
                    <a:pt x="71" y="80"/>
                    <a:pt x="71" y="69"/>
                    <a:pt x="64" y="62"/>
                  </a:cubicBezTo>
                  <a:cubicBezTo>
                    <a:pt x="57" y="53"/>
                    <a:pt x="46" y="53"/>
                    <a:pt x="34" y="61"/>
                  </a:cubicBezTo>
                  <a:cubicBezTo>
                    <a:pt x="29" y="52"/>
                    <a:pt x="24" y="43"/>
                    <a:pt x="19" y="33"/>
                  </a:cubicBezTo>
                  <a:cubicBezTo>
                    <a:pt x="17" y="30"/>
                    <a:pt x="15" y="29"/>
                    <a:pt x="11" y="28"/>
                  </a:cubicBezTo>
                  <a:cubicBezTo>
                    <a:pt x="5" y="27"/>
                    <a:pt x="1" y="21"/>
                    <a:pt x="0" y="15"/>
                  </a:cubicBezTo>
                  <a:cubicBezTo>
                    <a:pt x="0" y="9"/>
                    <a:pt x="4" y="4"/>
                    <a:pt x="9" y="2"/>
                  </a:cubicBezTo>
                  <a:cubicBezTo>
                    <a:pt x="15" y="0"/>
                    <a:pt x="21" y="1"/>
                    <a:pt x="25" y="6"/>
                  </a:cubicBezTo>
                  <a:cubicBezTo>
                    <a:pt x="28" y="10"/>
                    <a:pt x="29" y="14"/>
                    <a:pt x="27" y="19"/>
                  </a:cubicBezTo>
                  <a:cubicBezTo>
                    <a:pt x="27" y="20"/>
                    <a:pt x="26" y="21"/>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p:cNvSpPr>
            <p:nvPr/>
          </p:nvSpPr>
          <p:spPr bwMode="auto">
            <a:xfrm>
              <a:off x="2560638" y="2517776"/>
              <a:ext cx="446088" cy="246063"/>
            </a:xfrm>
            <a:custGeom>
              <a:avLst/>
              <a:gdLst>
                <a:gd name="T0" fmla="*/ 90 w 119"/>
                <a:gd name="T1" fmla="*/ 37 h 65"/>
                <a:gd name="T2" fmla="*/ 66 w 119"/>
                <a:gd name="T3" fmla="*/ 37 h 65"/>
                <a:gd name="T4" fmla="*/ 50 w 119"/>
                <a:gd name="T5" fmla="*/ 60 h 65"/>
                <a:gd name="T6" fmla="*/ 28 w 119"/>
                <a:gd name="T7" fmla="*/ 64 h 65"/>
                <a:gd name="T8" fmla="*/ 1 w 119"/>
                <a:gd name="T9" fmla="*/ 34 h 65"/>
                <a:gd name="T10" fmla="*/ 26 w 119"/>
                <a:gd name="T11" fmla="*/ 0 h 65"/>
                <a:gd name="T12" fmla="*/ 29 w 119"/>
                <a:gd name="T13" fmla="*/ 11 h 65"/>
                <a:gd name="T14" fmla="*/ 15 w 119"/>
                <a:gd name="T15" fmla="*/ 38 h 65"/>
                <a:gd name="T16" fmla="*/ 38 w 119"/>
                <a:gd name="T17" fmla="*/ 51 h 65"/>
                <a:gd name="T18" fmla="*/ 54 w 119"/>
                <a:gd name="T19" fmla="*/ 26 h 65"/>
                <a:gd name="T20" fmla="*/ 84 w 119"/>
                <a:gd name="T21" fmla="*/ 26 h 65"/>
                <a:gd name="T22" fmla="*/ 94 w 119"/>
                <a:gd name="T23" fmla="*/ 22 h 65"/>
                <a:gd name="T24" fmla="*/ 113 w 119"/>
                <a:gd name="T25" fmla="*/ 22 h 65"/>
                <a:gd name="T26" fmla="*/ 113 w 119"/>
                <a:gd name="T27" fmla="*/ 42 h 65"/>
                <a:gd name="T28" fmla="*/ 93 w 119"/>
                <a:gd name="T29" fmla="*/ 41 h 65"/>
                <a:gd name="T30" fmla="*/ 90 w 119"/>
                <a:gd name="T31" fmla="*/ 3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65">
                  <a:moveTo>
                    <a:pt x="90" y="37"/>
                  </a:moveTo>
                  <a:cubicBezTo>
                    <a:pt x="66" y="37"/>
                    <a:pt x="66" y="37"/>
                    <a:pt x="66" y="37"/>
                  </a:cubicBezTo>
                  <a:cubicBezTo>
                    <a:pt x="64" y="47"/>
                    <a:pt x="59" y="55"/>
                    <a:pt x="50" y="60"/>
                  </a:cubicBezTo>
                  <a:cubicBezTo>
                    <a:pt x="43" y="64"/>
                    <a:pt x="36" y="65"/>
                    <a:pt x="28" y="64"/>
                  </a:cubicBezTo>
                  <a:cubicBezTo>
                    <a:pt x="14" y="61"/>
                    <a:pt x="2" y="48"/>
                    <a:pt x="1" y="34"/>
                  </a:cubicBezTo>
                  <a:cubicBezTo>
                    <a:pt x="0" y="18"/>
                    <a:pt x="11" y="3"/>
                    <a:pt x="26" y="0"/>
                  </a:cubicBezTo>
                  <a:cubicBezTo>
                    <a:pt x="27" y="3"/>
                    <a:pt x="28" y="7"/>
                    <a:pt x="29" y="11"/>
                  </a:cubicBezTo>
                  <a:cubicBezTo>
                    <a:pt x="15" y="18"/>
                    <a:pt x="11" y="27"/>
                    <a:pt x="15" y="38"/>
                  </a:cubicBezTo>
                  <a:cubicBezTo>
                    <a:pt x="18" y="48"/>
                    <a:pt x="28" y="53"/>
                    <a:pt x="38" y="51"/>
                  </a:cubicBezTo>
                  <a:cubicBezTo>
                    <a:pt x="49" y="49"/>
                    <a:pt x="54" y="40"/>
                    <a:pt x="54" y="26"/>
                  </a:cubicBezTo>
                  <a:cubicBezTo>
                    <a:pt x="64" y="26"/>
                    <a:pt x="74" y="26"/>
                    <a:pt x="84" y="26"/>
                  </a:cubicBezTo>
                  <a:cubicBezTo>
                    <a:pt x="88" y="26"/>
                    <a:pt x="91" y="25"/>
                    <a:pt x="94" y="22"/>
                  </a:cubicBezTo>
                  <a:cubicBezTo>
                    <a:pt x="99" y="16"/>
                    <a:pt x="108" y="17"/>
                    <a:pt x="113" y="22"/>
                  </a:cubicBezTo>
                  <a:cubicBezTo>
                    <a:pt x="119" y="28"/>
                    <a:pt x="118" y="37"/>
                    <a:pt x="113" y="42"/>
                  </a:cubicBezTo>
                  <a:cubicBezTo>
                    <a:pt x="107" y="47"/>
                    <a:pt x="98" y="47"/>
                    <a:pt x="93" y="41"/>
                  </a:cubicBezTo>
                  <a:cubicBezTo>
                    <a:pt x="92" y="40"/>
                    <a:pt x="91" y="39"/>
                    <a:pt x="90" y="37"/>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noEditPoints="1"/>
            </p:cNvSpPr>
            <p:nvPr/>
          </p:nvSpPr>
          <p:spPr bwMode="auto">
            <a:xfrm>
              <a:off x="3589338"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3863975" y="31337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Freeform 35"/>
            <p:cNvSpPr>
              <a:spLocks/>
            </p:cNvSpPr>
            <p:nvPr/>
          </p:nvSpPr>
          <p:spPr bwMode="auto">
            <a:xfrm>
              <a:off x="2259013" y="3133726"/>
              <a:ext cx="1127125" cy="752475"/>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259013" y="2922588"/>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259013" y="3208338"/>
              <a:ext cx="722313" cy="677863"/>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259013" y="2922588"/>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9"/>
            <p:cNvSpPr>
              <a:spLocks noChangeArrowheads="1"/>
            </p:cNvSpPr>
            <p:nvPr/>
          </p:nvSpPr>
          <p:spPr bwMode="auto">
            <a:xfrm>
              <a:off x="2549525" y="3030538"/>
              <a:ext cx="757238"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2293938" y="2963863"/>
              <a:ext cx="220663"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49500" y="3013076"/>
              <a:ext cx="165100" cy="127000"/>
            </a:xfrm>
            <a:custGeom>
              <a:avLst/>
              <a:gdLst>
                <a:gd name="T0" fmla="*/ 26 w 104"/>
                <a:gd name="T1" fmla="*/ 47 h 80"/>
                <a:gd name="T2" fmla="*/ 59 w 104"/>
                <a:gd name="T3" fmla="*/ 80 h 80"/>
                <a:gd name="T4" fmla="*/ 43 w 104"/>
                <a:gd name="T5" fmla="*/ 80 h 80"/>
                <a:gd name="T6" fmla="*/ 0 w 104"/>
                <a:gd name="T7" fmla="*/ 40 h 80"/>
                <a:gd name="T8" fmla="*/ 43 w 104"/>
                <a:gd name="T9" fmla="*/ 0 h 80"/>
                <a:gd name="T10" fmla="*/ 59 w 104"/>
                <a:gd name="T11" fmla="*/ 0 h 80"/>
                <a:gd name="T12" fmla="*/ 26 w 104"/>
                <a:gd name="T13" fmla="*/ 33 h 80"/>
                <a:gd name="T14" fmla="*/ 104 w 104"/>
                <a:gd name="T15" fmla="*/ 33 h 80"/>
                <a:gd name="T16" fmla="*/ 104 w 104"/>
                <a:gd name="T17" fmla="*/ 47 h 80"/>
                <a:gd name="T18" fmla="*/ 26 w 104"/>
                <a:gd name="T19" fmla="*/ 4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0">
                  <a:moveTo>
                    <a:pt x="26" y="47"/>
                  </a:moveTo>
                  <a:lnTo>
                    <a:pt x="59" y="80"/>
                  </a:lnTo>
                  <a:lnTo>
                    <a:pt x="43" y="80"/>
                  </a:lnTo>
                  <a:lnTo>
                    <a:pt x="0" y="40"/>
                  </a:lnTo>
                  <a:lnTo>
                    <a:pt x="43"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789238" y="3687763"/>
              <a:ext cx="68263" cy="41275"/>
            </a:xfrm>
            <a:custGeom>
              <a:avLst/>
              <a:gdLst>
                <a:gd name="T0" fmla="*/ 43 w 43"/>
                <a:gd name="T1" fmla="*/ 9 h 26"/>
                <a:gd name="T2" fmla="*/ 21 w 43"/>
                <a:gd name="T3" fmla="*/ 0 h 26"/>
                <a:gd name="T4" fmla="*/ 0 w 43"/>
                <a:gd name="T5" fmla="*/ 9 h 26"/>
                <a:gd name="T6" fmla="*/ 9 w 43"/>
                <a:gd name="T7" fmla="*/ 26 h 26"/>
                <a:gd name="T8" fmla="*/ 21 w 43"/>
                <a:gd name="T9" fmla="*/ 21 h 26"/>
                <a:gd name="T10" fmla="*/ 33 w 43"/>
                <a:gd name="T11" fmla="*/ 26 h 26"/>
                <a:gd name="T12" fmla="*/ 43 w 43"/>
                <a:gd name="T13" fmla="*/ 9 h 26"/>
                <a:gd name="T14" fmla="*/ 43 w 43"/>
                <a:gd name="T15" fmla="*/ 9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6">
                  <a:moveTo>
                    <a:pt x="43" y="9"/>
                  </a:moveTo>
                  <a:lnTo>
                    <a:pt x="21" y="0"/>
                  </a:lnTo>
                  <a:lnTo>
                    <a:pt x="0" y="9"/>
                  </a:lnTo>
                  <a:lnTo>
                    <a:pt x="9" y="26"/>
                  </a:lnTo>
                  <a:lnTo>
                    <a:pt x="21" y="21"/>
                  </a:lnTo>
                  <a:lnTo>
                    <a:pt x="33" y="26"/>
                  </a:lnTo>
                  <a:lnTo>
                    <a:pt x="43" y="9"/>
                  </a:lnTo>
                  <a:lnTo>
                    <a:pt x="4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2762250" y="3717926"/>
              <a:ext cx="15875" cy="25400"/>
            </a:xfrm>
            <a:custGeom>
              <a:avLst/>
              <a:gdLst>
                <a:gd name="T0" fmla="*/ 0 w 10"/>
                <a:gd name="T1" fmla="*/ 0 h 16"/>
                <a:gd name="T2" fmla="*/ 0 w 10"/>
                <a:gd name="T3" fmla="*/ 0 h 16"/>
                <a:gd name="T4" fmla="*/ 10 w 10"/>
                <a:gd name="T5" fmla="*/ 16 h 16"/>
                <a:gd name="T6" fmla="*/ 10 w 10"/>
                <a:gd name="T7" fmla="*/ 16 h 16"/>
                <a:gd name="T8" fmla="*/ 0 w 10"/>
                <a:gd name="T9" fmla="*/ 0 h 16"/>
              </a:gdLst>
              <a:ahLst/>
              <a:cxnLst>
                <a:cxn ang="0">
                  <a:pos x="T0" y="T1"/>
                </a:cxn>
                <a:cxn ang="0">
                  <a:pos x="T2" y="T3"/>
                </a:cxn>
                <a:cxn ang="0">
                  <a:pos x="T4" y="T5"/>
                </a:cxn>
                <a:cxn ang="0">
                  <a:pos x="T6" y="T7"/>
                </a:cxn>
                <a:cxn ang="0">
                  <a:pos x="T8" y="T9"/>
                </a:cxn>
              </a:cxnLst>
              <a:rect l="0" t="0" r="r" b="b"/>
              <a:pathLst>
                <a:path w="10" h="16">
                  <a:moveTo>
                    <a:pt x="0" y="0"/>
                  </a:moveTo>
                  <a:lnTo>
                    <a:pt x="0" y="0"/>
                  </a:lnTo>
                  <a:lnTo>
                    <a:pt x="10" y="16"/>
                  </a:lnTo>
                  <a:lnTo>
                    <a:pt x="10" y="1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noEditPoints="1"/>
            </p:cNvSpPr>
            <p:nvPr/>
          </p:nvSpPr>
          <p:spPr bwMode="auto">
            <a:xfrm>
              <a:off x="2684463" y="3717926"/>
              <a:ext cx="93663" cy="66675"/>
            </a:xfrm>
            <a:custGeom>
              <a:avLst/>
              <a:gdLst>
                <a:gd name="T0" fmla="*/ 0 w 59"/>
                <a:gd name="T1" fmla="*/ 26 h 42"/>
                <a:gd name="T2" fmla="*/ 0 w 59"/>
                <a:gd name="T3" fmla="*/ 26 h 42"/>
                <a:gd name="T4" fmla="*/ 9 w 59"/>
                <a:gd name="T5" fmla="*/ 42 h 42"/>
                <a:gd name="T6" fmla="*/ 9 w 59"/>
                <a:gd name="T7" fmla="*/ 42 h 42"/>
                <a:gd name="T8" fmla="*/ 0 w 59"/>
                <a:gd name="T9" fmla="*/ 26 h 42"/>
                <a:gd name="T10" fmla="*/ 0 w 59"/>
                <a:gd name="T11" fmla="*/ 26 h 42"/>
                <a:gd name="T12" fmla="*/ 0 w 59"/>
                <a:gd name="T13" fmla="*/ 26 h 42"/>
                <a:gd name="T14" fmla="*/ 9 w 59"/>
                <a:gd name="T15" fmla="*/ 42 h 42"/>
                <a:gd name="T16" fmla="*/ 9 w 59"/>
                <a:gd name="T17" fmla="*/ 42 h 42"/>
                <a:gd name="T18" fmla="*/ 0 w 59"/>
                <a:gd name="T19" fmla="*/ 26 h 42"/>
                <a:gd name="T20" fmla="*/ 49 w 59"/>
                <a:gd name="T21" fmla="*/ 0 h 42"/>
                <a:gd name="T22" fmla="*/ 16 w 59"/>
                <a:gd name="T23" fmla="*/ 16 h 42"/>
                <a:gd name="T24" fmla="*/ 26 w 59"/>
                <a:gd name="T25" fmla="*/ 35 h 42"/>
                <a:gd name="T26" fmla="*/ 59 w 59"/>
                <a:gd name="T27" fmla="*/ 16 h 42"/>
                <a:gd name="T28" fmla="*/ 49 w 59"/>
                <a:gd name="T2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42">
                  <a:moveTo>
                    <a:pt x="0" y="26"/>
                  </a:moveTo>
                  <a:lnTo>
                    <a:pt x="0" y="26"/>
                  </a:lnTo>
                  <a:lnTo>
                    <a:pt x="9" y="42"/>
                  </a:lnTo>
                  <a:lnTo>
                    <a:pt x="9" y="42"/>
                  </a:lnTo>
                  <a:lnTo>
                    <a:pt x="0" y="26"/>
                  </a:lnTo>
                  <a:close/>
                  <a:moveTo>
                    <a:pt x="0" y="26"/>
                  </a:moveTo>
                  <a:lnTo>
                    <a:pt x="0" y="26"/>
                  </a:lnTo>
                  <a:lnTo>
                    <a:pt x="9" y="42"/>
                  </a:lnTo>
                  <a:lnTo>
                    <a:pt x="9" y="42"/>
                  </a:lnTo>
                  <a:lnTo>
                    <a:pt x="0" y="26"/>
                  </a:lnTo>
                  <a:close/>
                  <a:moveTo>
                    <a:pt x="49" y="0"/>
                  </a:moveTo>
                  <a:lnTo>
                    <a:pt x="16" y="16"/>
                  </a:lnTo>
                  <a:lnTo>
                    <a:pt x="26" y="35"/>
                  </a:lnTo>
                  <a:lnTo>
                    <a:pt x="59" y="16"/>
                  </a:lnTo>
                  <a:lnTo>
                    <a:pt x="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646363" y="3754438"/>
              <a:ext cx="52388" cy="60325"/>
            </a:xfrm>
            <a:custGeom>
              <a:avLst/>
              <a:gdLst>
                <a:gd name="T0" fmla="*/ 24 w 33"/>
                <a:gd name="T1" fmla="*/ 3 h 38"/>
                <a:gd name="T2" fmla="*/ 7 w 33"/>
                <a:gd name="T3" fmla="*/ 12 h 38"/>
                <a:gd name="T4" fmla="*/ 12 w 33"/>
                <a:gd name="T5" fmla="*/ 19 h 38"/>
                <a:gd name="T6" fmla="*/ 21 w 33"/>
                <a:gd name="T7" fmla="*/ 22 h 38"/>
                <a:gd name="T8" fmla="*/ 24 w 33"/>
                <a:gd name="T9" fmla="*/ 3 h 38"/>
                <a:gd name="T10" fmla="*/ 5 w 33"/>
                <a:gd name="T11" fmla="*/ 0 h 38"/>
                <a:gd name="T12" fmla="*/ 0 w 33"/>
                <a:gd name="T13" fmla="*/ 38 h 38"/>
                <a:gd name="T14" fmla="*/ 33 w 33"/>
                <a:gd name="T15" fmla="*/ 19 h 38"/>
                <a:gd name="T16" fmla="*/ 24 w 33"/>
                <a:gd name="T17" fmla="*/ 3 h 38"/>
                <a:gd name="T18" fmla="*/ 24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24" y="3"/>
                  </a:moveTo>
                  <a:lnTo>
                    <a:pt x="7" y="12"/>
                  </a:lnTo>
                  <a:lnTo>
                    <a:pt x="12" y="19"/>
                  </a:lnTo>
                  <a:lnTo>
                    <a:pt x="21" y="22"/>
                  </a:lnTo>
                  <a:lnTo>
                    <a:pt x="24" y="3"/>
                  </a:lnTo>
                  <a:lnTo>
                    <a:pt x="5" y="0"/>
                  </a:lnTo>
                  <a:lnTo>
                    <a:pt x="0" y="38"/>
                  </a:lnTo>
                  <a:lnTo>
                    <a:pt x="33" y="19"/>
                  </a:lnTo>
                  <a:lnTo>
                    <a:pt x="24" y="3"/>
                  </a:lnTo>
                  <a:lnTo>
                    <a:pt x="24"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2662238" y="3724276"/>
              <a:ext cx="30163" cy="4763"/>
            </a:xfrm>
            <a:custGeom>
              <a:avLst/>
              <a:gdLst>
                <a:gd name="T0" fmla="*/ 19 w 19"/>
                <a:gd name="T1" fmla="*/ 3 h 3"/>
                <a:gd name="T2" fmla="*/ 19 w 19"/>
                <a:gd name="T3" fmla="*/ 3 h 3"/>
                <a:gd name="T4" fmla="*/ 0 w 19"/>
                <a:gd name="T5" fmla="*/ 0 h 3"/>
                <a:gd name="T6" fmla="*/ 0 w 19"/>
                <a:gd name="T7" fmla="*/ 0 h 3"/>
                <a:gd name="T8" fmla="*/ 19 w 19"/>
                <a:gd name="T9" fmla="*/ 3 h 3"/>
              </a:gdLst>
              <a:ahLst/>
              <a:cxnLst>
                <a:cxn ang="0">
                  <a:pos x="T0" y="T1"/>
                </a:cxn>
                <a:cxn ang="0">
                  <a:pos x="T2" y="T3"/>
                </a:cxn>
                <a:cxn ang="0">
                  <a:pos x="T4" y="T5"/>
                </a:cxn>
                <a:cxn ang="0">
                  <a:pos x="T6" y="T7"/>
                </a:cxn>
                <a:cxn ang="0">
                  <a:pos x="T8" y="T9"/>
                </a:cxn>
              </a:cxnLst>
              <a:rect l="0" t="0" r="r" b="b"/>
              <a:pathLst>
                <a:path w="19" h="3">
                  <a:moveTo>
                    <a:pt x="19" y="3"/>
                  </a:moveTo>
                  <a:lnTo>
                    <a:pt x="19" y="3"/>
                  </a:lnTo>
                  <a:lnTo>
                    <a:pt x="0" y="0"/>
                  </a:lnTo>
                  <a:lnTo>
                    <a:pt x="0" y="0"/>
                  </a:lnTo>
                  <a:lnTo>
                    <a:pt x="19"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noEditPoints="1"/>
            </p:cNvSpPr>
            <p:nvPr/>
          </p:nvSpPr>
          <p:spPr bwMode="auto">
            <a:xfrm>
              <a:off x="2662238" y="3638551"/>
              <a:ext cx="44450" cy="90488"/>
            </a:xfrm>
            <a:custGeom>
              <a:avLst/>
              <a:gdLst>
                <a:gd name="T0" fmla="*/ 28 w 28"/>
                <a:gd name="T1" fmla="*/ 2 h 57"/>
                <a:gd name="T2" fmla="*/ 28 w 28"/>
                <a:gd name="T3" fmla="*/ 2 h 57"/>
                <a:gd name="T4" fmla="*/ 9 w 28"/>
                <a:gd name="T5" fmla="*/ 0 h 57"/>
                <a:gd name="T6" fmla="*/ 9 w 28"/>
                <a:gd name="T7" fmla="*/ 0 h 57"/>
                <a:gd name="T8" fmla="*/ 28 w 28"/>
                <a:gd name="T9" fmla="*/ 2 h 57"/>
                <a:gd name="T10" fmla="*/ 19 w 28"/>
                <a:gd name="T11" fmla="*/ 57 h 57"/>
                <a:gd name="T12" fmla="*/ 23 w 28"/>
                <a:gd name="T13" fmla="*/ 21 h 57"/>
                <a:gd name="T14" fmla="*/ 4 w 28"/>
                <a:gd name="T15" fmla="*/ 16 h 57"/>
                <a:gd name="T16" fmla="*/ 0 w 28"/>
                <a:gd name="T17" fmla="*/ 54 h 57"/>
                <a:gd name="T18" fmla="*/ 19 w 28"/>
                <a:gd name="T1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7">
                  <a:moveTo>
                    <a:pt x="28" y="2"/>
                  </a:moveTo>
                  <a:lnTo>
                    <a:pt x="28" y="2"/>
                  </a:lnTo>
                  <a:lnTo>
                    <a:pt x="9" y="0"/>
                  </a:lnTo>
                  <a:lnTo>
                    <a:pt x="9" y="0"/>
                  </a:lnTo>
                  <a:lnTo>
                    <a:pt x="28" y="2"/>
                  </a:lnTo>
                  <a:close/>
                  <a:moveTo>
                    <a:pt x="19" y="57"/>
                  </a:moveTo>
                  <a:lnTo>
                    <a:pt x="23" y="21"/>
                  </a:lnTo>
                  <a:lnTo>
                    <a:pt x="4" y="16"/>
                  </a:lnTo>
                  <a:lnTo>
                    <a:pt x="0" y="54"/>
                  </a:lnTo>
                  <a:lnTo>
                    <a:pt x="1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665413" y="3578226"/>
              <a:ext cx="44450" cy="63500"/>
            </a:xfrm>
            <a:custGeom>
              <a:avLst/>
              <a:gdLst>
                <a:gd name="T0" fmla="*/ 26 w 28"/>
                <a:gd name="T1" fmla="*/ 40 h 40"/>
                <a:gd name="T2" fmla="*/ 28 w 28"/>
                <a:gd name="T3" fmla="*/ 16 h 40"/>
                <a:gd name="T4" fmla="*/ 12 w 28"/>
                <a:gd name="T5" fmla="*/ 0 h 40"/>
                <a:gd name="T6" fmla="*/ 0 w 28"/>
                <a:gd name="T7" fmla="*/ 14 h 40"/>
                <a:gd name="T8" fmla="*/ 9 w 28"/>
                <a:gd name="T9" fmla="*/ 24 h 40"/>
                <a:gd name="T10" fmla="*/ 7 w 28"/>
                <a:gd name="T11" fmla="*/ 38 h 40"/>
                <a:gd name="T12" fmla="*/ 26 w 28"/>
                <a:gd name="T13" fmla="*/ 40 h 40"/>
                <a:gd name="T14" fmla="*/ 26 w 28"/>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0">
                  <a:moveTo>
                    <a:pt x="26" y="40"/>
                  </a:moveTo>
                  <a:lnTo>
                    <a:pt x="28" y="16"/>
                  </a:lnTo>
                  <a:lnTo>
                    <a:pt x="12" y="0"/>
                  </a:lnTo>
                  <a:lnTo>
                    <a:pt x="0" y="14"/>
                  </a:lnTo>
                  <a:lnTo>
                    <a:pt x="9" y="24"/>
                  </a:lnTo>
                  <a:lnTo>
                    <a:pt x="7" y="38"/>
                  </a:lnTo>
                  <a:lnTo>
                    <a:pt x="26" y="40"/>
                  </a:lnTo>
                  <a:lnTo>
                    <a:pt x="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2643188" y="3559176"/>
              <a:ext cx="22225" cy="19050"/>
            </a:xfrm>
            <a:custGeom>
              <a:avLst/>
              <a:gdLst>
                <a:gd name="T0" fmla="*/ 14 w 14"/>
                <a:gd name="T1" fmla="*/ 0 h 12"/>
                <a:gd name="T2" fmla="*/ 12 w 14"/>
                <a:gd name="T3" fmla="*/ 0 h 12"/>
                <a:gd name="T4" fmla="*/ 0 w 14"/>
                <a:gd name="T5" fmla="*/ 12 h 12"/>
                <a:gd name="T6" fmla="*/ 0 w 14"/>
                <a:gd name="T7" fmla="*/ 12 h 12"/>
                <a:gd name="T8" fmla="*/ 14 w 14"/>
                <a:gd name="T9" fmla="*/ 0 h 12"/>
              </a:gdLst>
              <a:ahLst/>
              <a:cxnLst>
                <a:cxn ang="0">
                  <a:pos x="T0" y="T1"/>
                </a:cxn>
                <a:cxn ang="0">
                  <a:pos x="T2" y="T3"/>
                </a:cxn>
                <a:cxn ang="0">
                  <a:pos x="T4" y="T5"/>
                </a:cxn>
                <a:cxn ang="0">
                  <a:pos x="T6" y="T7"/>
                </a:cxn>
                <a:cxn ang="0">
                  <a:pos x="T8" y="T9"/>
                </a:cxn>
              </a:cxnLst>
              <a:rect l="0" t="0" r="r" b="b"/>
              <a:pathLst>
                <a:path w="14" h="12">
                  <a:moveTo>
                    <a:pt x="14" y="0"/>
                  </a:moveTo>
                  <a:lnTo>
                    <a:pt x="12" y="0"/>
                  </a:lnTo>
                  <a:lnTo>
                    <a:pt x="0" y="12"/>
                  </a:lnTo>
                  <a:lnTo>
                    <a:pt x="0" y="12"/>
                  </a:lnTo>
                  <a:lnTo>
                    <a:pt x="1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noEditPoints="1"/>
            </p:cNvSpPr>
            <p:nvPr/>
          </p:nvSpPr>
          <p:spPr bwMode="auto">
            <a:xfrm>
              <a:off x="2579688" y="3495676"/>
              <a:ext cx="82550" cy="82550"/>
            </a:xfrm>
            <a:custGeom>
              <a:avLst/>
              <a:gdLst>
                <a:gd name="T0" fmla="*/ 11 w 52"/>
                <a:gd name="T1" fmla="*/ 0 h 52"/>
                <a:gd name="T2" fmla="*/ 11 w 52"/>
                <a:gd name="T3" fmla="*/ 0 h 52"/>
                <a:gd name="T4" fmla="*/ 0 w 52"/>
                <a:gd name="T5" fmla="*/ 14 h 52"/>
                <a:gd name="T6" fmla="*/ 0 w 52"/>
                <a:gd name="T7" fmla="*/ 14 h 52"/>
                <a:gd name="T8" fmla="*/ 11 w 52"/>
                <a:gd name="T9" fmla="*/ 0 h 52"/>
                <a:gd name="T10" fmla="*/ 52 w 52"/>
                <a:gd name="T11" fmla="*/ 40 h 52"/>
                <a:gd name="T12" fmla="*/ 26 w 52"/>
                <a:gd name="T13" fmla="*/ 14 h 52"/>
                <a:gd name="T14" fmla="*/ 14 w 52"/>
                <a:gd name="T15" fmla="*/ 26 h 52"/>
                <a:gd name="T16" fmla="*/ 40 w 52"/>
                <a:gd name="T17" fmla="*/ 52 h 52"/>
                <a:gd name="T18" fmla="*/ 52 w 52"/>
                <a:gd name="T19" fmla="*/ 4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11" y="0"/>
                  </a:moveTo>
                  <a:lnTo>
                    <a:pt x="11" y="0"/>
                  </a:lnTo>
                  <a:lnTo>
                    <a:pt x="0" y="14"/>
                  </a:lnTo>
                  <a:lnTo>
                    <a:pt x="0" y="14"/>
                  </a:lnTo>
                  <a:lnTo>
                    <a:pt x="11" y="0"/>
                  </a:lnTo>
                  <a:close/>
                  <a:moveTo>
                    <a:pt x="52" y="40"/>
                  </a:moveTo>
                  <a:lnTo>
                    <a:pt x="26" y="14"/>
                  </a:lnTo>
                  <a:lnTo>
                    <a:pt x="14" y="26"/>
                  </a:lnTo>
                  <a:lnTo>
                    <a:pt x="40" y="52"/>
                  </a:lnTo>
                  <a:lnTo>
                    <a:pt x="5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533650" y="3465513"/>
              <a:ext cx="63500" cy="52388"/>
            </a:xfrm>
            <a:custGeom>
              <a:avLst/>
              <a:gdLst>
                <a:gd name="T0" fmla="*/ 40 w 40"/>
                <a:gd name="T1" fmla="*/ 19 h 33"/>
                <a:gd name="T2" fmla="*/ 29 w 40"/>
                <a:gd name="T3" fmla="*/ 7 h 33"/>
                <a:gd name="T4" fmla="*/ 21 w 40"/>
                <a:gd name="T5" fmla="*/ 11 h 33"/>
                <a:gd name="T6" fmla="*/ 24 w 40"/>
                <a:gd name="T7" fmla="*/ 21 h 33"/>
                <a:gd name="T8" fmla="*/ 40 w 40"/>
                <a:gd name="T9" fmla="*/ 19 h 33"/>
                <a:gd name="T10" fmla="*/ 38 w 40"/>
                <a:gd name="T11" fmla="*/ 0 h 33"/>
                <a:gd name="T12" fmla="*/ 0 w 40"/>
                <a:gd name="T13" fmla="*/ 7 h 33"/>
                <a:gd name="T14" fmla="*/ 29 w 40"/>
                <a:gd name="T15" fmla="*/ 33 h 33"/>
                <a:gd name="T16" fmla="*/ 40 w 40"/>
                <a:gd name="T17" fmla="*/ 19 h 33"/>
                <a:gd name="T18" fmla="*/ 4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40" y="19"/>
                  </a:moveTo>
                  <a:lnTo>
                    <a:pt x="29" y="7"/>
                  </a:lnTo>
                  <a:lnTo>
                    <a:pt x="21" y="11"/>
                  </a:lnTo>
                  <a:lnTo>
                    <a:pt x="24" y="21"/>
                  </a:lnTo>
                  <a:lnTo>
                    <a:pt x="40" y="19"/>
                  </a:lnTo>
                  <a:lnTo>
                    <a:pt x="38" y="0"/>
                  </a:lnTo>
                  <a:lnTo>
                    <a:pt x="0" y="7"/>
                  </a:lnTo>
                  <a:lnTo>
                    <a:pt x="29" y="33"/>
                  </a:lnTo>
                  <a:lnTo>
                    <a:pt x="40" y="19"/>
                  </a:lnTo>
                  <a:lnTo>
                    <a:pt x="4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624138" y="3460751"/>
              <a:ext cx="3175" cy="30163"/>
            </a:xfrm>
            <a:custGeom>
              <a:avLst/>
              <a:gdLst>
                <a:gd name="T0" fmla="*/ 2 w 2"/>
                <a:gd name="T1" fmla="*/ 19 h 19"/>
                <a:gd name="T2" fmla="*/ 2 w 2"/>
                <a:gd name="T3" fmla="*/ 19 h 19"/>
                <a:gd name="T4" fmla="*/ 0 w 2"/>
                <a:gd name="T5" fmla="*/ 0 h 19"/>
                <a:gd name="T6" fmla="*/ 0 w 2"/>
                <a:gd name="T7" fmla="*/ 0 h 19"/>
                <a:gd name="T8" fmla="*/ 2 w 2"/>
                <a:gd name="T9" fmla="*/ 19 h 19"/>
              </a:gdLst>
              <a:ahLst/>
              <a:cxnLst>
                <a:cxn ang="0">
                  <a:pos x="T0" y="T1"/>
                </a:cxn>
                <a:cxn ang="0">
                  <a:pos x="T2" y="T3"/>
                </a:cxn>
                <a:cxn ang="0">
                  <a:pos x="T4" y="T5"/>
                </a:cxn>
                <a:cxn ang="0">
                  <a:pos x="T6" y="T7"/>
                </a:cxn>
                <a:cxn ang="0">
                  <a:pos x="T8" y="T9"/>
                </a:cxn>
              </a:cxnLst>
              <a:rect l="0" t="0" r="r" b="b"/>
              <a:pathLst>
                <a:path w="2" h="19">
                  <a:moveTo>
                    <a:pt x="2" y="19"/>
                  </a:moveTo>
                  <a:lnTo>
                    <a:pt x="2" y="19"/>
                  </a:lnTo>
                  <a:lnTo>
                    <a:pt x="0" y="0"/>
                  </a:lnTo>
                  <a:lnTo>
                    <a:pt x="0" y="0"/>
                  </a:lnTo>
                  <a:lnTo>
                    <a:pt x="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noEditPoints="1"/>
            </p:cNvSpPr>
            <p:nvPr/>
          </p:nvSpPr>
          <p:spPr bwMode="auto">
            <a:xfrm>
              <a:off x="2624138" y="3449638"/>
              <a:ext cx="93663" cy="41275"/>
            </a:xfrm>
            <a:custGeom>
              <a:avLst/>
              <a:gdLst>
                <a:gd name="T0" fmla="*/ 59 w 59"/>
                <a:gd name="T1" fmla="*/ 19 h 26"/>
                <a:gd name="T2" fmla="*/ 59 w 59"/>
                <a:gd name="T3" fmla="*/ 19 h 26"/>
                <a:gd name="T4" fmla="*/ 57 w 59"/>
                <a:gd name="T5" fmla="*/ 0 h 26"/>
                <a:gd name="T6" fmla="*/ 57 w 59"/>
                <a:gd name="T7" fmla="*/ 0 h 26"/>
                <a:gd name="T8" fmla="*/ 59 w 59"/>
                <a:gd name="T9" fmla="*/ 19 h 26"/>
                <a:gd name="T10" fmla="*/ 59 w 59"/>
                <a:gd name="T11" fmla="*/ 19 h 26"/>
                <a:gd name="T12" fmla="*/ 59 w 59"/>
                <a:gd name="T13" fmla="*/ 19 h 26"/>
                <a:gd name="T14" fmla="*/ 57 w 59"/>
                <a:gd name="T15" fmla="*/ 0 h 26"/>
                <a:gd name="T16" fmla="*/ 57 w 59"/>
                <a:gd name="T17" fmla="*/ 0 h 26"/>
                <a:gd name="T18" fmla="*/ 59 w 59"/>
                <a:gd name="T19" fmla="*/ 19 h 26"/>
                <a:gd name="T20" fmla="*/ 2 w 59"/>
                <a:gd name="T21" fmla="*/ 26 h 26"/>
                <a:gd name="T22" fmla="*/ 40 w 59"/>
                <a:gd name="T23" fmla="*/ 21 h 26"/>
                <a:gd name="T24" fmla="*/ 38 w 59"/>
                <a:gd name="T25" fmla="*/ 2 h 26"/>
                <a:gd name="T26" fmla="*/ 0 w 59"/>
                <a:gd name="T27" fmla="*/ 7 h 26"/>
                <a:gd name="T28" fmla="*/ 2 w 59"/>
                <a:gd name="T2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6">
                  <a:moveTo>
                    <a:pt x="59" y="19"/>
                  </a:moveTo>
                  <a:lnTo>
                    <a:pt x="59" y="19"/>
                  </a:lnTo>
                  <a:lnTo>
                    <a:pt x="57" y="0"/>
                  </a:lnTo>
                  <a:lnTo>
                    <a:pt x="57" y="0"/>
                  </a:lnTo>
                  <a:lnTo>
                    <a:pt x="59" y="19"/>
                  </a:lnTo>
                  <a:close/>
                  <a:moveTo>
                    <a:pt x="59" y="19"/>
                  </a:moveTo>
                  <a:lnTo>
                    <a:pt x="59" y="19"/>
                  </a:lnTo>
                  <a:lnTo>
                    <a:pt x="57" y="0"/>
                  </a:lnTo>
                  <a:lnTo>
                    <a:pt x="57" y="0"/>
                  </a:lnTo>
                  <a:lnTo>
                    <a:pt x="59" y="19"/>
                  </a:lnTo>
                  <a:close/>
                  <a:moveTo>
                    <a:pt x="2" y="26"/>
                  </a:moveTo>
                  <a:lnTo>
                    <a:pt x="40" y="21"/>
                  </a:lnTo>
                  <a:lnTo>
                    <a:pt x="38" y="2"/>
                  </a:lnTo>
                  <a:lnTo>
                    <a:pt x="0" y="7"/>
                  </a:lnTo>
                  <a:lnTo>
                    <a:pt x="2"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2714625" y="3427413"/>
              <a:ext cx="55563" cy="52388"/>
            </a:xfrm>
            <a:custGeom>
              <a:avLst/>
              <a:gdLst>
                <a:gd name="T0" fmla="*/ 2 w 35"/>
                <a:gd name="T1" fmla="*/ 33 h 33"/>
                <a:gd name="T2" fmla="*/ 26 w 35"/>
                <a:gd name="T3" fmla="*/ 28 h 33"/>
                <a:gd name="T4" fmla="*/ 35 w 35"/>
                <a:gd name="T5" fmla="*/ 7 h 33"/>
                <a:gd name="T6" fmla="*/ 19 w 35"/>
                <a:gd name="T7" fmla="*/ 0 h 33"/>
                <a:gd name="T8" fmla="*/ 12 w 35"/>
                <a:gd name="T9" fmla="*/ 12 h 33"/>
                <a:gd name="T10" fmla="*/ 0 w 35"/>
                <a:gd name="T11" fmla="*/ 14 h 33"/>
                <a:gd name="T12" fmla="*/ 2 w 35"/>
                <a:gd name="T13" fmla="*/ 33 h 33"/>
                <a:gd name="T14" fmla="*/ 2 w 3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3">
                  <a:moveTo>
                    <a:pt x="2" y="33"/>
                  </a:moveTo>
                  <a:lnTo>
                    <a:pt x="26" y="28"/>
                  </a:lnTo>
                  <a:lnTo>
                    <a:pt x="35" y="7"/>
                  </a:lnTo>
                  <a:lnTo>
                    <a:pt x="19" y="0"/>
                  </a:lnTo>
                  <a:lnTo>
                    <a:pt x="12" y="12"/>
                  </a:lnTo>
                  <a:lnTo>
                    <a:pt x="0" y="14"/>
                  </a:lnTo>
                  <a:lnTo>
                    <a:pt x="2" y="33"/>
                  </a:lnTo>
                  <a:lnTo>
                    <a:pt x="2"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6"/>
            <p:cNvSpPr>
              <a:spLocks/>
            </p:cNvSpPr>
            <p:nvPr/>
          </p:nvSpPr>
          <p:spPr bwMode="auto">
            <a:xfrm>
              <a:off x="2755900" y="3400426"/>
              <a:ext cx="30163" cy="11113"/>
            </a:xfrm>
            <a:custGeom>
              <a:avLst/>
              <a:gdLst>
                <a:gd name="T0" fmla="*/ 19 w 19"/>
                <a:gd name="T1" fmla="*/ 7 h 7"/>
                <a:gd name="T2" fmla="*/ 19 w 19"/>
                <a:gd name="T3" fmla="*/ 7 h 7"/>
                <a:gd name="T4" fmla="*/ 0 w 19"/>
                <a:gd name="T5" fmla="*/ 0 h 7"/>
                <a:gd name="T6" fmla="*/ 0 w 19"/>
                <a:gd name="T7" fmla="*/ 0 h 7"/>
                <a:gd name="T8" fmla="*/ 19 w 19"/>
                <a:gd name="T9" fmla="*/ 7 h 7"/>
              </a:gdLst>
              <a:ahLst/>
              <a:cxnLst>
                <a:cxn ang="0">
                  <a:pos x="T0" y="T1"/>
                </a:cxn>
                <a:cxn ang="0">
                  <a:pos x="T2" y="T3"/>
                </a:cxn>
                <a:cxn ang="0">
                  <a:pos x="T4" y="T5"/>
                </a:cxn>
                <a:cxn ang="0">
                  <a:pos x="T6" y="T7"/>
                </a:cxn>
                <a:cxn ang="0">
                  <a:pos x="T8" y="T9"/>
                </a:cxn>
              </a:cxnLst>
              <a:rect l="0" t="0" r="r" b="b"/>
              <a:pathLst>
                <a:path w="19" h="7">
                  <a:moveTo>
                    <a:pt x="19" y="7"/>
                  </a:moveTo>
                  <a:lnTo>
                    <a:pt x="19" y="7"/>
                  </a:lnTo>
                  <a:lnTo>
                    <a:pt x="0" y="0"/>
                  </a:lnTo>
                  <a:lnTo>
                    <a:pt x="0" y="0"/>
                  </a:lnTo>
                  <a:lnTo>
                    <a:pt x="19"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7"/>
            <p:cNvSpPr>
              <a:spLocks noEditPoints="1"/>
            </p:cNvSpPr>
            <p:nvPr/>
          </p:nvSpPr>
          <p:spPr bwMode="auto">
            <a:xfrm>
              <a:off x="2755900" y="3317876"/>
              <a:ext cx="66675" cy="93663"/>
            </a:xfrm>
            <a:custGeom>
              <a:avLst/>
              <a:gdLst>
                <a:gd name="T0" fmla="*/ 42 w 42"/>
                <a:gd name="T1" fmla="*/ 9 h 59"/>
                <a:gd name="T2" fmla="*/ 42 w 42"/>
                <a:gd name="T3" fmla="*/ 9 h 59"/>
                <a:gd name="T4" fmla="*/ 26 w 42"/>
                <a:gd name="T5" fmla="*/ 0 h 59"/>
                <a:gd name="T6" fmla="*/ 26 w 42"/>
                <a:gd name="T7" fmla="*/ 0 h 59"/>
                <a:gd name="T8" fmla="*/ 42 w 42"/>
                <a:gd name="T9" fmla="*/ 9 h 59"/>
                <a:gd name="T10" fmla="*/ 42 w 42"/>
                <a:gd name="T11" fmla="*/ 9 h 59"/>
                <a:gd name="T12" fmla="*/ 42 w 42"/>
                <a:gd name="T13" fmla="*/ 9 h 59"/>
                <a:gd name="T14" fmla="*/ 26 w 42"/>
                <a:gd name="T15" fmla="*/ 0 h 59"/>
                <a:gd name="T16" fmla="*/ 26 w 42"/>
                <a:gd name="T17" fmla="*/ 0 h 59"/>
                <a:gd name="T18" fmla="*/ 42 w 42"/>
                <a:gd name="T19" fmla="*/ 9 h 59"/>
                <a:gd name="T20" fmla="*/ 19 w 42"/>
                <a:gd name="T21" fmla="*/ 59 h 59"/>
                <a:gd name="T22" fmla="*/ 35 w 42"/>
                <a:gd name="T23" fmla="*/ 26 h 59"/>
                <a:gd name="T24" fmla="*/ 16 w 42"/>
                <a:gd name="T25" fmla="*/ 17 h 59"/>
                <a:gd name="T26" fmla="*/ 0 w 42"/>
                <a:gd name="T27" fmla="*/ 52 h 59"/>
                <a:gd name="T28" fmla="*/ 19 w 4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59">
                  <a:moveTo>
                    <a:pt x="42" y="9"/>
                  </a:moveTo>
                  <a:lnTo>
                    <a:pt x="42" y="9"/>
                  </a:lnTo>
                  <a:lnTo>
                    <a:pt x="26" y="0"/>
                  </a:lnTo>
                  <a:lnTo>
                    <a:pt x="26" y="0"/>
                  </a:lnTo>
                  <a:lnTo>
                    <a:pt x="42" y="9"/>
                  </a:lnTo>
                  <a:close/>
                  <a:moveTo>
                    <a:pt x="42" y="9"/>
                  </a:moveTo>
                  <a:lnTo>
                    <a:pt x="42" y="9"/>
                  </a:lnTo>
                  <a:lnTo>
                    <a:pt x="26" y="0"/>
                  </a:lnTo>
                  <a:lnTo>
                    <a:pt x="26" y="0"/>
                  </a:lnTo>
                  <a:lnTo>
                    <a:pt x="42" y="9"/>
                  </a:lnTo>
                  <a:close/>
                  <a:moveTo>
                    <a:pt x="19" y="59"/>
                  </a:moveTo>
                  <a:lnTo>
                    <a:pt x="35" y="26"/>
                  </a:lnTo>
                  <a:lnTo>
                    <a:pt x="16" y="17"/>
                  </a:lnTo>
                  <a:lnTo>
                    <a:pt x="0" y="52"/>
                  </a:lnTo>
                  <a:lnTo>
                    <a:pt x="19"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8"/>
            <p:cNvSpPr>
              <a:spLocks/>
            </p:cNvSpPr>
            <p:nvPr/>
          </p:nvSpPr>
          <p:spPr bwMode="auto">
            <a:xfrm>
              <a:off x="2797175" y="3265488"/>
              <a:ext cx="52388" cy="66675"/>
            </a:xfrm>
            <a:custGeom>
              <a:avLst/>
              <a:gdLst>
                <a:gd name="T0" fmla="*/ 16 w 33"/>
                <a:gd name="T1" fmla="*/ 42 h 42"/>
                <a:gd name="T2" fmla="*/ 26 w 33"/>
                <a:gd name="T3" fmla="*/ 26 h 42"/>
                <a:gd name="T4" fmla="*/ 16 w 33"/>
                <a:gd name="T5" fmla="*/ 21 h 42"/>
                <a:gd name="T6" fmla="*/ 7 w 33"/>
                <a:gd name="T7" fmla="*/ 26 h 42"/>
                <a:gd name="T8" fmla="*/ 16 w 33"/>
                <a:gd name="T9" fmla="*/ 42 h 42"/>
                <a:gd name="T10" fmla="*/ 33 w 33"/>
                <a:gd name="T11" fmla="*/ 33 h 42"/>
                <a:gd name="T12" fmla="*/ 16 w 33"/>
                <a:gd name="T13" fmla="*/ 0 h 42"/>
                <a:gd name="T14" fmla="*/ 0 w 33"/>
                <a:gd name="T15" fmla="*/ 33 h 42"/>
                <a:gd name="T16" fmla="*/ 16 w 33"/>
                <a:gd name="T17" fmla="*/ 42 h 42"/>
                <a:gd name="T18" fmla="*/ 16 w 33"/>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42">
                  <a:moveTo>
                    <a:pt x="16" y="42"/>
                  </a:moveTo>
                  <a:lnTo>
                    <a:pt x="26" y="26"/>
                  </a:lnTo>
                  <a:lnTo>
                    <a:pt x="16" y="21"/>
                  </a:lnTo>
                  <a:lnTo>
                    <a:pt x="7" y="26"/>
                  </a:lnTo>
                  <a:lnTo>
                    <a:pt x="16" y="42"/>
                  </a:lnTo>
                  <a:lnTo>
                    <a:pt x="33" y="33"/>
                  </a:lnTo>
                  <a:lnTo>
                    <a:pt x="16" y="0"/>
                  </a:lnTo>
                  <a:lnTo>
                    <a:pt x="0" y="33"/>
                  </a:lnTo>
                  <a:lnTo>
                    <a:pt x="16" y="42"/>
                  </a:lnTo>
                  <a:lnTo>
                    <a:pt x="16"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9"/>
            <p:cNvSpPr>
              <a:spLocks/>
            </p:cNvSpPr>
            <p:nvPr/>
          </p:nvSpPr>
          <p:spPr bwMode="auto">
            <a:xfrm>
              <a:off x="2833688" y="3344863"/>
              <a:ext cx="30163" cy="14288"/>
            </a:xfrm>
            <a:custGeom>
              <a:avLst/>
              <a:gdLst>
                <a:gd name="T0" fmla="*/ 0 w 19"/>
                <a:gd name="T1" fmla="*/ 9 h 9"/>
                <a:gd name="T2" fmla="*/ 0 w 19"/>
                <a:gd name="T3" fmla="*/ 9 h 9"/>
                <a:gd name="T4" fmla="*/ 19 w 19"/>
                <a:gd name="T5" fmla="*/ 0 h 9"/>
                <a:gd name="T6" fmla="*/ 19 w 19"/>
                <a:gd name="T7" fmla="*/ 0 h 9"/>
                <a:gd name="T8" fmla="*/ 0 w 19"/>
                <a:gd name="T9" fmla="*/ 9 h 9"/>
              </a:gdLst>
              <a:ahLst/>
              <a:cxnLst>
                <a:cxn ang="0">
                  <a:pos x="T0" y="T1"/>
                </a:cxn>
                <a:cxn ang="0">
                  <a:pos x="T2" y="T3"/>
                </a:cxn>
                <a:cxn ang="0">
                  <a:pos x="T4" y="T5"/>
                </a:cxn>
                <a:cxn ang="0">
                  <a:pos x="T6" y="T7"/>
                </a:cxn>
                <a:cxn ang="0">
                  <a:pos x="T8" y="T9"/>
                </a:cxn>
              </a:cxnLst>
              <a:rect l="0" t="0" r="r" b="b"/>
              <a:pathLst>
                <a:path w="19" h="9">
                  <a:moveTo>
                    <a:pt x="0" y="9"/>
                  </a:moveTo>
                  <a:lnTo>
                    <a:pt x="0" y="9"/>
                  </a:lnTo>
                  <a:lnTo>
                    <a:pt x="19" y="0"/>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noEditPoints="1"/>
            </p:cNvSpPr>
            <p:nvPr/>
          </p:nvSpPr>
          <p:spPr bwMode="auto">
            <a:xfrm>
              <a:off x="2833688" y="3344863"/>
              <a:ext cx="68263" cy="93663"/>
            </a:xfrm>
            <a:custGeom>
              <a:avLst/>
              <a:gdLst>
                <a:gd name="T0" fmla="*/ 26 w 43"/>
                <a:gd name="T1" fmla="*/ 59 h 59"/>
                <a:gd name="T2" fmla="*/ 26 w 43"/>
                <a:gd name="T3" fmla="*/ 59 h 59"/>
                <a:gd name="T4" fmla="*/ 43 w 43"/>
                <a:gd name="T5" fmla="*/ 52 h 59"/>
                <a:gd name="T6" fmla="*/ 43 w 43"/>
                <a:gd name="T7" fmla="*/ 52 h 59"/>
                <a:gd name="T8" fmla="*/ 26 w 43"/>
                <a:gd name="T9" fmla="*/ 59 h 59"/>
                <a:gd name="T10" fmla="*/ 26 w 43"/>
                <a:gd name="T11" fmla="*/ 59 h 59"/>
                <a:gd name="T12" fmla="*/ 26 w 43"/>
                <a:gd name="T13" fmla="*/ 59 h 59"/>
                <a:gd name="T14" fmla="*/ 43 w 43"/>
                <a:gd name="T15" fmla="*/ 52 h 59"/>
                <a:gd name="T16" fmla="*/ 43 w 43"/>
                <a:gd name="T17" fmla="*/ 52 h 59"/>
                <a:gd name="T18" fmla="*/ 26 w 43"/>
                <a:gd name="T19" fmla="*/ 59 h 59"/>
                <a:gd name="T20" fmla="*/ 0 w 43"/>
                <a:gd name="T21" fmla="*/ 9 h 59"/>
                <a:gd name="T22" fmla="*/ 17 w 43"/>
                <a:gd name="T23" fmla="*/ 42 h 59"/>
                <a:gd name="T24" fmla="*/ 36 w 43"/>
                <a:gd name="T25" fmla="*/ 35 h 59"/>
                <a:gd name="T26" fmla="*/ 19 w 43"/>
                <a:gd name="T27" fmla="*/ 0 h 59"/>
                <a:gd name="T28" fmla="*/ 0 w 43"/>
                <a:gd name="T29" fmla="*/ 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59">
                  <a:moveTo>
                    <a:pt x="26" y="59"/>
                  </a:moveTo>
                  <a:lnTo>
                    <a:pt x="26" y="59"/>
                  </a:lnTo>
                  <a:lnTo>
                    <a:pt x="43" y="52"/>
                  </a:lnTo>
                  <a:lnTo>
                    <a:pt x="43" y="52"/>
                  </a:lnTo>
                  <a:lnTo>
                    <a:pt x="26" y="59"/>
                  </a:lnTo>
                  <a:close/>
                  <a:moveTo>
                    <a:pt x="26" y="59"/>
                  </a:moveTo>
                  <a:lnTo>
                    <a:pt x="26" y="59"/>
                  </a:lnTo>
                  <a:lnTo>
                    <a:pt x="43" y="52"/>
                  </a:lnTo>
                  <a:lnTo>
                    <a:pt x="43" y="52"/>
                  </a:lnTo>
                  <a:lnTo>
                    <a:pt x="26" y="59"/>
                  </a:lnTo>
                  <a:close/>
                  <a:moveTo>
                    <a:pt x="0" y="9"/>
                  </a:moveTo>
                  <a:lnTo>
                    <a:pt x="17" y="42"/>
                  </a:lnTo>
                  <a:lnTo>
                    <a:pt x="36" y="35"/>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2874963" y="3427413"/>
              <a:ext cx="57150" cy="52388"/>
            </a:xfrm>
            <a:custGeom>
              <a:avLst/>
              <a:gdLst>
                <a:gd name="T0" fmla="*/ 0 w 36"/>
                <a:gd name="T1" fmla="*/ 7 h 33"/>
                <a:gd name="T2" fmla="*/ 10 w 36"/>
                <a:gd name="T3" fmla="*/ 28 h 33"/>
                <a:gd name="T4" fmla="*/ 34 w 36"/>
                <a:gd name="T5" fmla="*/ 33 h 33"/>
                <a:gd name="T6" fmla="*/ 36 w 36"/>
                <a:gd name="T7" fmla="*/ 14 h 33"/>
                <a:gd name="T8" fmla="*/ 24 w 36"/>
                <a:gd name="T9" fmla="*/ 12 h 33"/>
                <a:gd name="T10" fmla="*/ 17 w 36"/>
                <a:gd name="T11" fmla="*/ 0 h 33"/>
                <a:gd name="T12" fmla="*/ 0 w 36"/>
                <a:gd name="T13" fmla="*/ 7 h 33"/>
                <a:gd name="T14" fmla="*/ 0 w 36"/>
                <a:gd name="T15" fmla="*/ 7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3">
                  <a:moveTo>
                    <a:pt x="0" y="7"/>
                  </a:moveTo>
                  <a:lnTo>
                    <a:pt x="10" y="28"/>
                  </a:lnTo>
                  <a:lnTo>
                    <a:pt x="34" y="33"/>
                  </a:lnTo>
                  <a:lnTo>
                    <a:pt x="36" y="14"/>
                  </a:lnTo>
                  <a:lnTo>
                    <a:pt x="24" y="12"/>
                  </a:lnTo>
                  <a:lnTo>
                    <a:pt x="17" y="0"/>
                  </a:lnTo>
                  <a:lnTo>
                    <a:pt x="0" y="7"/>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2957513" y="3452813"/>
              <a:ext cx="4763" cy="30163"/>
            </a:xfrm>
            <a:custGeom>
              <a:avLst/>
              <a:gdLst>
                <a:gd name="T0" fmla="*/ 0 w 3"/>
                <a:gd name="T1" fmla="*/ 19 h 19"/>
                <a:gd name="T2" fmla="*/ 0 w 3"/>
                <a:gd name="T3" fmla="*/ 19 h 19"/>
                <a:gd name="T4" fmla="*/ 3 w 3"/>
                <a:gd name="T5" fmla="*/ 0 h 19"/>
                <a:gd name="T6" fmla="*/ 3 w 3"/>
                <a:gd name="T7" fmla="*/ 0 h 19"/>
                <a:gd name="T8" fmla="*/ 0 w 3"/>
                <a:gd name="T9" fmla="*/ 19 h 19"/>
              </a:gdLst>
              <a:ahLst/>
              <a:cxnLst>
                <a:cxn ang="0">
                  <a:pos x="T0" y="T1"/>
                </a:cxn>
                <a:cxn ang="0">
                  <a:pos x="T2" y="T3"/>
                </a:cxn>
                <a:cxn ang="0">
                  <a:pos x="T4" y="T5"/>
                </a:cxn>
                <a:cxn ang="0">
                  <a:pos x="T6" y="T7"/>
                </a:cxn>
                <a:cxn ang="0">
                  <a:pos x="T8" y="T9"/>
                </a:cxn>
              </a:cxnLst>
              <a:rect l="0" t="0" r="r" b="b"/>
              <a:pathLst>
                <a:path w="3" h="19">
                  <a:moveTo>
                    <a:pt x="0" y="19"/>
                  </a:moveTo>
                  <a:lnTo>
                    <a:pt x="0" y="19"/>
                  </a:lnTo>
                  <a:lnTo>
                    <a:pt x="3" y="0"/>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noEditPoints="1"/>
            </p:cNvSpPr>
            <p:nvPr/>
          </p:nvSpPr>
          <p:spPr bwMode="auto">
            <a:xfrm>
              <a:off x="2957513" y="3452813"/>
              <a:ext cx="95250" cy="42863"/>
            </a:xfrm>
            <a:custGeom>
              <a:avLst/>
              <a:gdLst>
                <a:gd name="T0" fmla="*/ 57 w 60"/>
                <a:gd name="T1" fmla="*/ 27 h 27"/>
                <a:gd name="T2" fmla="*/ 57 w 60"/>
                <a:gd name="T3" fmla="*/ 27 h 27"/>
                <a:gd name="T4" fmla="*/ 60 w 60"/>
                <a:gd name="T5" fmla="*/ 8 h 27"/>
                <a:gd name="T6" fmla="*/ 60 w 60"/>
                <a:gd name="T7" fmla="*/ 8 h 27"/>
                <a:gd name="T8" fmla="*/ 57 w 60"/>
                <a:gd name="T9" fmla="*/ 27 h 27"/>
                <a:gd name="T10" fmla="*/ 57 w 60"/>
                <a:gd name="T11" fmla="*/ 27 h 27"/>
                <a:gd name="T12" fmla="*/ 57 w 60"/>
                <a:gd name="T13" fmla="*/ 27 h 27"/>
                <a:gd name="T14" fmla="*/ 60 w 60"/>
                <a:gd name="T15" fmla="*/ 8 h 27"/>
                <a:gd name="T16" fmla="*/ 60 w 60"/>
                <a:gd name="T17" fmla="*/ 8 h 27"/>
                <a:gd name="T18" fmla="*/ 57 w 60"/>
                <a:gd name="T19" fmla="*/ 27 h 27"/>
                <a:gd name="T20" fmla="*/ 0 w 60"/>
                <a:gd name="T21" fmla="*/ 19 h 27"/>
                <a:gd name="T22" fmla="*/ 38 w 60"/>
                <a:gd name="T23" fmla="*/ 24 h 27"/>
                <a:gd name="T24" fmla="*/ 41 w 60"/>
                <a:gd name="T25" fmla="*/ 5 h 27"/>
                <a:gd name="T26" fmla="*/ 3 w 60"/>
                <a:gd name="T27" fmla="*/ 0 h 27"/>
                <a:gd name="T28" fmla="*/ 0 w 60"/>
                <a:gd name="T29"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27">
                  <a:moveTo>
                    <a:pt x="57" y="27"/>
                  </a:moveTo>
                  <a:lnTo>
                    <a:pt x="57" y="27"/>
                  </a:lnTo>
                  <a:lnTo>
                    <a:pt x="60" y="8"/>
                  </a:lnTo>
                  <a:lnTo>
                    <a:pt x="60" y="8"/>
                  </a:lnTo>
                  <a:lnTo>
                    <a:pt x="57" y="27"/>
                  </a:lnTo>
                  <a:close/>
                  <a:moveTo>
                    <a:pt x="57" y="27"/>
                  </a:moveTo>
                  <a:lnTo>
                    <a:pt x="57" y="27"/>
                  </a:lnTo>
                  <a:lnTo>
                    <a:pt x="60" y="8"/>
                  </a:lnTo>
                  <a:lnTo>
                    <a:pt x="60" y="8"/>
                  </a:lnTo>
                  <a:lnTo>
                    <a:pt x="57" y="27"/>
                  </a:lnTo>
                  <a:close/>
                  <a:moveTo>
                    <a:pt x="0" y="19"/>
                  </a:moveTo>
                  <a:lnTo>
                    <a:pt x="38" y="24"/>
                  </a:lnTo>
                  <a:lnTo>
                    <a:pt x="41" y="5"/>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3048000" y="3465513"/>
              <a:ext cx="63500" cy="52388"/>
            </a:xfrm>
            <a:custGeom>
              <a:avLst/>
              <a:gdLst>
                <a:gd name="T0" fmla="*/ 0 w 40"/>
                <a:gd name="T1" fmla="*/ 19 h 33"/>
                <a:gd name="T2" fmla="*/ 17 w 40"/>
                <a:gd name="T3" fmla="*/ 21 h 33"/>
                <a:gd name="T4" fmla="*/ 19 w 40"/>
                <a:gd name="T5" fmla="*/ 11 h 33"/>
                <a:gd name="T6" fmla="*/ 12 w 40"/>
                <a:gd name="T7" fmla="*/ 7 h 33"/>
                <a:gd name="T8" fmla="*/ 0 w 40"/>
                <a:gd name="T9" fmla="*/ 19 h 33"/>
                <a:gd name="T10" fmla="*/ 12 w 40"/>
                <a:gd name="T11" fmla="*/ 33 h 33"/>
                <a:gd name="T12" fmla="*/ 40 w 40"/>
                <a:gd name="T13" fmla="*/ 7 h 33"/>
                <a:gd name="T14" fmla="*/ 3 w 40"/>
                <a:gd name="T15" fmla="*/ 0 h 33"/>
                <a:gd name="T16" fmla="*/ 0 w 40"/>
                <a:gd name="T17" fmla="*/ 19 h 33"/>
                <a:gd name="T18" fmla="*/ 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0" y="19"/>
                  </a:moveTo>
                  <a:lnTo>
                    <a:pt x="17" y="21"/>
                  </a:lnTo>
                  <a:lnTo>
                    <a:pt x="19" y="11"/>
                  </a:lnTo>
                  <a:lnTo>
                    <a:pt x="12" y="7"/>
                  </a:lnTo>
                  <a:lnTo>
                    <a:pt x="0" y="19"/>
                  </a:lnTo>
                  <a:lnTo>
                    <a:pt x="12" y="33"/>
                  </a:lnTo>
                  <a:lnTo>
                    <a:pt x="40" y="7"/>
                  </a:lnTo>
                  <a:lnTo>
                    <a:pt x="3" y="0"/>
                  </a:lnTo>
                  <a:lnTo>
                    <a:pt x="0" y="19"/>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3025775" y="3517901"/>
              <a:ext cx="22225" cy="19050"/>
            </a:xfrm>
            <a:custGeom>
              <a:avLst/>
              <a:gdLst>
                <a:gd name="T0" fmla="*/ 0 w 14"/>
                <a:gd name="T1" fmla="*/ 0 h 12"/>
                <a:gd name="T2" fmla="*/ 0 w 14"/>
                <a:gd name="T3" fmla="*/ 0 h 12"/>
                <a:gd name="T4" fmla="*/ 12 w 14"/>
                <a:gd name="T5" fmla="*/ 12 h 12"/>
                <a:gd name="T6" fmla="*/ 14 w 14"/>
                <a:gd name="T7" fmla="*/ 12 h 12"/>
                <a:gd name="T8" fmla="*/ 0 w 14"/>
                <a:gd name="T9" fmla="*/ 0 h 12"/>
              </a:gdLst>
              <a:ahLst/>
              <a:cxnLst>
                <a:cxn ang="0">
                  <a:pos x="T0" y="T1"/>
                </a:cxn>
                <a:cxn ang="0">
                  <a:pos x="T2" y="T3"/>
                </a:cxn>
                <a:cxn ang="0">
                  <a:pos x="T4" y="T5"/>
                </a:cxn>
                <a:cxn ang="0">
                  <a:pos x="T6" y="T7"/>
                </a:cxn>
                <a:cxn ang="0">
                  <a:pos x="T8" y="T9"/>
                </a:cxn>
              </a:cxnLst>
              <a:rect l="0" t="0" r="r" b="b"/>
              <a:pathLst>
                <a:path w="14" h="12">
                  <a:moveTo>
                    <a:pt x="0" y="0"/>
                  </a:moveTo>
                  <a:lnTo>
                    <a:pt x="0" y="0"/>
                  </a:lnTo>
                  <a:lnTo>
                    <a:pt x="12" y="12"/>
                  </a:lnTo>
                  <a:lnTo>
                    <a:pt x="14" y="1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noEditPoints="1"/>
            </p:cNvSpPr>
            <p:nvPr/>
          </p:nvSpPr>
          <p:spPr bwMode="auto">
            <a:xfrm>
              <a:off x="2962275" y="3517901"/>
              <a:ext cx="82550" cy="82550"/>
            </a:xfrm>
            <a:custGeom>
              <a:avLst/>
              <a:gdLst>
                <a:gd name="T0" fmla="*/ 0 w 52"/>
                <a:gd name="T1" fmla="*/ 38 h 52"/>
                <a:gd name="T2" fmla="*/ 0 w 52"/>
                <a:gd name="T3" fmla="*/ 38 h 52"/>
                <a:gd name="T4" fmla="*/ 12 w 52"/>
                <a:gd name="T5" fmla="*/ 52 h 52"/>
                <a:gd name="T6" fmla="*/ 12 w 52"/>
                <a:gd name="T7" fmla="*/ 52 h 52"/>
                <a:gd name="T8" fmla="*/ 0 w 52"/>
                <a:gd name="T9" fmla="*/ 38 h 52"/>
                <a:gd name="T10" fmla="*/ 40 w 52"/>
                <a:gd name="T11" fmla="*/ 0 h 52"/>
                <a:gd name="T12" fmla="*/ 14 w 52"/>
                <a:gd name="T13" fmla="*/ 26 h 52"/>
                <a:gd name="T14" fmla="*/ 26 w 52"/>
                <a:gd name="T15" fmla="*/ 38 h 52"/>
                <a:gd name="T16" fmla="*/ 52 w 52"/>
                <a:gd name="T17" fmla="*/ 12 h 52"/>
                <a:gd name="T18" fmla="*/ 40 w 52"/>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0" y="38"/>
                  </a:moveTo>
                  <a:lnTo>
                    <a:pt x="0" y="38"/>
                  </a:lnTo>
                  <a:lnTo>
                    <a:pt x="12" y="52"/>
                  </a:lnTo>
                  <a:lnTo>
                    <a:pt x="12" y="52"/>
                  </a:lnTo>
                  <a:lnTo>
                    <a:pt x="0" y="38"/>
                  </a:lnTo>
                  <a:close/>
                  <a:moveTo>
                    <a:pt x="40" y="0"/>
                  </a:moveTo>
                  <a:lnTo>
                    <a:pt x="14" y="26"/>
                  </a:lnTo>
                  <a:lnTo>
                    <a:pt x="26" y="38"/>
                  </a:lnTo>
                  <a:lnTo>
                    <a:pt x="52" y="12"/>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2935288" y="3578226"/>
              <a:ext cx="46038" cy="63500"/>
            </a:xfrm>
            <a:custGeom>
              <a:avLst/>
              <a:gdLst>
                <a:gd name="T0" fmla="*/ 17 w 29"/>
                <a:gd name="T1" fmla="*/ 0 h 40"/>
                <a:gd name="T2" fmla="*/ 0 w 29"/>
                <a:gd name="T3" fmla="*/ 16 h 40"/>
                <a:gd name="T4" fmla="*/ 3 w 29"/>
                <a:gd name="T5" fmla="*/ 40 h 40"/>
                <a:gd name="T6" fmla="*/ 22 w 29"/>
                <a:gd name="T7" fmla="*/ 38 h 40"/>
                <a:gd name="T8" fmla="*/ 19 w 29"/>
                <a:gd name="T9" fmla="*/ 24 h 40"/>
                <a:gd name="T10" fmla="*/ 29 w 29"/>
                <a:gd name="T11" fmla="*/ 14 h 40"/>
                <a:gd name="T12" fmla="*/ 17 w 29"/>
                <a:gd name="T13" fmla="*/ 0 h 40"/>
                <a:gd name="T14" fmla="*/ 17 w 29"/>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0">
                  <a:moveTo>
                    <a:pt x="17" y="0"/>
                  </a:moveTo>
                  <a:lnTo>
                    <a:pt x="0" y="16"/>
                  </a:lnTo>
                  <a:lnTo>
                    <a:pt x="3" y="40"/>
                  </a:lnTo>
                  <a:lnTo>
                    <a:pt x="22" y="38"/>
                  </a:lnTo>
                  <a:lnTo>
                    <a:pt x="19" y="24"/>
                  </a:lnTo>
                  <a:lnTo>
                    <a:pt x="29" y="14"/>
                  </a:lnTo>
                  <a:lnTo>
                    <a:pt x="17" y="0"/>
                  </a:lnTo>
                  <a:lnTo>
                    <a:pt x="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2946400" y="3663951"/>
              <a:ext cx="30163" cy="7938"/>
            </a:xfrm>
            <a:custGeom>
              <a:avLst/>
              <a:gdLst>
                <a:gd name="T0" fmla="*/ 0 w 19"/>
                <a:gd name="T1" fmla="*/ 5 h 5"/>
                <a:gd name="T2" fmla="*/ 0 w 19"/>
                <a:gd name="T3" fmla="*/ 5 h 5"/>
                <a:gd name="T4" fmla="*/ 19 w 19"/>
                <a:gd name="T5" fmla="*/ 0 h 5"/>
                <a:gd name="T6" fmla="*/ 19 w 19"/>
                <a:gd name="T7" fmla="*/ 0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0" y="5"/>
                  </a:lnTo>
                  <a:lnTo>
                    <a:pt x="19" y="0"/>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noEditPoints="1"/>
            </p:cNvSpPr>
            <p:nvPr/>
          </p:nvSpPr>
          <p:spPr bwMode="auto">
            <a:xfrm>
              <a:off x="2946400" y="3663951"/>
              <a:ext cx="46038" cy="95250"/>
            </a:xfrm>
            <a:custGeom>
              <a:avLst/>
              <a:gdLst>
                <a:gd name="T0" fmla="*/ 10 w 29"/>
                <a:gd name="T1" fmla="*/ 60 h 60"/>
                <a:gd name="T2" fmla="*/ 10 w 29"/>
                <a:gd name="T3" fmla="*/ 60 h 60"/>
                <a:gd name="T4" fmla="*/ 29 w 29"/>
                <a:gd name="T5" fmla="*/ 57 h 60"/>
                <a:gd name="T6" fmla="*/ 29 w 29"/>
                <a:gd name="T7" fmla="*/ 57 h 60"/>
                <a:gd name="T8" fmla="*/ 10 w 29"/>
                <a:gd name="T9" fmla="*/ 60 h 60"/>
                <a:gd name="T10" fmla="*/ 0 w 29"/>
                <a:gd name="T11" fmla="*/ 5 h 60"/>
                <a:gd name="T12" fmla="*/ 5 w 29"/>
                <a:gd name="T13" fmla="*/ 41 h 60"/>
                <a:gd name="T14" fmla="*/ 24 w 29"/>
                <a:gd name="T15" fmla="*/ 38 h 60"/>
                <a:gd name="T16" fmla="*/ 19 w 29"/>
                <a:gd name="T17" fmla="*/ 0 h 60"/>
                <a:gd name="T18" fmla="*/ 0 w 29"/>
                <a:gd name="T1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60">
                  <a:moveTo>
                    <a:pt x="10" y="60"/>
                  </a:moveTo>
                  <a:lnTo>
                    <a:pt x="10" y="60"/>
                  </a:lnTo>
                  <a:lnTo>
                    <a:pt x="29" y="57"/>
                  </a:lnTo>
                  <a:lnTo>
                    <a:pt x="29" y="57"/>
                  </a:lnTo>
                  <a:lnTo>
                    <a:pt x="10" y="60"/>
                  </a:lnTo>
                  <a:close/>
                  <a:moveTo>
                    <a:pt x="0" y="5"/>
                  </a:moveTo>
                  <a:lnTo>
                    <a:pt x="5" y="41"/>
                  </a:lnTo>
                  <a:lnTo>
                    <a:pt x="24" y="38"/>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2946400" y="3754438"/>
              <a:ext cx="52388" cy="60325"/>
            </a:xfrm>
            <a:custGeom>
              <a:avLst/>
              <a:gdLst>
                <a:gd name="T0" fmla="*/ 10 w 33"/>
                <a:gd name="T1" fmla="*/ 3 h 38"/>
                <a:gd name="T2" fmla="*/ 12 w 33"/>
                <a:gd name="T3" fmla="*/ 22 h 38"/>
                <a:gd name="T4" fmla="*/ 22 w 33"/>
                <a:gd name="T5" fmla="*/ 19 h 38"/>
                <a:gd name="T6" fmla="*/ 26 w 33"/>
                <a:gd name="T7" fmla="*/ 12 h 38"/>
                <a:gd name="T8" fmla="*/ 10 w 33"/>
                <a:gd name="T9" fmla="*/ 3 h 38"/>
                <a:gd name="T10" fmla="*/ 0 w 33"/>
                <a:gd name="T11" fmla="*/ 19 h 38"/>
                <a:gd name="T12" fmla="*/ 33 w 33"/>
                <a:gd name="T13" fmla="*/ 38 h 38"/>
                <a:gd name="T14" fmla="*/ 29 w 33"/>
                <a:gd name="T15" fmla="*/ 0 h 38"/>
                <a:gd name="T16" fmla="*/ 10 w 33"/>
                <a:gd name="T17" fmla="*/ 3 h 38"/>
                <a:gd name="T18" fmla="*/ 10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10" y="3"/>
                  </a:moveTo>
                  <a:lnTo>
                    <a:pt x="12" y="22"/>
                  </a:lnTo>
                  <a:lnTo>
                    <a:pt x="22" y="19"/>
                  </a:lnTo>
                  <a:lnTo>
                    <a:pt x="26" y="12"/>
                  </a:lnTo>
                  <a:lnTo>
                    <a:pt x="10" y="3"/>
                  </a:lnTo>
                  <a:lnTo>
                    <a:pt x="0" y="19"/>
                  </a:lnTo>
                  <a:lnTo>
                    <a:pt x="33" y="38"/>
                  </a:lnTo>
                  <a:lnTo>
                    <a:pt x="29" y="0"/>
                  </a:lnTo>
                  <a:lnTo>
                    <a:pt x="10" y="3"/>
                  </a:lnTo>
                  <a:lnTo>
                    <a:pt x="1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2921000" y="3743326"/>
              <a:ext cx="14288" cy="30163"/>
            </a:xfrm>
            <a:custGeom>
              <a:avLst/>
              <a:gdLst>
                <a:gd name="T0" fmla="*/ 9 w 9"/>
                <a:gd name="T1" fmla="*/ 0 h 19"/>
                <a:gd name="T2" fmla="*/ 9 w 9"/>
                <a:gd name="T3" fmla="*/ 0 h 19"/>
                <a:gd name="T4" fmla="*/ 0 w 9"/>
                <a:gd name="T5" fmla="*/ 19 h 19"/>
                <a:gd name="T6" fmla="*/ 0 w 9"/>
                <a:gd name="T7" fmla="*/ 19 h 19"/>
                <a:gd name="T8" fmla="*/ 9 w 9"/>
                <a:gd name="T9" fmla="*/ 0 h 19"/>
              </a:gdLst>
              <a:ahLst/>
              <a:cxnLst>
                <a:cxn ang="0">
                  <a:pos x="T0" y="T1"/>
                </a:cxn>
                <a:cxn ang="0">
                  <a:pos x="T2" y="T3"/>
                </a:cxn>
                <a:cxn ang="0">
                  <a:pos x="T4" y="T5"/>
                </a:cxn>
                <a:cxn ang="0">
                  <a:pos x="T6" y="T7"/>
                </a:cxn>
                <a:cxn ang="0">
                  <a:pos x="T8" y="T9"/>
                </a:cxn>
              </a:cxnLst>
              <a:rect l="0" t="0" r="r" b="b"/>
              <a:pathLst>
                <a:path w="9" h="19">
                  <a:moveTo>
                    <a:pt x="9" y="0"/>
                  </a:moveTo>
                  <a:lnTo>
                    <a:pt x="9" y="0"/>
                  </a:lnTo>
                  <a:lnTo>
                    <a:pt x="0" y="19"/>
                  </a:lnTo>
                  <a:lnTo>
                    <a:pt x="0" y="19"/>
                  </a:ln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noEditPoints="1"/>
            </p:cNvSpPr>
            <p:nvPr/>
          </p:nvSpPr>
          <p:spPr bwMode="auto">
            <a:xfrm>
              <a:off x="2841625" y="3702051"/>
              <a:ext cx="93663" cy="71438"/>
            </a:xfrm>
            <a:custGeom>
              <a:avLst/>
              <a:gdLst>
                <a:gd name="T0" fmla="*/ 10 w 59"/>
                <a:gd name="T1" fmla="*/ 0 h 45"/>
                <a:gd name="T2" fmla="*/ 10 w 59"/>
                <a:gd name="T3" fmla="*/ 0 h 45"/>
                <a:gd name="T4" fmla="*/ 0 w 59"/>
                <a:gd name="T5" fmla="*/ 17 h 45"/>
                <a:gd name="T6" fmla="*/ 10 w 59"/>
                <a:gd name="T7" fmla="*/ 0 h 45"/>
                <a:gd name="T8" fmla="*/ 10 w 59"/>
                <a:gd name="T9" fmla="*/ 0 h 45"/>
                <a:gd name="T10" fmla="*/ 10 w 59"/>
                <a:gd name="T11" fmla="*/ 0 h 45"/>
                <a:gd name="T12" fmla="*/ 0 w 59"/>
                <a:gd name="T13" fmla="*/ 17 h 45"/>
                <a:gd name="T14" fmla="*/ 0 w 59"/>
                <a:gd name="T15" fmla="*/ 17 h 45"/>
                <a:gd name="T16" fmla="*/ 10 w 59"/>
                <a:gd name="T17" fmla="*/ 0 h 45"/>
                <a:gd name="T18" fmla="*/ 59 w 59"/>
                <a:gd name="T19" fmla="*/ 26 h 45"/>
                <a:gd name="T20" fmla="*/ 26 w 59"/>
                <a:gd name="T21" fmla="*/ 10 h 45"/>
                <a:gd name="T22" fmla="*/ 17 w 59"/>
                <a:gd name="T23" fmla="*/ 26 h 45"/>
                <a:gd name="T24" fmla="*/ 50 w 59"/>
                <a:gd name="T25" fmla="*/ 45 h 45"/>
                <a:gd name="T26" fmla="*/ 59 w 59"/>
                <a:gd name="T27"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45">
                  <a:moveTo>
                    <a:pt x="10" y="0"/>
                  </a:moveTo>
                  <a:lnTo>
                    <a:pt x="10" y="0"/>
                  </a:lnTo>
                  <a:lnTo>
                    <a:pt x="0" y="17"/>
                  </a:lnTo>
                  <a:lnTo>
                    <a:pt x="10" y="0"/>
                  </a:lnTo>
                  <a:close/>
                  <a:moveTo>
                    <a:pt x="10" y="0"/>
                  </a:moveTo>
                  <a:lnTo>
                    <a:pt x="10" y="0"/>
                  </a:lnTo>
                  <a:lnTo>
                    <a:pt x="0" y="17"/>
                  </a:lnTo>
                  <a:lnTo>
                    <a:pt x="0" y="17"/>
                  </a:lnTo>
                  <a:lnTo>
                    <a:pt x="10" y="0"/>
                  </a:lnTo>
                  <a:close/>
                  <a:moveTo>
                    <a:pt x="59" y="26"/>
                  </a:moveTo>
                  <a:lnTo>
                    <a:pt x="26" y="10"/>
                  </a:lnTo>
                  <a:lnTo>
                    <a:pt x="17" y="26"/>
                  </a:lnTo>
                  <a:lnTo>
                    <a:pt x="50" y="45"/>
                  </a:lnTo>
                  <a:lnTo>
                    <a:pt x="59"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8" name="Group 97"/>
          <p:cNvGrpSpPr/>
          <p:nvPr/>
        </p:nvGrpSpPr>
        <p:grpSpPr>
          <a:xfrm>
            <a:off x="7915275" y="2379663"/>
            <a:ext cx="2178050" cy="2024063"/>
            <a:chOff x="7915275" y="2379663"/>
            <a:chExt cx="2178050" cy="2024063"/>
          </a:xfrm>
        </p:grpSpPr>
        <p:sp>
          <p:nvSpPr>
            <p:cNvPr id="12" name="Freeform 12"/>
            <p:cNvSpPr>
              <a:spLocks noEditPoints="1"/>
            </p:cNvSpPr>
            <p:nvPr/>
          </p:nvSpPr>
          <p:spPr bwMode="auto">
            <a:xfrm>
              <a:off x="8442325" y="23796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lnTo>
                    <a:pt x="8" y="379"/>
                  </a:ln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lnTo>
                    <a:pt x="27" y="417"/>
                  </a:ln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Rectangle 13"/>
            <p:cNvSpPr>
              <a:spLocks noChangeArrowheads="1"/>
            </p:cNvSpPr>
            <p:nvPr/>
          </p:nvSpPr>
          <p:spPr bwMode="auto">
            <a:xfrm>
              <a:off x="8637588" y="4098926"/>
              <a:ext cx="14525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mpleted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4"/>
            <p:cNvSpPr>
              <a:spLocks noEditPoints="1"/>
            </p:cNvSpPr>
            <p:nvPr/>
          </p:nvSpPr>
          <p:spPr bwMode="auto">
            <a:xfrm>
              <a:off x="7915275"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189913" y="31337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8682038" y="2925763"/>
              <a:ext cx="1127125" cy="754063"/>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8682038" y="2714626"/>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8682038" y="3000376"/>
              <a:ext cx="720725" cy="679450"/>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8682038" y="2714626"/>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8970963" y="2824163"/>
              <a:ext cx="758825"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Oval 47"/>
            <p:cNvSpPr>
              <a:spLocks noChangeArrowheads="1"/>
            </p:cNvSpPr>
            <p:nvPr/>
          </p:nvSpPr>
          <p:spPr bwMode="auto">
            <a:xfrm>
              <a:off x="8715375" y="2755901"/>
              <a:ext cx="222250"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8"/>
            <p:cNvSpPr>
              <a:spLocks/>
            </p:cNvSpPr>
            <p:nvPr/>
          </p:nvSpPr>
          <p:spPr bwMode="auto">
            <a:xfrm>
              <a:off x="8772525" y="2805113"/>
              <a:ext cx="165100" cy="128588"/>
            </a:xfrm>
            <a:custGeom>
              <a:avLst/>
              <a:gdLst>
                <a:gd name="T0" fmla="*/ 26 w 104"/>
                <a:gd name="T1" fmla="*/ 47 h 81"/>
                <a:gd name="T2" fmla="*/ 59 w 104"/>
                <a:gd name="T3" fmla="*/ 81 h 81"/>
                <a:gd name="T4" fmla="*/ 42 w 104"/>
                <a:gd name="T5" fmla="*/ 81 h 81"/>
                <a:gd name="T6" fmla="*/ 0 w 104"/>
                <a:gd name="T7" fmla="*/ 40 h 81"/>
                <a:gd name="T8" fmla="*/ 42 w 104"/>
                <a:gd name="T9" fmla="*/ 0 h 81"/>
                <a:gd name="T10" fmla="*/ 59 w 104"/>
                <a:gd name="T11" fmla="*/ 0 h 81"/>
                <a:gd name="T12" fmla="*/ 26 w 104"/>
                <a:gd name="T13" fmla="*/ 33 h 81"/>
                <a:gd name="T14" fmla="*/ 104 w 104"/>
                <a:gd name="T15" fmla="*/ 33 h 81"/>
                <a:gd name="T16" fmla="*/ 104 w 104"/>
                <a:gd name="T17" fmla="*/ 47 h 81"/>
                <a:gd name="T18" fmla="*/ 26 w 104"/>
                <a:gd name="T19" fmla="*/ 4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1">
                  <a:moveTo>
                    <a:pt x="26" y="47"/>
                  </a:moveTo>
                  <a:lnTo>
                    <a:pt x="59" y="81"/>
                  </a:lnTo>
                  <a:lnTo>
                    <a:pt x="42" y="81"/>
                  </a:lnTo>
                  <a:lnTo>
                    <a:pt x="0" y="40"/>
                  </a:lnTo>
                  <a:lnTo>
                    <a:pt x="42"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8990013" y="3084513"/>
              <a:ext cx="511175" cy="485775"/>
            </a:xfrm>
            <a:custGeom>
              <a:avLst/>
              <a:gdLst>
                <a:gd name="T0" fmla="*/ 161 w 322"/>
                <a:gd name="T1" fmla="*/ 254 h 306"/>
                <a:gd name="T2" fmla="*/ 61 w 322"/>
                <a:gd name="T3" fmla="*/ 306 h 306"/>
                <a:gd name="T4" fmla="*/ 80 w 322"/>
                <a:gd name="T5" fmla="*/ 194 h 306"/>
                <a:gd name="T6" fmla="*/ 0 w 322"/>
                <a:gd name="T7" fmla="*/ 116 h 306"/>
                <a:gd name="T8" fmla="*/ 111 w 322"/>
                <a:gd name="T9" fmla="*/ 99 h 306"/>
                <a:gd name="T10" fmla="*/ 161 w 322"/>
                <a:gd name="T11" fmla="*/ 0 h 306"/>
                <a:gd name="T12" fmla="*/ 211 w 322"/>
                <a:gd name="T13" fmla="*/ 99 h 306"/>
                <a:gd name="T14" fmla="*/ 322 w 322"/>
                <a:gd name="T15" fmla="*/ 116 h 306"/>
                <a:gd name="T16" fmla="*/ 241 w 322"/>
                <a:gd name="T17" fmla="*/ 194 h 306"/>
                <a:gd name="T18" fmla="*/ 260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1" y="306"/>
                  </a:lnTo>
                  <a:lnTo>
                    <a:pt x="80" y="194"/>
                  </a:lnTo>
                  <a:lnTo>
                    <a:pt x="0" y="116"/>
                  </a:lnTo>
                  <a:lnTo>
                    <a:pt x="111" y="99"/>
                  </a:lnTo>
                  <a:lnTo>
                    <a:pt x="161" y="0"/>
                  </a:lnTo>
                  <a:lnTo>
                    <a:pt x="211" y="99"/>
                  </a:lnTo>
                  <a:lnTo>
                    <a:pt x="322" y="116"/>
                  </a:lnTo>
                  <a:lnTo>
                    <a:pt x="241" y="194"/>
                  </a:lnTo>
                  <a:lnTo>
                    <a:pt x="260"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7" name="Group 96"/>
          <p:cNvGrpSpPr/>
          <p:nvPr/>
        </p:nvGrpSpPr>
        <p:grpSpPr>
          <a:xfrm>
            <a:off x="4114800" y="2379663"/>
            <a:ext cx="3681413" cy="2024063"/>
            <a:chOff x="4114800" y="2379663"/>
            <a:chExt cx="3681413" cy="2024063"/>
          </a:xfrm>
        </p:grpSpPr>
        <p:sp>
          <p:nvSpPr>
            <p:cNvPr id="16" name="Freeform 16"/>
            <p:cNvSpPr>
              <a:spLocks noEditPoints="1"/>
            </p:cNvSpPr>
            <p:nvPr/>
          </p:nvSpPr>
          <p:spPr bwMode="auto">
            <a:xfrm>
              <a:off x="5591175" y="2925763"/>
              <a:ext cx="233363" cy="233363"/>
            </a:xfrm>
            <a:custGeom>
              <a:avLst/>
              <a:gdLst>
                <a:gd name="T0" fmla="*/ 118 w 147"/>
                <a:gd name="T1" fmla="*/ 133 h 147"/>
                <a:gd name="T2" fmla="*/ 132 w 147"/>
                <a:gd name="T3" fmla="*/ 147 h 147"/>
                <a:gd name="T4" fmla="*/ 147 w 147"/>
                <a:gd name="T5" fmla="*/ 133 h 147"/>
                <a:gd name="T6" fmla="*/ 130 w 147"/>
                <a:gd name="T7" fmla="*/ 119 h 147"/>
                <a:gd name="T8" fmla="*/ 118 w 147"/>
                <a:gd name="T9" fmla="*/ 133 h 147"/>
                <a:gd name="T10" fmla="*/ 118 w 147"/>
                <a:gd name="T11" fmla="*/ 133 h 147"/>
                <a:gd name="T12" fmla="*/ 118 w 147"/>
                <a:gd name="T13" fmla="*/ 133 h 147"/>
                <a:gd name="T14" fmla="*/ 130 w 147"/>
                <a:gd name="T15" fmla="*/ 119 h 147"/>
                <a:gd name="T16" fmla="*/ 130 w 147"/>
                <a:gd name="T17" fmla="*/ 119 h 147"/>
                <a:gd name="T18" fmla="*/ 118 w 147"/>
                <a:gd name="T19" fmla="*/ 133 h 147"/>
                <a:gd name="T20" fmla="*/ 78 w 147"/>
                <a:gd name="T21" fmla="*/ 93 h 147"/>
                <a:gd name="T22" fmla="*/ 104 w 147"/>
                <a:gd name="T23" fmla="*/ 119 h 147"/>
                <a:gd name="T24" fmla="*/ 118 w 147"/>
                <a:gd name="T25" fmla="*/ 107 h 147"/>
                <a:gd name="T26" fmla="*/ 92 w 147"/>
                <a:gd name="T27" fmla="*/ 78 h 147"/>
                <a:gd name="T28" fmla="*/ 78 w 147"/>
                <a:gd name="T29" fmla="*/ 93 h 147"/>
                <a:gd name="T30" fmla="*/ 78 w 147"/>
                <a:gd name="T31" fmla="*/ 93 h 147"/>
                <a:gd name="T32" fmla="*/ 78 w 147"/>
                <a:gd name="T33" fmla="*/ 93 h 147"/>
                <a:gd name="T34" fmla="*/ 92 w 147"/>
                <a:gd name="T35" fmla="*/ 78 h 147"/>
                <a:gd name="T36" fmla="*/ 92 w 147"/>
                <a:gd name="T37" fmla="*/ 78 h 147"/>
                <a:gd name="T38" fmla="*/ 78 w 147"/>
                <a:gd name="T39" fmla="*/ 93 h 147"/>
                <a:gd name="T40" fmla="*/ 38 w 147"/>
                <a:gd name="T41" fmla="*/ 52 h 147"/>
                <a:gd name="T42" fmla="*/ 66 w 147"/>
                <a:gd name="T43" fmla="*/ 81 h 147"/>
                <a:gd name="T44" fmla="*/ 78 w 147"/>
                <a:gd name="T45" fmla="*/ 66 h 147"/>
                <a:gd name="T46" fmla="*/ 52 w 147"/>
                <a:gd name="T47" fmla="*/ 40 h 147"/>
                <a:gd name="T48" fmla="*/ 38 w 147"/>
                <a:gd name="T49" fmla="*/ 52 h 147"/>
                <a:gd name="T50" fmla="*/ 38 w 147"/>
                <a:gd name="T51" fmla="*/ 52 h 147"/>
                <a:gd name="T52" fmla="*/ 38 w 147"/>
                <a:gd name="T53" fmla="*/ 52 h 147"/>
                <a:gd name="T54" fmla="*/ 52 w 147"/>
                <a:gd name="T55" fmla="*/ 40 h 147"/>
                <a:gd name="T56" fmla="*/ 52 w 147"/>
                <a:gd name="T57" fmla="*/ 40 h 147"/>
                <a:gd name="T58" fmla="*/ 38 w 147"/>
                <a:gd name="T59" fmla="*/ 52 h 147"/>
                <a:gd name="T60" fmla="*/ 0 w 147"/>
                <a:gd name="T61" fmla="*/ 14 h 147"/>
                <a:gd name="T62" fmla="*/ 26 w 147"/>
                <a:gd name="T63" fmla="*/ 40 h 147"/>
                <a:gd name="T64" fmla="*/ 40 w 147"/>
                <a:gd name="T65" fmla="*/ 26 h 147"/>
                <a:gd name="T66" fmla="*/ 12 w 147"/>
                <a:gd name="T67" fmla="*/ 0 h 147"/>
                <a:gd name="T68" fmla="*/ 0 w 147"/>
                <a:gd name="T69" fmla="*/ 1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7">
                  <a:moveTo>
                    <a:pt x="118" y="133"/>
                  </a:moveTo>
                  <a:lnTo>
                    <a:pt x="132" y="147"/>
                  </a:lnTo>
                  <a:lnTo>
                    <a:pt x="147" y="133"/>
                  </a:lnTo>
                  <a:lnTo>
                    <a:pt x="130" y="119"/>
                  </a:lnTo>
                  <a:lnTo>
                    <a:pt x="118" y="133"/>
                  </a:lnTo>
                  <a:close/>
                  <a:moveTo>
                    <a:pt x="118" y="133"/>
                  </a:moveTo>
                  <a:lnTo>
                    <a:pt x="118" y="133"/>
                  </a:lnTo>
                  <a:lnTo>
                    <a:pt x="130" y="119"/>
                  </a:lnTo>
                  <a:lnTo>
                    <a:pt x="130" y="119"/>
                  </a:lnTo>
                  <a:lnTo>
                    <a:pt x="118" y="133"/>
                  </a:lnTo>
                  <a:close/>
                  <a:moveTo>
                    <a:pt x="78" y="93"/>
                  </a:moveTo>
                  <a:lnTo>
                    <a:pt x="104" y="119"/>
                  </a:lnTo>
                  <a:lnTo>
                    <a:pt x="118" y="107"/>
                  </a:lnTo>
                  <a:lnTo>
                    <a:pt x="92" y="78"/>
                  </a:lnTo>
                  <a:lnTo>
                    <a:pt x="78" y="93"/>
                  </a:lnTo>
                  <a:close/>
                  <a:moveTo>
                    <a:pt x="78" y="93"/>
                  </a:moveTo>
                  <a:lnTo>
                    <a:pt x="78" y="93"/>
                  </a:lnTo>
                  <a:lnTo>
                    <a:pt x="92" y="78"/>
                  </a:lnTo>
                  <a:lnTo>
                    <a:pt x="92" y="78"/>
                  </a:lnTo>
                  <a:lnTo>
                    <a:pt x="78" y="93"/>
                  </a:lnTo>
                  <a:close/>
                  <a:moveTo>
                    <a:pt x="38" y="52"/>
                  </a:moveTo>
                  <a:lnTo>
                    <a:pt x="66" y="81"/>
                  </a:lnTo>
                  <a:lnTo>
                    <a:pt x="78" y="66"/>
                  </a:lnTo>
                  <a:lnTo>
                    <a:pt x="52" y="40"/>
                  </a:lnTo>
                  <a:lnTo>
                    <a:pt x="38" y="52"/>
                  </a:lnTo>
                  <a:close/>
                  <a:moveTo>
                    <a:pt x="38" y="52"/>
                  </a:moveTo>
                  <a:lnTo>
                    <a:pt x="38" y="52"/>
                  </a:lnTo>
                  <a:lnTo>
                    <a:pt x="52" y="40"/>
                  </a:lnTo>
                  <a:lnTo>
                    <a:pt x="52" y="40"/>
                  </a:lnTo>
                  <a:lnTo>
                    <a:pt x="38" y="52"/>
                  </a:lnTo>
                  <a:close/>
                  <a:moveTo>
                    <a:pt x="0" y="14"/>
                  </a:moveTo>
                  <a:lnTo>
                    <a:pt x="26" y="40"/>
                  </a:lnTo>
                  <a:lnTo>
                    <a:pt x="40" y="26"/>
                  </a:lnTo>
                  <a:lnTo>
                    <a:pt x="12"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5741988" y="3079751"/>
              <a:ext cx="146050" cy="144463"/>
            </a:xfrm>
            <a:custGeom>
              <a:avLst/>
              <a:gdLst>
                <a:gd name="T0" fmla="*/ 0 w 92"/>
                <a:gd name="T1" fmla="*/ 67 h 91"/>
                <a:gd name="T2" fmla="*/ 92 w 92"/>
                <a:gd name="T3" fmla="*/ 91 h 91"/>
                <a:gd name="T4" fmla="*/ 68 w 92"/>
                <a:gd name="T5" fmla="*/ 0 h 91"/>
                <a:gd name="T6" fmla="*/ 0 w 92"/>
                <a:gd name="T7" fmla="*/ 67 h 91"/>
              </a:gdLst>
              <a:ahLst/>
              <a:cxnLst>
                <a:cxn ang="0">
                  <a:pos x="T0" y="T1"/>
                </a:cxn>
                <a:cxn ang="0">
                  <a:pos x="T2" y="T3"/>
                </a:cxn>
                <a:cxn ang="0">
                  <a:pos x="T4" y="T5"/>
                </a:cxn>
                <a:cxn ang="0">
                  <a:pos x="T6" y="T7"/>
                </a:cxn>
              </a:cxnLst>
              <a:rect l="0" t="0" r="r" b="b"/>
              <a:pathLst>
                <a:path w="92" h="91">
                  <a:moveTo>
                    <a:pt x="0" y="67"/>
                  </a:moveTo>
                  <a:lnTo>
                    <a:pt x="92" y="91"/>
                  </a:lnTo>
                  <a:lnTo>
                    <a:pt x="68" y="0"/>
                  </a:lnTo>
                  <a:lnTo>
                    <a:pt x="0" y="67"/>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noEditPoints="1"/>
            </p:cNvSpPr>
            <p:nvPr/>
          </p:nvSpPr>
          <p:spPr bwMode="auto">
            <a:xfrm>
              <a:off x="5591175" y="3392488"/>
              <a:ext cx="233363" cy="234950"/>
            </a:xfrm>
            <a:custGeom>
              <a:avLst/>
              <a:gdLst>
                <a:gd name="T0" fmla="*/ 130 w 147"/>
                <a:gd name="T1" fmla="*/ 29 h 148"/>
                <a:gd name="T2" fmla="*/ 147 w 147"/>
                <a:gd name="T3" fmla="*/ 15 h 148"/>
                <a:gd name="T4" fmla="*/ 132 w 147"/>
                <a:gd name="T5" fmla="*/ 0 h 148"/>
                <a:gd name="T6" fmla="*/ 118 w 147"/>
                <a:gd name="T7" fmla="*/ 15 h 148"/>
                <a:gd name="T8" fmla="*/ 130 w 147"/>
                <a:gd name="T9" fmla="*/ 29 h 148"/>
                <a:gd name="T10" fmla="*/ 130 w 147"/>
                <a:gd name="T11" fmla="*/ 29 h 148"/>
                <a:gd name="T12" fmla="*/ 130 w 147"/>
                <a:gd name="T13" fmla="*/ 29 h 148"/>
                <a:gd name="T14" fmla="*/ 118 w 147"/>
                <a:gd name="T15" fmla="*/ 15 h 148"/>
                <a:gd name="T16" fmla="*/ 118 w 147"/>
                <a:gd name="T17" fmla="*/ 15 h 148"/>
                <a:gd name="T18" fmla="*/ 130 w 147"/>
                <a:gd name="T19" fmla="*/ 29 h 148"/>
                <a:gd name="T20" fmla="*/ 92 w 147"/>
                <a:gd name="T21" fmla="*/ 69 h 148"/>
                <a:gd name="T22" fmla="*/ 118 w 147"/>
                <a:gd name="T23" fmla="*/ 41 h 148"/>
                <a:gd name="T24" fmla="*/ 104 w 147"/>
                <a:gd name="T25" fmla="*/ 29 h 148"/>
                <a:gd name="T26" fmla="*/ 78 w 147"/>
                <a:gd name="T27" fmla="*/ 55 h 148"/>
                <a:gd name="T28" fmla="*/ 92 w 147"/>
                <a:gd name="T29" fmla="*/ 69 h 148"/>
                <a:gd name="T30" fmla="*/ 92 w 147"/>
                <a:gd name="T31" fmla="*/ 69 h 148"/>
                <a:gd name="T32" fmla="*/ 92 w 147"/>
                <a:gd name="T33" fmla="*/ 69 h 148"/>
                <a:gd name="T34" fmla="*/ 78 w 147"/>
                <a:gd name="T35" fmla="*/ 55 h 148"/>
                <a:gd name="T36" fmla="*/ 78 w 147"/>
                <a:gd name="T37" fmla="*/ 55 h 148"/>
                <a:gd name="T38" fmla="*/ 92 w 147"/>
                <a:gd name="T39" fmla="*/ 69 h 148"/>
                <a:gd name="T40" fmla="*/ 52 w 147"/>
                <a:gd name="T41" fmla="*/ 107 h 148"/>
                <a:gd name="T42" fmla="*/ 78 w 147"/>
                <a:gd name="T43" fmla="*/ 81 h 148"/>
                <a:gd name="T44" fmla="*/ 66 w 147"/>
                <a:gd name="T45" fmla="*/ 67 h 148"/>
                <a:gd name="T46" fmla="*/ 38 w 147"/>
                <a:gd name="T47" fmla="*/ 95 h 148"/>
                <a:gd name="T48" fmla="*/ 52 w 147"/>
                <a:gd name="T49" fmla="*/ 107 h 148"/>
                <a:gd name="T50" fmla="*/ 52 w 147"/>
                <a:gd name="T51" fmla="*/ 107 h 148"/>
                <a:gd name="T52" fmla="*/ 52 w 147"/>
                <a:gd name="T53" fmla="*/ 107 h 148"/>
                <a:gd name="T54" fmla="*/ 38 w 147"/>
                <a:gd name="T55" fmla="*/ 95 h 148"/>
                <a:gd name="T56" fmla="*/ 38 w 147"/>
                <a:gd name="T57" fmla="*/ 95 h 148"/>
                <a:gd name="T58" fmla="*/ 52 w 147"/>
                <a:gd name="T59" fmla="*/ 107 h 148"/>
                <a:gd name="T60" fmla="*/ 12 w 147"/>
                <a:gd name="T61" fmla="*/ 148 h 148"/>
                <a:gd name="T62" fmla="*/ 40 w 147"/>
                <a:gd name="T63" fmla="*/ 122 h 148"/>
                <a:gd name="T64" fmla="*/ 26 w 147"/>
                <a:gd name="T65" fmla="*/ 107 h 148"/>
                <a:gd name="T66" fmla="*/ 0 w 147"/>
                <a:gd name="T67" fmla="*/ 133 h 148"/>
                <a:gd name="T68" fmla="*/ 12 w 147"/>
                <a:gd name="T6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8">
                  <a:moveTo>
                    <a:pt x="130" y="29"/>
                  </a:moveTo>
                  <a:lnTo>
                    <a:pt x="147" y="15"/>
                  </a:lnTo>
                  <a:lnTo>
                    <a:pt x="132" y="0"/>
                  </a:lnTo>
                  <a:lnTo>
                    <a:pt x="118" y="15"/>
                  </a:lnTo>
                  <a:lnTo>
                    <a:pt x="130" y="29"/>
                  </a:lnTo>
                  <a:close/>
                  <a:moveTo>
                    <a:pt x="130" y="29"/>
                  </a:moveTo>
                  <a:lnTo>
                    <a:pt x="130" y="29"/>
                  </a:lnTo>
                  <a:lnTo>
                    <a:pt x="118" y="15"/>
                  </a:lnTo>
                  <a:lnTo>
                    <a:pt x="118" y="15"/>
                  </a:lnTo>
                  <a:lnTo>
                    <a:pt x="130" y="29"/>
                  </a:lnTo>
                  <a:close/>
                  <a:moveTo>
                    <a:pt x="92" y="69"/>
                  </a:moveTo>
                  <a:lnTo>
                    <a:pt x="118" y="41"/>
                  </a:lnTo>
                  <a:lnTo>
                    <a:pt x="104" y="29"/>
                  </a:lnTo>
                  <a:lnTo>
                    <a:pt x="78" y="55"/>
                  </a:lnTo>
                  <a:lnTo>
                    <a:pt x="92" y="69"/>
                  </a:lnTo>
                  <a:close/>
                  <a:moveTo>
                    <a:pt x="92" y="69"/>
                  </a:moveTo>
                  <a:lnTo>
                    <a:pt x="92" y="69"/>
                  </a:lnTo>
                  <a:lnTo>
                    <a:pt x="78" y="55"/>
                  </a:lnTo>
                  <a:lnTo>
                    <a:pt x="78" y="55"/>
                  </a:lnTo>
                  <a:lnTo>
                    <a:pt x="92" y="69"/>
                  </a:lnTo>
                  <a:close/>
                  <a:moveTo>
                    <a:pt x="52" y="107"/>
                  </a:moveTo>
                  <a:lnTo>
                    <a:pt x="78" y="81"/>
                  </a:lnTo>
                  <a:lnTo>
                    <a:pt x="66" y="67"/>
                  </a:lnTo>
                  <a:lnTo>
                    <a:pt x="38" y="95"/>
                  </a:lnTo>
                  <a:lnTo>
                    <a:pt x="52" y="107"/>
                  </a:lnTo>
                  <a:close/>
                  <a:moveTo>
                    <a:pt x="52" y="107"/>
                  </a:moveTo>
                  <a:lnTo>
                    <a:pt x="52" y="107"/>
                  </a:lnTo>
                  <a:lnTo>
                    <a:pt x="38" y="95"/>
                  </a:lnTo>
                  <a:lnTo>
                    <a:pt x="38" y="95"/>
                  </a:lnTo>
                  <a:lnTo>
                    <a:pt x="52" y="107"/>
                  </a:lnTo>
                  <a:close/>
                  <a:moveTo>
                    <a:pt x="12" y="148"/>
                  </a:moveTo>
                  <a:lnTo>
                    <a:pt x="40" y="122"/>
                  </a:lnTo>
                  <a:lnTo>
                    <a:pt x="26" y="107"/>
                  </a:lnTo>
                  <a:lnTo>
                    <a:pt x="0" y="133"/>
                  </a:lnTo>
                  <a:lnTo>
                    <a:pt x="12" y="14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5741988" y="3328988"/>
              <a:ext cx="146050" cy="142875"/>
            </a:xfrm>
            <a:custGeom>
              <a:avLst/>
              <a:gdLst>
                <a:gd name="T0" fmla="*/ 68 w 92"/>
                <a:gd name="T1" fmla="*/ 90 h 90"/>
                <a:gd name="T2" fmla="*/ 92 w 92"/>
                <a:gd name="T3" fmla="*/ 0 h 90"/>
                <a:gd name="T4" fmla="*/ 0 w 92"/>
                <a:gd name="T5" fmla="*/ 24 h 90"/>
                <a:gd name="T6" fmla="*/ 68 w 92"/>
                <a:gd name="T7" fmla="*/ 90 h 90"/>
              </a:gdLst>
              <a:ahLst/>
              <a:cxnLst>
                <a:cxn ang="0">
                  <a:pos x="T0" y="T1"/>
                </a:cxn>
                <a:cxn ang="0">
                  <a:pos x="T2" y="T3"/>
                </a:cxn>
                <a:cxn ang="0">
                  <a:pos x="T4" y="T5"/>
                </a:cxn>
                <a:cxn ang="0">
                  <a:pos x="T6" y="T7"/>
                </a:cxn>
              </a:cxnLst>
              <a:rect l="0" t="0" r="r" b="b"/>
              <a:pathLst>
                <a:path w="92" h="90">
                  <a:moveTo>
                    <a:pt x="68" y="90"/>
                  </a:moveTo>
                  <a:lnTo>
                    <a:pt x="92" y="0"/>
                  </a:lnTo>
                  <a:lnTo>
                    <a:pt x="0" y="24"/>
                  </a:lnTo>
                  <a:lnTo>
                    <a:pt x="68" y="9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584700" y="25066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114800" y="2506663"/>
              <a:ext cx="222250"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Freeform 27"/>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8"/>
            <p:cNvSpPr>
              <a:spLocks noChangeArrowheads="1"/>
            </p:cNvSpPr>
            <p:nvPr/>
          </p:nvSpPr>
          <p:spPr bwMode="auto">
            <a:xfrm>
              <a:off x="4787900" y="4098926"/>
              <a:ext cx="2206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4900613"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Rectangle 30"/>
            <p:cNvSpPr>
              <a:spLocks noChangeArrowheads="1"/>
            </p:cNvSpPr>
            <p:nvPr/>
          </p:nvSpPr>
          <p:spPr bwMode="auto">
            <a:xfrm>
              <a:off x="4953000" y="4098926"/>
              <a:ext cx="2049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 ad based on user 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6784975"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837363" y="4098926"/>
              <a:ext cx="2095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935788" y="4098926"/>
              <a:ext cx="330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Freeform 34"/>
            <p:cNvSpPr>
              <a:spLocks noEditPoints="1"/>
            </p:cNvSpPr>
            <p:nvPr/>
          </p:nvSpPr>
          <p:spPr bwMode="auto">
            <a:xfrm>
              <a:off x="4137025" y="2379663"/>
              <a:ext cx="3659188" cy="1657350"/>
            </a:xfrm>
            <a:custGeom>
              <a:avLst/>
              <a:gdLst>
                <a:gd name="T0" fmla="*/ 173 w 974"/>
                <a:gd name="T1" fmla="*/ 12 h 440"/>
                <a:gd name="T2" fmla="*/ 203 w 974"/>
                <a:gd name="T3" fmla="*/ 0 h 440"/>
                <a:gd name="T4" fmla="*/ 241 w 974"/>
                <a:gd name="T5" fmla="*/ 8 h 440"/>
                <a:gd name="T6" fmla="*/ 271 w 974"/>
                <a:gd name="T7" fmla="*/ 8 h 440"/>
                <a:gd name="T8" fmla="*/ 317 w 974"/>
                <a:gd name="T9" fmla="*/ 0 h 440"/>
                <a:gd name="T10" fmla="*/ 378 w 974"/>
                <a:gd name="T11" fmla="*/ 0 h 440"/>
                <a:gd name="T12" fmla="*/ 401 w 974"/>
                <a:gd name="T13" fmla="*/ 0 h 440"/>
                <a:gd name="T14" fmla="*/ 446 w 974"/>
                <a:gd name="T15" fmla="*/ 8 h 440"/>
                <a:gd name="T16" fmla="*/ 477 w 974"/>
                <a:gd name="T17" fmla="*/ 8 h 440"/>
                <a:gd name="T18" fmla="*/ 522 w 974"/>
                <a:gd name="T19" fmla="*/ 0 h 440"/>
                <a:gd name="T20" fmla="*/ 583 w 974"/>
                <a:gd name="T21" fmla="*/ 0 h 440"/>
                <a:gd name="T22" fmla="*/ 606 w 974"/>
                <a:gd name="T23" fmla="*/ 0 h 440"/>
                <a:gd name="T24" fmla="*/ 652 w 974"/>
                <a:gd name="T25" fmla="*/ 8 h 440"/>
                <a:gd name="T26" fmla="*/ 682 w 974"/>
                <a:gd name="T27" fmla="*/ 8 h 440"/>
                <a:gd name="T28" fmla="*/ 728 w 974"/>
                <a:gd name="T29" fmla="*/ 0 h 440"/>
                <a:gd name="T30" fmla="*/ 766 w 974"/>
                <a:gd name="T31" fmla="*/ 8 h 440"/>
                <a:gd name="T32" fmla="*/ 795 w 974"/>
                <a:gd name="T33" fmla="*/ 11 h 440"/>
                <a:gd name="T34" fmla="*/ 855 w 974"/>
                <a:gd name="T35" fmla="*/ 23 h 440"/>
                <a:gd name="T36" fmla="*/ 876 w 974"/>
                <a:gd name="T37" fmla="*/ 34 h 440"/>
                <a:gd name="T38" fmla="*/ 906 w 974"/>
                <a:gd name="T39" fmla="*/ 69 h 440"/>
                <a:gd name="T40" fmla="*/ 926 w 974"/>
                <a:gd name="T41" fmla="*/ 92 h 440"/>
                <a:gd name="T42" fmla="*/ 961 w 974"/>
                <a:gd name="T43" fmla="*/ 141 h 440"/>
                <a:gd name="T44" fmla="*/ 968 w 974"/>
                <a:gd name="T45" fmla="*/ 164 h 440"/>
                <a:gd name="T46" fmla="*/ 965 w 974"/>
                <a:gd name="T47" fmla="*/ 195 h 440"/>
                <a:gd name="T48" fmla="*/ 974 w 974"/>
                <a:gd name="T49" fmla="*/ 233 h 440"/>
                <a:gd name="T50" fmla="*/ 963 w 974"/>
                <a:gd name="T51" fmla="*/ 262 h 440"/>
                <a:gd name="T52" fmla="*/ 957 w 974"/>
                <a:gd name="T53" fmla="*/ 308 h 440"/>
                <a:gd name="T54" fmla="*/ 926 w 974"/>
                <a:gd name="T55" fmla="*/ 361 h 440"/>
                <a:gd name="T56" fmla="*/ 910 w 974"/>
                <a:gd name="T57" fmla="*/ 378 h 440"/>
                <a:gd name="T58" fmla="*/ 870 w 974"/>
                <a:gd name="T59" fmla="*/ 400 h 440"/>
                <a:gd name="T60" fmla="*/ 843 w 974"/>
                <a:gd name="T61" fmla="*/ 414 h 440"/>
                <a:gd name="T62" fmla="*/ 802 w 974"/>
                <a:gd name="T63" fmla="*/ 436 h 440"/>
                <a:gd name="T64" fmla="*/ 764 w 974"/>
                <a:gd name="T65" fmla="*/ 440 h 440"/>
                <a:gd name="T66" fmla="*/ 718 w 974"/>
                <a:gd name="T67" fmla="*/ 432 h 440"/>
                <a:gd name="T68" fmla="*/ 688 w 974"/>
                <a:gd name="T69" fmla="*/ 432 h 440"/>
                <a:gd name="T70" fmla="*/ 642 w 974"/>
                <a:gd name="T71" fmla="*/ 440 h 440"/>
                <a:gd name="T72" fmla="*/ 581 w 974"/>
                <a:gd name="T73" fmla="*/ 440 h 440"/>
                <a:gd name="T74" fmla="*/ 558 w 974"/>
                <a:gd name="T75" fmla="*/ 440 h 440"/>
                <a:gd name="T76" fmla="*/ 513 w 974"/>
                <a:gd name="T77" fmla="*/ 432 h 440"/>
                <a:gd name="T78" fmla="*/ 482 w 974"/>
                <a:gd name="T79" fmla="*/ 432 h 440"/>
                <a:gd name="T80" fmla="*/ 437 w 974"/>
                <a:gd name="T81" fmla="*/ 440 h 440"/>
                <a:gd name="T82" fmla="*/ 376 w 974"/>
                <a:gd name="T83" fmla="*/ 440 h 440"/>
                <a:gd name="T84" fmla="*/ 353 w 974"/>
                <a:gd name="T85" fmla="*/ 440 h 440"/>
                <a:gd name="T86" fmla="*/ 307 w 974"/>
                <a:gd name="T87" fmla="*/ 432 h 440"/>
                <a:gd name="T88" fmla="*/ 277 w 974"/>
                <a:gd name="T89" fmla="*/ 432 h 440"/>
                <a:gd name="T90" fmla="*/ 231 w 974"/>
                <a:gd name="T91" fmla="*/ 440 h 440"/>
                <a:gd name="T92" fmla="*/ 170 w 974"/>
                <a:gd name="T93" fmla="*/ 435 h 440"/>
                <a:gd name="T94" fmla="*/ 147 w 974"/>
                <a:gd name="T95" fmla="*/ 429 h 440"/>
                <a:gd name="T96" fmla="*/ 109 w 974"/>
                <a:gd name="T97" fmla="*/ 403 h 440"/>
                <a:gd name="T98" fmla="*/ 85 w 974"/>
                <a:gd name="T99" fmla="*/ 386 h 440"/>
                <a:gd name="T100" fmla="*/ 47 w 974"/>
                <a:gd name="T101" fmla="*/ 359 h 440"/>
                <a:gd name="T102" fmla="*/ 16 w 974"/>
                <a:gd name="T103" fmla="*/ 306 h 440"/>
                <a:gd name="T104" fmla="*/ 16 w 974"/>
                <a:gd name="T105" fmla="*/ 282 h 440"/>
                <a:gd name="T106" fmla="*/ 10 w 974"/>
                <a:gd name="T107" fmla="*/ 253 h 440"/>
                <a:gd name="T108" fmla="*/ 0 w 974"/>
                <a:gd name="T109" fmla="*/ 215 h 440"/>
                <a:gd name="T110" fmla="*/ 10 w 974"/>
                <a:gd name="T111" fmla="*/ 186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74" h="440">
                  <a:moveTo>
                    <a:pt x="149" y="10"/>
                  </a:moveTo>
                  <a:cubicBezTo>
                    <a:pt x="149" y="10"/>
                    <a:pt x="149" y="10"/>
                    <a:pt x="149" y="10"/>
                  </a:cubicBezTo>
                  <a:cubicBezTo>
                    <a:pt x="151" y="18"/>
                    <a:pt x="151" y="18"/>
                    <a:pt x="151" y="18"/>
                  </a:cubicBezTo>
                  <a:cubicBezTo>
                    <a:pt x="152" y="18"/>
                    <a:pt x="152" y="18"/>
                    <a:pt x="152" y="18"/>
                  </a:cubicBezTo>
                  <a:cubicBezTo>
                    <a:pt x="149" y="10"/>
                    <a:pt x="149" y="10"/>
                    <a:pt x="149" y="10"/>
                  </a:cubicBezTo>
                  <a:moveTo>
                    <a:pt x="172" y="4"/>
                  </a:moveTo>
                  <a:cubicBezTo>
                    <a:pt x="167" y="5"/>
                    <a:pt x="162" y="7"/>
                    <a:pt x="157" y="8"/>
                  </a:cubicBezTo>
                  <a:cubicBezTo>
                    <a:pt x="159" y="15"/>
                    <a:pt x="159" y="15"/>
                    <a:pt x="159" y="15"/>
                  </a:cubicBezTo>
                  <a:cubicBezTo>
                    <a:pt x="164" y="14"/>
                    <a:pt x="169" y="13"/>
                    <a:pt x="173" y="12"/>
                  </a:cubicBezTo>
                  <a:cubicBezTo>
                    <a:pt x="172" y="4"/>
                    <a:pt x="172" y="4"/>
                    <a:pt x="172" y="4"/>
                  </a:cubicBezTo>
                  <a:moveTo>
                    <a:pt x="195" y="1"/>
                  </a:moveTo>
                  <a:cubicBezTo>
                    <a:pt x="190" y="1"/>
                    <a:pt x="185" y="2"/>
                    <a:pt x="180" y="3"/>
                  </a:cubicBezTo>
                  <a:cubicBezTo>
                    <a:pt x="181" y="11"/>
                    <a:pt x="181" y="11"/>
                    <a:pt x="181" y="11"/>
                  </a:cubicBezTo>
                  <a:cubicBezTo>
                    <a:pt x="186" y="10"/>
                    <a:pt x="191" y="9"/>
                    <a:pt x="196" y="9"/>
                  </a:cubicBezTo>
                  <a:cubicBezTo>
                    <a:pt x="195" y="1"/>
                    <a:pt x="195" y="1"/>
                    <a:pt x="195" y="1"/>
                  </a:cubicBezTo>
                  <a:moveTo>
                    <a:pt x="218" y="0"/>
                  </a:moveTo>
                  <a:cubicBezTo>
                    <a:pt x="214" y="0"/>
                    <a:pt x="214" y="0"/>
                    <a:pt x="214" y="0"/>
                  </a:cubicBezTo>
                  <a:cubicBezTo>
                    <a:pt x="210" y="0"/>
                    <a:pt x="206" y="0"/>
                    <a:pt x="203" y="0"/>
                  </a:cubicBezTo>
                  <a:cubicBezTo>
                    <a:pt x="203" y="8"/>
                    <a:pt x="203" y="8"/>
                    <a:pt x="203" y="8"/>
                  </a:cubicBezTo>
                  <a:cubicBezTo>
                    <a:pt x="207" y="8"/>
                    <a:pt x="210" y="8"/>
                    <a:pt x="214" y="8"/>
                  </a:cubicBezTo>
                  <a:cubicBezTo>
                    <a:pt x="218" y="8"/>
                    <a:pt x="218" y="8"/>
                    <a:pt x="218" y="8"/>
                  </a:cubicBezTo>
                  <a:cubicBezTo>
                    <a:pt x="218" y="0"/>
                    <a:pt x="218" y="0"/>
                    <a:pt x="218" y="0"/>
                  </a:cubicBezTo>
                  <a:cubicBezTo>
                    <a:pt x="218" y="0"/>
                    <a:pt x="218" y="0"/>
                    <a:pt x="218" y="0"/>
                  </a:cubicBezTo>
                  <a:moveTo>
                    <a:pt x="241" y="0"/>
                  </a:moveTo>
                  <a:cubicBezTo>
                    <a:pt x="226" y="0"/>
                    <a:pt x="226" y="0"/>
                    <a:pt x="226" y="0"/>
                  </a:cubicBezTo>
                  <a:cubicBezTo>
                    <a:pt x="226" y="8"/>
                    <a:pt x="226" y="8"/>
                    <a:pt x="226" y="8"/>
                  </a:cubicBezTo>
                  <a:cubicBezTo>
                    <a:pt x="241" y="8"/>
                    <a:pt x="241" y="8"/>
                    <a:pt x="241" y="8"/>
                  </a:cubicBezTo>
                  <a:cubicBezTo>
                    <a:pt x="241" y="0"/>
                    <a:pt x="241" y="0"/>
                    <a:pt x="241" y="0"/>
                  </a:cubicBezTo>
                  <a:moveTo>
                    <a:pt x="264" y="0"/>
                  </a:moveTo>
                  <a:cubicBezTo>
                    <a:pt x="248" y="0"/>
                    <a:pt x="248" y="0"/>
                    <a:pt x="248" y="0"/>
                  </a:cubicBezTo>
                  <a:cubicBezTo>
                    <a:pt x="248" y="8"/>
                    <a:pt x="248" y="8"/>
                    <a:pt x="248" y="8"/>
                  </a:cubicBezTo>
                  <a:cubicBezTo>
                    <a:pt x="264" y="8"/>
                    <a:pt x="264" y="8"/>
                    <a:pt x="264" y="8"/>
                  </a:cubicBezTo>
                  <a:cubicBezTo>
                    <a:pt x="264" y="0"/>
                    <a:pt x="264" y="0"/>
                    <a:pt x="264" y="0"/>
                  </a:cubicBezTo>
                  <a:moveTo>
                    <a:pt x="287" y="0"/>
                  </a:moveTo>
                  <a:cubicBezTo>
                    <a:pt x="271" y="0"/>
                    <a:pt x="271" y="0"/>
                    <a:pt x="271" y="0"/>
                  </a:cubicBezTo>
                  <a:cubicBezTo>
                    <a:pt x="271" y="8"/>
                    <a:pt x="271" y="8"/>
                    <a:pt x="271" y="8"/>
                  </a:cubicBezTo>
                  <a:cubicBezTo>
                    <a:pt x="287" y="8"/>
                    <a:pt x="287" y="8"/>
                    <a:pt x="287" y="8"/>
                  </a:cubicBezTo>
                  <a:cubicBezTo>
                    <a:pt x="287" y="0"/>
                    <a:pt x="287" y="0"/>
                    <a:pt x="287" y="0"/>
                  </a:cubicBezTo>
                  <a:moveTo>
                    <a:pt x="309" y="0"/>
                  </a:moveTo>
                  <a:cubicBezTo>
                    <a:pt x="294" y="0"/>
                    <a:pt x="294" y="0"/>
                    <a:pt x="294" y="0"/>
                  </a:cubicBezTo>
                  <a:cubicBezTo>
                    <a:pt x="294" y="8"/>
                    <a:pt x="294" y="8"/>
                    <a:pt x="294" y="8"/>
                  </a:cubicBezTo>
                  <a:cubicBezTo>
                    <a:pt x="309" y="8"/>
                    <a:pt x="309" y="8"/>
                    <a:pt x="309" y="8"/>
                  </a:cubicBezTo>
                  <a:cubicBezTo>
                    <a:pt x="309" y="0"/>
                    <a:pt x="309" y="0"/>
                    <a:pt x="309" y="0"/>
                  </a:cubicBezTo>
                  <a:moveTo>
                    <a:pt x="332" y="0"/>
                  </a:moveTo>
                  <a:cubicBezTo>
                    <a:pt x="317" y="0"/>
                    <a:pt x="317" y="0"/>
                    <a:pt x="317" y="0"/>
                  </a:cubicBezTo>
                  <a:cubicBezTo>
                    <a:pt x="317" y="8"/>
                    <a:pt x="317" y="8"/>
                    <a:pt x="317" y="8"/>
                  </a:cubicBezTo>
                  <a:cubicBezTo>
                    <a:pt x="332" y="8"/>
                    <a:pt x="332" y="8"/>
                    <a:pt x="332" y="8"/>
                  </a:cubicBezTo>
                  <a:cubicBezTo>
                    <a:pt x="332" y="0"/>
                    <a:pt x="332" y="0"/>
                    <a:pt x="332" y="0"/>
                  </a:cubicBezTo>
                  <a:moveTo>
                    <a:pt x="355" y="0"/>
                  </a:moveTo>
                  <a:cubicBezTo>
                    <a:pt x="340" y="0"/>
                    <a:pt x="340" y="0"/>
                    <a:pt x="340" y="0"/>
                  </a:cubicBezTo>
                  <a:cubicBezTo>
                    <a:pt x="340" y="8"/>
                    <a:pt x="340" y="8"/>
                    <a:pt x="340" y="8"/>
                  </a:cubicBezTo>
                  <a:cubicBezTo>
                    <a:pt x="355" y="8"/>
                    <a:pt x="355" y="8"/>
                    <a:pt x="355" y="8"/>
                  </a:cubicBezTo>
                  <a:cubicBezTo>
                    <a:pt x="355" y="0"/>
                    <a:pt x="355" y="0"/>
                    <a:pt x="355" y="0"/>
                  </a:cubicBezTo>
                  <a:moveTo>
                    <a:pt x="378" y="0"/>
                  </a:moveTo>
                  <a:cubicBezTo>
                    <a:pt x="363" y="0"/>
                    <a:pt x="363" y="0"/>
                    <a:pt x="363" y="0"/>
                  </a:cubicBezTo>
                  <a:cubicBezTo>
                    <a:pt x="363" y="8"/>
                    <a:pt x="363" y="8"/>
                    <a:pt x="363" y="8"/>
                  </a:cubicBezTo>
                  <a:cubicBezTo>
                    <a:pt x="378" y="8"/>
                    <a:pt x="378" y="8"/>
                    <a:pt x="378" y="8"/>
                  </a:cubicBezTo>
                  <a:cubicBezTo>
                    <a:pt x="378" y="0"/>
                    <a:pt x="378" y="0"/>
                    <a:pt x="378" y="0"/>
                  </a:cubicBezTo>
                  <a:moveTo>
                    <a:pt x="401" y="0"/>
                  </a:moveTo>
                  <a:cubicBezTo>
                    <a:pt x="385" y="0"/>
                    <a:pt x="385" y="0"/>
                    <a:pt x="385" y="0"/>
                  </a:cubicBezTo>
                  <a:cubicBezTo>
                    <a:pt x="385" y="8"/>
                    <a:pt x="385" y="8"/>
                    <a:pt x="385" y="8"/>
                  </a:cubicBezTo>
                  <a:cubicBezTo>
                    <a:pt x="401" y="8"/>
                    <a:pt x="401" y="8"/>
                    <a:pt x="401" y="8"/>
                  </a:cubicBezTo>
                  <a:cubicBezTo>
                    <a:pt x="401" y="0"/>
                    <a:pt x="401" y="0"/>
                    <a:pt x="401" y="0"/>
                  </a:cubicBezTo>
                  <a:moveTo>
                    <a:pt x="423" y="0"/>
                  </a:moveTo>
                  <a:cubicBezTo>
                    <a:pt x="408" y="0"/>
                    <a:pt x="408" y="0"/>
                    <a:pt x="408" y="0"/>
                  </a:cubicBezTo>
                  <a:cubicBezTo>
                    <a:pt x="408" y="8"/>
                    <a:pt x="408" y="8"/>
                    <a:pt x="408" y="8"/>
                  </a:cubicBezTo>
                  <a:cubicBezTo>
                    <a:pt x="423" y="8"/>
                    <a:pt x="423" y="8"/>
                    <a:pt x="423" y="8"/>
                  </a:cubicBezTo>
                  <a:cubicBezTo>
                    <a:pt x="423" y="0"/>
                    <a:pt x="423" y="0"/>
                    <a:pt x="423" y="0"/>
                  </a:cubicBezTo>
                  <a:moveTo>
                    <a:pt x="446" y="0"/>
                  </a:moveTo>
                  <a:cubicBezTo>
                    <a:pt x="431" y="0"/>
                    <a:pt x="431" y="0"/>
                    <a:pt x="431" y="0"/>
                  </a:cubicBezTo>
                  <a:cubicBezTo>
                    <a:pt x="431" y="8"/>
                    <a:pt x="431" y="8"/>
                    <a:pt x="431" y="8"/>
                  </a:cubicBezTo>
                  <a:cubicBezTo>
                    <a:pt x="446" y="8"/>
                    <a:pt x="446" y="8"/>
                    <a:pt x="446" y="8"/>
                  </a:cubicBezTo>
                  <a:cubicBezTo>
                    <a:pt x="446" y="0"/>
                    <a:pt x="446" y="0"/>
                    <a:pt x="446" y="0"/>
                  </a:cubicBezTo>
                  <a:moveTo>
                    <a:pt x="469" y="0"/>
                  </a:moveTo>
                  <a:cubicBezTo>
                    <a:pt x="454" y="0"/>
                    <a:pt x="454" y="0"/>
                    <a:pt x="454" y="0"/>
                  </a:cubicBezTo>
                  <a:cubicBezTo>
                    <a:pt x="454" y="8"/>
                    <a:pt x="454" y="8"/>
                    <a:pt x="454" y="8"/>
                  </a:cubicBezTo>
                  <a:cubicBezTo>
                    <a:pt x="469" y="8"/>
                    <a:pt x="469" y="8"/>
                    <a:pt x="469" y="8"/>
                  </a:cubicBezTo>
                  <a:cubicBezTo>
                    <a:pt x="469" y="0"/>
                    <a:pt x="469" y="0"/>
                    <a:pt x="469" y="0"/>
                  </a:cubicBezTo>
                  <a:moveTo>
                    <a:pt x="492" y="0"/>
                  </a:moveTo>
                  <a:cubicBezTo>
                    <a:pt x="477" y="0"/>
                    <a:pt x="477" y="0"/>
                    <a:pt x="477" y="0"/>
                  </a:cubicBezTo>
                  <a:cubicBezTo>
                    <a:pt x="477" y="8"/>
                    <a:pt x="477" y="8"/>
                    <a:pt x="477" y="8"/>
                  </a:cubicBezTo>
                  <a:cubicBezTo>
                    <a:pt x="492" y="8"/>
                    <a:pt x="492" y="8"/>
                    <a:pt x="492" y="8"/>
                  </a:cubicBezTo>
                  <a:cubicBezTo>
                    <a:pt x="492" y="0"/>
                    <a:pt x="492" y="0"/>
                    <a:pt x="492" y="0"/>
                  </a:cubicBezTo>
                  <a:moveTo>
                    <a:pt x="515" y="0"/>
                  </a:moveTo>
                  <a:cubicBezTo>
                    <a:pt x="500" y="0"/>
                    <a:pt x="500" y="0"/>
                    <a:pt x="500" y="0"/>
                  </a:cubicBezTo>
                  <a:cubicBezTo>
                    <a:pt x="500" y="8"/>
                    <a:pt x="500" y="8"/>
                    <a:pt x="500" y="8"/>
                  </a:cubicBezTo>
                  <a:cubicBezTo>
                    <a:pt x="515" y="8"/>
                    <a:pt x="515" y="8"/>
                    <a:pt x="515" y="8"/>
                  </a:cubicBezTo>
                  <a:cubicBezTo>
                    <a:pt x="515" y="0"/>
                    <a:pt x="515" y="0"/>
                    <a:pt x="515" y="0"/>
                  </a:cubicBezTo>
                  <a:moveTo>
                    <a:pt x="538" y="0"/>
                  </a:moveTo>
                  <a:cubicBezTo>
                    <a:pt x="522" y="0"/>
                    <a:pt x="522" y="0"/>
                    <a:pt x="522" y="0"/>
                  </a:cubicBezTo>
                  <a:cubicBezTo>
                    <a:pt x="522" y="8"/>
                    <a:pt x="522" y="8"/>
                    <a:pt x="522" y="8"/>
                  </a:cubicBezTo>
                  <a:cubicBezTo>
                    <a:pt x="538" y="8"/>
                    <a:pt x="538" y="8"/>
                    <a:pt x="538" y="8"/>
                  </a:cubicBezTo>
                  <a:cubicBezTo>
                    <a:pt x="538" y="0"/>
                    <a:pt x="538" y="0"/>
                    <a:pt x="538" y="0"/>
                  </a:cubicBezTo>
                  <a:moveTo>
                    <a:pt x="560" y="0"/>
                  </a:moveTo>
                  <a:cubicBezTo>
                    <a:pt x="545" y="0"/>
                    <a:pt x="545" y="0"/>
                    <a:pt x="545" y="0"/>
                  </a:cubicBezTo>
                  <a:cubicBezTo>
                    <a:pt x="545" y="8"/>
                    <a:pt x="545" y="8"/>
                    <a:pt x="545" y="8"/>
                  </a:cubicBezTo>
                  <a:cubicBezTo>
                    <a:pt x="560" y="8"/>
                    <a:pt x="560" y="8"/>
                    <a:pt x="560" y="8"/>
                  </a:cubicBezTo>
                  <a:cubicBezTo>
                    <a:pt x="560" y="0"/>
                    <a:pt x="560" y="0"/>
                    <a:pt x="560" y="0"/>
                  </a:cubicBezTo>
                  <a:moveTo>
                    <a:pt x="583" y="0"/>
                  </a:moveTo>
                  <a:cubicBezTo>
                    <a:pt x="568" y="0"/>
                    <a:pt x="568" y="0"/>
                    <a:pt x="568" y="0"/>
                  </a:cubicBezTo>
                  <a:cubicBezTo>
                    <a:pt x="568" y="8"/>
                    <a:pt x="568" y="8"/>
                    <a:pt x="568" y="8"/>
                  </a:cubicBezTo>
                  <a:cubicBezTo>
                    <a:pt x="583" y="8"/>
                    <a:pt x="583" y="8"/>
                    <a:pt x="583" y="8"/>
                  </a:cubicBezTo>
                  <a:cubicBezTo>
                    <a:pt x="583" y="0"/>
                    <a:pt x="583" y="0"/>
                    <a:pt x="583" y="0"/>
                  </a:cubicBezTo>
                  <a:moveTo>
                    <a:pt x="606" y="0"/>
                  </a:moveTo>
                  <a:cubicBezTo>
                    <a:pt x="591" y="0"/>
                    <a:pt x="591" y="0"/>
                    <a:pt x="591" y="0"/>
                  </a:cubicBezTo>
                  <a:cubicBezTo>
                    <a:pt x="591" y="8"/>
                    <a:pt x="591" y="8"/>
                    <a:pt x="591" y="8"/>
                  </a:cubicBezTo>
                  <a:cubicBezTo>
                    <a:pt x="606" y="8"/>
                    <a:pt x="606" y="8"/>
                    <a:pt x="606" y="8"/>
                  </a:cubicBezTo>
                  <a:cubicBezTo>
                    <a:pt x="606" y="0"/>
                    <a:pt x="606" y="0"/>
                    <a:pt x="606" y="0"/>
                  </a:cubicBezTo>
                  <a:moveTo>
                    <a:pt x="629" y="0"/>
                  </a:moveTo>
                  <a:cubicBezTo>
                    <a:pt x="614" y="0"/>
                    <a:pt x="614" y="0"/>
                    <a:pt x="614" y="0"/>
                  </a:cubicBezTo>
                  <a:cubicBezTo>
                    <a:pt x="614" y="8"/>
                    <a:pt x="614" y="8"/>
                    <a:pt x="614" y="8"/>
                  </a:cubicBezTo>
                  <a:cubicBezTo>
                    <a:pt x="629" y="8"/>
                    <a:pt x="629" y="8"/>
                    <a:pt x="629" y="8"/>
                  </a:cubicBezTo>
                  <a:cubicBezTo>
                    <a:pt x="629" y="0"/>
                    <a:pt x="629" y="0"/>
                    <a:pt x="629" y="0"/>
                  </a:cubicBezTo>
                  <a:moveTo>
                    <a:pt x="652" y="0"/>
                  </a:moveTo>
                  <a:cubicBezTo>
                    <a:pt x="637" y="0"/>
                    <a:pt x="637" y="0"/>
                    <a:pt x="637" y="0"/>
                  </a:cubicBezTo>
                  <a:cubicBezTo>
                    <a:pt x="637" y="8"/>
                    <a:pt x="637" y="8"/>
                    <a:pt x="637" y="8"/>
                  </a:cubicBezTo>
                  <a:cubicBezTo>
                    <a:pt x="652" y="8"/>
                    <a:pt x="652" y="8"/>
                    <a:pt x="652" y="8"/>
                  </a:cubicBezTo>
                  <a:cubicBezTo>
                    <a:pt x="652" y="0"/>
                    <a:pt x="652" y="0"/>
                    <a:pt x="652" y="0"/>
                  </a:cubicBezTo>
                  <a:moveTo>
                    <a:pt x="675" y="0"/>
                  </a:moveTo>
                  <a:cubicBezTo>
                    <a:pt x="659" y="0"/>
                    <a:pt x="659" y="0"/>
                    <a:pt x="659" y="0"/>
                  </a:cubicBezTo>
                  <a:cubicBezTo>
                    <a:pt x="659" y="8"/>
                    <a:pt x="659" y="8"/>
                    <a:pt x="659" y="8"/>
                  </a:cubicBezTo>
                  <a:cubicBezTo>
                    <a:pt x="675" y="8"/>
                    <a:pt x="675" y="8"/>
                    <a:pt x="675" y="8"/>
                  </a:cubicBezTo>
                  <a:cubicBezTo>
                    <a:pt x="675" y="0"/>
                    <a:pt x="675" y="0"/>
                    <a:pt x="675" y="0"/>
                  </a:cubicBezTo>
                  <a:moveTo>
                    <a:pt x="697" y="0"/>
                  </a:moveTo>
                  <a:cubicBezTo>
                    <a:pt x="682" y="0"/>
                    <a:pt x="682" y="0"/>
                    <a:pt x="682" y="0"/>
                  </a:cubicBezTo>
                  <a:cubicBezTo>
                    <a:pt x="682" y="8"/>
                    <a:pt x="682" y="8"/>
                    <a:pt x="682" y="8"/>
                  </a:cubicBezTo>
                  <a:cubicBezTo>
                    <a:pt x="697" y="8"/>
                    <a:pt x="697" y="8"/>
                    <a:pt x="697" y="8"/>
                  </a:cubicBezTo>
                  <a:cubicBezTo>
                    <a:pt x="697" y="0"/>
                    <a:pt x="697" y="0"/>
                    <a:pt x="697" y="0"/>
                  </a:cubicBezTo>
                  <a:moveTo>
                    <a:pt x="720" y="0"/>
                  </a:moveTo>
                  <a:cubicBezTo>
                    <a:pt x="705" y="0"/>
                    <a:pt x="705" y="0"/>
                    <a:pt x="705" y="0"/>
                  </a:cubicBezTo>
                  <a:cubicBezTo>
                    <a:pt x="705" y="8"/>
                    <a:pt x="705" y="8"/>
                    <a:pt x="705" y="8"/>
                  </a:cubicBezTo>
                  <a:cubicBezTo>
                    <a:pt x="720" y="8"/>
                    <a:pt x="720" y="8"/>
                    <a:pt x="720" y="8"/>
                  </a:cubicBezTo>
                  <a:cubicBezTo>
                    <a:pt x="720" y="0"/>
                    <a:pt x="720" y="0"/>
                    <a:pt x="720" y="0"/>
                  </a:cubicBezTo>
                  <a:moveTo>
                    <a:pt x="743" y="0"/>
                  </a:moveTo>
                  <a:cubicBezTo>
                    <a:pt x="728" y="0"/>
                    <a:pt x="728" y="0"/>
                    <a:pt x="728" y="0"/>
                  </a:cubicBezTo>
                  <a:cubicBezTo>
                    <a:pt x="728" y="8"/>
                    <a:pt x="728" y="8"/>
                    <a:pt x="728" y="8"/>
                  </a:cubicBezTo>
                  <a:cubicBezTo>
                    <a:pt x="743" y="8"/>
                    <a:pt x="743" y="8"/>
                    <a:pt x="743" y="8"/>
                  </a:cubicBezTo>
                  <a:cubicBezTo>
                    <a:pt x="743" y="0"/>
                    <a:pt x="743" y="0"/>
                    <a:pt x="743" y="0"/>
                  </a:cubicBezTo>
                  <a:moveTo>
                    <a:pt x="766" y="0"/>
                  </a:moveTo>
                  <a:cubicBezTo>
                    <a:pt x="764" y="0"/>
                    <a:pt x="762" y="0"/>
                    <a:pt x="760" y="0"/>
                  </a:cubicBezTo>
                  <a:cubicBezTo>
                    <a:pt x="751" y="0"/>
                    <a:pt x="751" y="0"/>
                    <a:pt x="751" y="0"/>
                  </a:cubicBezTo>
                  <a:cubicBezTo>
                    <a:pt x="751" y="8"/>
                    <a:pt x="751" y="8"/>
                    <a:pt x="751" y="8"/>
                  </a:cubicBezTo>
                  <a:cubicBezTo>
                    <a:pt x="760" y="8"/>
                    <a:pt x="760" y="8"/>
                    <a:pt x="760" y="8"/>
                  </a:cubicBezTo>
                  <a:cubicBezTo>
                    <a:pt x="762" y="8"/>
                    <a:pt x="764" y="8"/>
                    <a:pt x="766" y="8"/>
                  </a:cubicBezTo>
                  <a:cubicBezTo>
                    <a:pt x="766" y="0"/>
                    <a:pt x="766" y="0"/>
                    <a:pt x="766" y="0"/>
                  </a:cubicBezTo>
                  <a:moveTo>
                    <a:pt x="789" y="2"/>
                  </a:moveTo>
                  <a:cubicBezTo>
                    <a:pt x="784" y="1"/>
                    <a:pt x="779" y="1"/>
                    <a:pt x="774" y="1"/>
                  </a:cubicBezTo>
                  <a:cubicBezTo>
                    <a:pt x="773" y="8"/>
                    <a:pt x="773" y="8"/>
                    <a:pt x="773" y="8"/>
                  </a:cubicBezTo>
                  <a:cubicBezTo>
                    <a:pt x="778" y="9"/>
                    <a:pt x="783" y="9"/>
                    <a:pt x="788" y="10"/>
                  </a:cubicBezTo>
                  <a:cubicBezTo>
                    <a:pt x="789" y="2"/>
                    <a:pt x="789" y="2"/>
                    <a:pt x="789" y="2"/>
                  </a:cubicBezTo>
                  <a:moveTo>
                    <a:pt x="812" y="7"/>
                  </a:moveTo>
                  <a:cubicBezTo>
                    <a:pt x="807" y="5"/>
                    <a:pt x="802" y="4"/>
                    <a:pt x="797" y="3"/>
                  </a:cubicBezTo>
                  <a:cubicBezTo>
                    <a:pt x="795" y="11"/>
                    <a:pt x="795" y="11"/>
                    <a:pt x="795" y="11"/>
                  </a:cubicBezTo>
                  <a:cubicBezTo>
                    <a:pt x="800" y="12"/>
                    <a:pt x="805" y="13"/>
                    <a:pt x="810" y="14"/>
                  </a:cubicBezTo>
                  <a:cubicBezTo>
                    <a:pt x="812" y="7"/>
                    <a:pt x="812" y="7"/>
                    <a:pt x="812" y="7"/>
                  </a:cubicBezTo>
                  <a:moveTo>
                    <a:pt x="834" y="13"/>
                  </a:moveTo>
                  <a:cubicBezTo>
                    <a:pt x="829" y="12"/>
                    <a:pt x="824" y="10"/>
                    <a:pt x="819" y="9"/>
                  </a:cubicBezTo>
                  <a:cubicBezTo>
                    <a:pt x="817" y="16"/>
                    <a:pt x="817" y="16"/>
                    <a:pt x="817" y="16"/>
                  </a:cubicBezTo>
                  <a:cubicBezTo>
                    <a:pt x="822" y="17"/>
                    <a:pt x="827" y="19"/>
                    <a:pt x="831" y="21"/>
                  </a:cubicBezTo>
                  <a:cubicBezTo>
                    <a:pt x="834" y="13"/>
                    <a:pt x="834" y="13"/>
                    <a:pt x="834" y="13"/>
                  </a:cubicBezTo>
                  <a:cubicBezTo>
                    <a:pt x="834" y="13"/>
                    <a:pt x="834" y="13"/>
                    <a:pt x="834" y="13"/>
                  </a:cubicBezTo>
                  <a:moveTo>
                    <a:pt x="855" y="23"/>
                  </a:moveTo>
                  <a:cubicBezTo>
                    <a:pt x="851" y="20"/>
                    <a:pt x="846" y="18"/>
                    <a:pt x="841" y="16"/>
                  </a:cubicBezTo>
                  <a:cubicBezTo>
                    <a:pt x="838" y="23"/>
                    <a:pt x="838" y="23"/>
                    <a:pt x="838" y="23"/>
                  </a:cubicBezTo>
                  <a:cubicBezTo>
                    <a:pt x="843" y="25"/>
                    <a:pt x="847" y="27"/>
                    <a:pt x="852" y="30"/>
                  </a:cubicBezTo>
                  <a:cubicBezTo>
                    <a:pt x="855" y="23"/>
                    <a:pt x="855" y="23"/>
                    <a:pt x="855" y="23"/>
                  </a:cubicBezTo>
                  <a:moveTo>
                    <a:pt x="876" y="34"/>
                  </a:moveTo>
                  <a:cubicBezTo>
                    <a:pt x="871" y="31"/>
                    <a:pt x="867" y="29"/>
                    <a:pt x="862" y="26"/>
                  </a:cubicBezTo>
                  <a:cubicBezTo>
                    <a:pt x="858" y="33"/>
                    <a:pt x="858" y="33"/>
                    <a:pt x="858" y="33"/>
                  </a:cubicBezTo>
                  <a:cubicBezTo>
                    <a:pt x="863" y="35"/>
                    <a:pt x="867" y="38"/>
                    <a:pt x="871" y="41"/>
                  </a:cubicBezTo>
                  <a:cubicBezTo>
                    <a:pt x="876" y="34"/>
                    <a:pt x="876" y="34"/>
                    <a:pt x="876" y="34"/>
                  </a:cubicBezTo>
                  <a:moveTo>
                    <a:pt x="894" y="48"/>
                  </a:moveTo>
                  <a:cubicBezTo>
                    <a:pt x="890" y="45"/>
                    <a:pt x="886" y="42"/>
                    <a:pt x="882" y="39"/>
                  </a:cubicBezTo>
                  <a:cubicBezTo>
                    <a:pt x="878" y="45"/>
                    <a:pt x="878" y="45"/>
                    <a:pt x="878" y="45"/>
                  </a:cubicBezTo>
                  <a:cubicBezTo>
                    <a:pt x="882" y="48"/>
                    <a:pt x="886" y="51"/>
                    <a:pt x="889" y="54"/>
                  </a:cubicBezTo>
                  <a:cubicBezTo>
                    <a:pt x="894" y="48"/>
                    <a:pt x="894" y="48"/>
                    <a:pt x="894" y="48"/>
                  </a:cubicBezTo>
                  <a:moveTo>
                    <a:pt x="912" y="63"/>
                  </a:moveTo>
                  <a:cubicBezTo>
                    <a:pt x="908" y="60"/>
                    <a:pt x="904" y="56"/>
                    <a:pt x="900" y="53"/>
                  </a:cubicBezTo>
                  <a:cubicBezTo>
                    <a:pt x="895" y="59"/>
                    <a:pt x="895" y="59"/>
                    <a:pt x="895" y="59"/>
                  </a:cubicBezTo>
                  <a:cubicBezTo>
                    <a:pt x="899" y="62"/>
                    <a:pt x="903" y="65"/>
                    <a:pt x="906" y="69"/>
                  </a:cubicBezTo>
                  <a:cubicBezTo>
                    <a:pt x="912" y="63"/>
                    <a:pt x="912" y="63"/>
                    <a:pt x="912" y="63"/>
                  </a:cubicBezTo>
                  <a:moveTo>
                    <a:pt x="927" y="81"/>
                  </a:moveTo>
                  <a:cubicBezTo>
                    <a:pt x="924" y="77"/>
                    <a:pt x="920" y="73"/>
                    <a:pt x="917" y="69"/>
                  </a:cubicBezTo>
                  <a:cubicBezTo>
                    <a:pt x="911" y="74"/>
                    <a:pt x="911" y="74"/>
                    <a:pt x="911" y="74"/>
                  </a:cubicBezTo>
                  <a:cubicBezTo>
                    <a:pt x="915" y="78"/>
                    <a:pt x="918" y="82"/>
                    <a:pt x="921" y="86"/>
                  </a:cubicBezTo>
                  <a:cubicBezTo>
                    <a:pt x="927" y="81"/>
                    <a:pt x="927" y="81"/>
                    <a:pt x="927" y="81"/>
                  </a:cubicBezTo>
                  <a:moveTo>
                    <a:pt x="941" y="100"/>
                  </a:moveTo>
                  <a:cubicBezTo>
                    <a:pt x="938" y="95"/>
                    <a:pt x="935" y="91"/>
                    <a:pt x="932" y="87"/>
                  </a:cubicBezTo>
                  <a:cubicBezTo>
                    <a:pt x="926" y="92"/>
                    <a:pt x="926" y="92"/>
                    <a:pt x="926" y="92"/>
                  </a:cubicBezTo>
                  <a:cubicBezTo>
                    <a:pt x="928" y="96"/>
                    <a:pt x="931" y="100"/>
                    <a:pt x="934" y="104"/>
                  </a:cubicBezTo>
                  <a:cubicBezTo>
                    <a:pt x="941" y="100"/>
                    <a:pt x="941" y="100"/>
                    <a:pt x="941" y="100"/>
                  </a:cubicBezTo>
                  <a:moveTo>
                    <a:pt x="952" y="120"/>
                  </a:moveTo>
                  <a:cubicBezTo>
                    <a:pt x="950" y="115"/>
                    <a:pt x="947" y="111"/>
                    <a:pt x="945" y="106"/>
                  </a:cubicBezTo>
                  <a:cubicBezTo>
                    <a:pt x="938" y="110"/>
                    <a:pt x="938" y="110"/>
                    <a:pt x="938" y="110"/>
                  </a:cubicBezTo>
                  <a:cubicBezTo>
                    <a:pt x="940" y="114"/>
                    <a:pt x="943" y="119"/>
                    <a:pt x="945" y="123"/>
                  </a:cubicBezTo>
                  <a:cubicBezTo>
                    <a:pt x="952" y="120"/>
                    <a:pt x="952" y="120"/>
                    <a:pt x="952" y="120"/>
                  </a:cubicBezTo>
                  <a:cubicBezTo>
                    <a:pt x="952" y="120"/>
                    <a:pt x="952" y="120"/>
                    <a:pt x="952" y="120"/>
                  </a:cubicBezTo>
                  <a:moveTo>
                    <a:pt x="961" y="141"/>
                  </a:moveTo>
                  <a:cubicBezTo>
                    <a:pt x="959" y="136"/>
                    <a:pt x="957" y="132"/>
                    <a:pt x="955" y="127"/>
                  </a:cubicBezTo>
                  <a:cubicBezTo>
                    <a:pt x="948" y="130"/>
                    <a:pt x="948" y="130"/>
                    <a:pt x="948" y="130"/>
                  </a:cubicBezTo>
                  <a:cubicBezTo>
                    <a:pt x="950" y="135"/>
                    <a:pt x="952" y="139"/>
                    <a:pt x="954" y="144"/>
                  </a:cubicBezTo>
                  <a:cubicBezTo>
                    <a:pt x="961" y="141"/>
                    <a:pt x="961" y="141"/>
                    <a:pt x="961" y="141"/>
                  </a:cubicBezTo>
                  <a:moveTo>
                    <a:pt x="968" y="164"/>
                  </a:moveTo>
                  <a:cubicBezTo>
                    <a:pt x="967" y="159"/>
                    <a:pt x="965" y="154"/>
                    <a:pt x="964" y="149"/>
                  </a:cubicBezTo>
                  <a:cubicBezTo>
                    <a:pt x="956" y="151"/>
                    <a:pt x="956" y="151"/>
                    <a:pt x="956" y="151"/>
                  </a:cubicBezTo>
                  <a:cubicBezTo>
                    <a:pt x="958" y="156"/>
                    <a:pt x="959" y="161"/>
                    <a:pt x="960" y="165"/>
                  </a:cubicBezTo>
                  <a:cubicBezTo>
                    <a:pt x="968" y="164"/>
                    <a:pt x="968" y="164"/>
                    <a:pt x="968" y="164"/>
                  </a:cubicBezTo>
                  <a:cubicBezTo>
                    <a:pt x="968" y="164"/>
                    <a:pt x="968" y="164"/>
                    <a:pt x="968" y="164"/>
                  </a:cubicBezTo>
                  <a:moveTo>
                    <a:pt x="972" y="186"/>
                  </a:moveTo>
                  <a:cubicBezTo>
                    <a:pt x="971" y="181"/>
                    <a:pt x="971" y="176"/>
                    <a:pt x="970" y="171"/>
                  </a:cubicBezTo>
                  <a:cubicBezTo>
                    <a:pt x="962" y="173"/>
                    <a:pt x="962" y="173"/>
                    <a:pt x="962" y="173"/>
                  </a:cubicBezTo>
                  <a:cubicBezTo>
                    <a:pt x="963" y="178"/>
                    <a:pt x="964" y="182"/>
                    <a:pt x="964" y="187"/>
                  </a:cubicBezTo>
                  <a:cubicBezTo>
                    <a:pt x="972" y="186"/>
                    <a:pt x="972" y="186"/>
                    <a:pt x="972" y="186"/>
                  </a:cubicBezTo>
                  <a:moveTo>
                    <a:pt x="974" y="210"/>
                  </a:moveTo>
                  <a:cubicBezTo>
                    <a:pt x="974" y="204"/>
                    <a:pt x="973" y="199"/>
                    <a:pt x="973" y="194"/>
                  </a:cubicBezTo>
                  <a:cubicBezTo>
                    <a:pt x="965" y="195"/>
                    <a:pt x="965" y="195"/>
                    <a:pt x="965" y="195"/>
                  </a:cubicBezTo>
                  <a:cubicBezTo>
                    <a:pt x="966" y="200"/>
                    <a:pt x="966" y="205"/>
                    <a:pt x="966" y="210"/>
                  </a:cubicBezTo>
                  <a:cubicBezTo>
                    <a:pt x="974" y="210"/>
                    <a:pt x="974" y="210"/>
                    <a:pt x="974" y="210"/>
                  </a:cubicBezTo>
                  <a:moveTo>
                    <a:pt x="974" y="233"/>
                  </a:moveTo>
                  <a:cubicBezTo>
                    <a:pt x="974" y="230"/>
                    <a:pt x="974" y="228"/>
                    <a:pt x="974" y="226"/>
                  </a:cubicBezTo>
                  <a:cubicBezTo>
                    <a:pt x="974" y="217"/>
                    <a:pt x="974" y="217"/>
                    <a:pt x="974" y="217"/>
                  </a:cubicBezTo>
                  <a:cubicBezTo>
                    <a:pt x="966" y="217"/>
                    <a:pt x="966" y="217"/>
                    <a:pt x="966" y="217"/>
                  </a:cubicBezTo>
                  <a:cubicBezTo>
                    <a:pt x="966" y="226"/>
                    <a:pt x="966" y="226"/>
                    <a:pt x="966" y="226"/>
                  </a:cubicBezTo>
                  <a:cubicBezTo>
                    <a:pt x="966" y="228"/>
                    <a:pt x="966" y="230"/>
                    <a:pt x="966" y="232"/>
                  </a:cubicBezTo>
                  <a:cubicBezTo>
                    <a:pt x="974" y="233"/>
                    <a:pt x="974" y="233"/>
                    <a:pt x="974" y="233"/>
                  </a:cubicBezTo>
                  <a:moveTo>
                    <a:pt x="972" y="256"/>
                  </a:moveTo>
                  <a:cubicBezTo>
                    <a:pt x="973" y="251"/>
                    <a:pt x="973" y="246"/>
                    <a:pt x="973" y="240"/>
                  </a:cubicBezTo>
                  <a:cubicBezTo>
                    <a:pt x="966" y="240"/>
                    <a:pt x="966" y="240"/>
                    <a:pt x="966" y="240"/>
                  </a:cubicBezTo>
                  <a:cubicBezTo>
                    <a:pt x="965" y="245"/>
                    <a:pt x="965" y="250"/>
                    <a:pt x="964" y="255"/>
                  </a:cubicBezTo>
                  <a:cubicBezTo>
                    <a:pt x="972" y="256"/>
                    <a:pt x="972" y="256"/>
                    <a:pt x="972" y="256"/>
                  </a:cubicBezTo>
                  <a:cubicBezTo>
                    <a:pt x="972" y="256"/>
                    <a:pt x="972" y="256"/>
                    <a:pt x="972" y="256"/>
                  </a:cubicBezTo>
                  <a:moveTo>
                    <a:pt x="967" y="279"/>
                  </a:moveTo>
                  <a:cubicBezTo>
                    <a:pt x="969" y="274"/>
                    <a:pt x="970" y="268"/>
                    <a:pt x="971" y="263"/>
                  </a:cubicBezTo>
                  <a:cubicBezTo>
                    <a:pt x="963" y="262"/>
                    <a:pt x="963" y="262"/>
                    <a:pt x="963" y="262"/>
                  </a:cubicBezTo>
                  <a:cubicBezTo>
                    <a:pt x="962" y="267"/>
                    <a:pt x="961" y="272"/>
                    <a:pt x="960" y="277"/>
                  </a:cubicBezTo>
                  <a:cubicBezTo>
                    <a:pt x="967" y="279"/>
                    <a:pt x="967" y="279"/>
                    <a:pt x="967" y="279"/>
                  </a:cubicBezTo>
                  <a:moveTo>
                    <a:pt x="960" y="301"/>
                  </a:moveTo>
                  <a:cubicBezTo>
                    <a:pt x="962" y="296"/>
                    <a:pt x="964" y="291"/>
                    <a:pt x="965" y="286"/>
                  </a:cubicBezTo>
                  <a:cubicBezTo>
                    <a:pt x="958" y="284"/>
                    <a:pt x="958" y="284"/>
                    <a:pt x="958" y="284"/>
                  </a:cubicBezTo>
                  <a:cubicBezTo>
                    <a:pt x="956" y="289"/>
                    <a:pt x="955" y="293"/>
                    <a:pt x="953" y="298"/>
                  </a:cubicBezTo>
                  <a:cubicBezTo>
                    <a:pt x="960" y="301"/>
                    <a:pt x="960" y="301"/>
                    <a:pt x="960" y="301"/>
                  </a:cubicBezTo>
                  <a:moveTo>
                    <a:pt x="951" y="322"/>
                  </a:moveTo>
                  <a:cubicBezTo>
                    <a:pt x="953" y="317"/>
                    <a:pt x="956" y="313"/>
                    <a:pt x="957" y="308"/>
                  </a:cubicBezTo>
                  <a:cubicBezTo>
                    <a:pt x="950" y="305"/>
                    <a:pt x="950" y="305"/>
                    <a:pt x="950" y="305"/>
                  </a:cubicBezTo>
                  <a:cubicBezTo>
                    <a:pt x="948" y="309"/>
                    <a:pt x="946" y="314"/>
                    <a:pt x="944" y="318"/>
                  </a:cubicBezTo>
                  <a:cubicBezTo>
                    <a:pt x="951" y="322"/>
                    <a:pt x="951" y="322"/>
                    <a:pt x="951" y="322"/>
                  </a:cubicBezTo>
                  <a:moveTo>
                    <a:pt x="939" y="342"/>
                  </a:moveTo>
                  <a:cubicBezTo>
                    <a:pt x="942" y="338"/>
                    <a:pt x="945" y="333"/>
                    <a:pt x="947" y="329"/>
                  </a:cubicBezTo>
                  <a:cubicBezTo>
                    <a:pt x="941" y="325"/>
                    <a:pt x="941" y="325"/>
                    <a:pt x="941" y="325"/>
                  </a:cubicBezTo>
                  <a:cubicBezTo>
                    <a:pt x="938" y="329"/>
                    <a:pt x="936" y="334"/>
                    <a:pt x="933" y="338"/>
                  </a:cubicBezTo>
                  <a:cubicBezTo>
                    <a:pt x="939" y="342"/>
                    <a:pt x="939" y="342"/>
                    <a:pt x="939" y="342"/>
                  </a:cubicBezTo>
                  <a:moveTo>
                    <a:pt x="926" y="361"/>
                  </a:moveTo>
                  <a:cubicBezTo>
                    <a:pt x="929" y="357"/>
                    <a:pt x="932" y="353"/>
                    <a:pt x="935" y="348"/>
                  </a:cubicBezTo>
                  <a:cubicBezTo>
                    <a:pt x="929" y="344"/>
                    <a:pt x="929" y="344"/>
                    <a:pt x="929" y="344"/>
                  </a:cubicBezTo>
                  <a:cubicBezTo>
                    <a:pt x="926" y="348"/>
                    <a:pt x="923" y="352"/>
                    <a:pt x="920" y="356"/>
                  </a:cubicBezTo>
                  <a:cubicBezTo>
                    <a:pt x="926" y="361"/>
                    <a:pt x="926" y="361"/>
                    <a:pt x="926" y="361"/>
                  </a:cubicBezTo>
                  <a:moveTo>
                    <a:pt x="910" y="378"/>
                  </a:moveTo>
                  <a:cubicBezTo>
                    <a:pt x="914" y="374"/>
                    <a:pt x="917" y="371"/>
                    <a:pt x="921" y="367"/>
                  </a:cubicBezTo>
                  <a:cubicBezTo>
                    <a:pt x="915" y="362"/>
                    <a:pt x="915" y="362"/>
                    <a:pt x="915" y="362"/>
                  </a:cubicBezTo>
                  <a:cubicBezTo>
                    <a:pt x="912" y="365"/>
                    <a:pt x="908" y="369"/>
                    <a:pt x="905" y="372"/>
                  </a:cubicBezTo>
                  <a:cubicBezTo>
                    <a:pt x="910" y="378"/>
                    <a:pt x="910" y="378"/>
                    <a:pt x="910" y="378"/>
                  </a:cubicBezTo>
                  <a:moveTo>
                    <a:pt x="893" y="393"/>
                  </a:moveTo>
                  <a:cubicBezTo>
                    <a:pt x="897" y="390"/>
                    <a:pt x="901" y="387"/>
                    <a:pt x="905" y="383"/>
                  </a:cubicBezTo>
                  <a:cubicBezTo>
                    <a:pt x="899" y="378"/>
                    <a:pt x="899" y="378"/>
                    <a:pt x="899" y="378"/>
                  </a:cubicBezTo>
                  <a:cubicBezTo>
                    <a:pt x="896" y="381"/>
                    <a:pt x="892" y="384"/>
                    <a:pt x="888" y="387"/>
                  </a:cubicBezTo>
                  <a:cubicBezTo>
                    <a:pt x="893" y="393"/>
                    <a:pt x="893" y="393"/>
                    <a:pt x="893" y="393"/>
                  </a:cubicBezTo>
                  <a:moveTo>
                    <a:pt x="874" y="407"/>
                  </a:moveTo>
                  <a:cubicBezTo>
                    <a:pt x="878" y="404"/>
                    <a:pt x="882" y="401"/>
                    <a:pt x="887" y="398"/>
                  </a:cubicBezTo>
                  <a:cubicBezTo>
                    <a:pt x="882" y="392"/>
                    <a:pt x="882" y="392"/>
                    <a:pt x="882" y="392"/>
                  </a:cubicBezTo>
                  <a:cubicBezTo>
                    <a:pt x="878" y="395"/>
                    <a:pt x="874" y="398"/>
                    <a:pt x="870" y="400"/>
                  </a:cubicBezTo>
                  <a:cubicBezTo>
                    <a:pt x="874" y="407"/>
                    <a:pt x="874" y="407"/>
                    <a:pt x="874" y="407"/>
                  </a:cubicBezTo>
                  <a:moveTo>
                    <a:pt x="854" y="418"/>
                  </a:moveTo>
                  <a:cubicBezTo>
                    <a:pt x="858" y="416"/>
                    <a:pt x="863" y="413"/>
                    <a:pt x="867" y="411"/>
                  </a:cubicBezTo>
                  <a:cubicBezTo>
                    <a:pt x="863" y="404"/>
                    <a:pt x="863" y="404"/>
                    <a:pt x="863" y="404"/>
                  </a:cubicBezTo>
                  <a:cubicBezTo>
                    <a:pt x="859" y="407"/>
                    <a:pt x="855" y="409"/>
                    <a:pt x="850" y="411"/>
                  </a:cubicBezTo>
                  <a:cubicBezTo>
                    <a:pt x="854" y="418"/>
                    <a:pt x="854" y="418"/>
                    <a:pt x="854" y="418"/>
                  </a:cubicBezTo>
                  <a:moveTo>
                    <a:pt x="832" y="427"/>
                  </a:moveTo>
                  <a:cubicBezTo>
                    <a:pt x="837" y="426"/>
                    <a:pt x="842" y="424"/>
                    <a:pt x="846" y="421"/>
                  </a:cubicBezTo>
                  <a:cubicBezTo>
                    <a:pt x="843" y="414"/>
                    <a:pt x="843" y="414"/>
                    <a:pt x="843" y="414"/>
                  </a:cubicBezTo>
                  <a:cubicBezTo>
                    <a:pt x="839" y="416"/>
                    <a:pt x="834" y="418"/>
                    <a:pt x="829" y="420"/>
                  </a:cubicBezTo>
                  <a:cubicBezTo>
                    <a:pt x="832" y="427"/>
                    <a:pt x="832" y="427"/>
                    <a:pt x="832" y="427"/>
                  </a:cubicBezTo>
                  <a:moveTo>
                    <a:pt x="810" y="434"/>
                  </a:moveTo>
                  <a:cubicBezTo>
                    <a:pt x="815" y="433"/>
                    <a:pt x="820" y="431"/>
                    <a:pt x="825" y="430"/>
                  </a:cubicBezTo>
                  <a:cubicBezTo>
                    <a:pt x="822" y="422"/>
                    <a:pt x="822" y="422"/>
                    <a:pt x="822" y="422"/>
                  </a:cubicBezTo>
                  <a:cubicBezTo>
                    <a:pt x="818" y="424"/>
                    <a:pt x="813" y="425"/>
                    <a:pt x="808" y="426"/>
                  </a:cubicBezTo>
                  <a:cubicBezTo>
                    <a:pt x="810" y="434"/>
                    <a:pt x="810" y="434"/>
                    <a:pt x="810" y="434"/>
                  </a:cubicBezTo>
                  <a:moveTo>
                    <a:pt x="787" y="438"/>
                  </a:moveTo>
                  <a:cubicBezTo>
                    <a:pt x="792" y="438"/>
                    <a:pt x="797" y="437"/>
                    <a:pt x="802" y="436"/>
                  </a:cubicBezTo>
                  <a:cubicBezTo>
                    <a:pt x="801" y="428"/>
                    <a:pt x="801" y="428"/>
                    <a:pt x="801" y="428"/>
                  </a:cubicBezTo>
                  <a:cubicBezTo>
                    <a:pt x="796" y="429"/>
                    <a:pt x="791" y="430"/>
                    <a:pt x="786" y="430"/>
                  </a:cubicBezTo>
                  <a:cubicBezTo>
                    <a:pt x="787" y="438"/>
                    <a:pt x="787" y="438"/>
                    <a:pt x="787" y="438"/>
                  </a:cubicBezTo>
                  <a:moveTo>
                    <a:pt x="764" y="440"/>
                  </a:moveTo>
                  <a:cubicBezTo>
                    <a:pt x="769" y="440"/>
                    <a:pt x="774" y="439"/>
                    <a:pt x="779" y="439"/>
                  </a:cubicBezTo>
                  <a:cubicBezTo>
                    <a:pt x="779" y="431"/>
                    <a:pt x="779" y="431"/>
                    <a:pt x="779" y="431"/>
                  </a:cubicBezTo>
                  <a:cubicBezTo>
                    <a:pt x="774" y="432"/>
                    <a:pt x="769" y="432"/>
                    <a:pt x="764" y="432"/>
                  </a:cubicBezTo>
                  <a:cubicBezTo>
                    <a:pt x="764" y="440"/>
                    <a:pt x="764" y="440"/>
                    <a:pt x="764" y="440"/>
                  </a:cubicBezTo>
                  <a:cubicBezTo>
                    <a:pt x="764" y="440"/>
                    <a:pt x="764" y="440"/>
                    <a:pt x="764" y="440"/>
                  </a:cubicBezTo>
                  <a:moveTo>
                    <a:pt x="741" y="440"/>
                  </a:moveTo>
                  <a:cubicBezTo>
                    <a:pt x="756" y="440"/>
                    <a:pt x="756" y="440"/>
                    <a:pt x="756" y="440"/>
                  </a:cubicBezTo>
                  <a:cubicBezTo>
                    <a:pt x="756" y="432"/>
                    <a:pt x="756" y="432"/>
                    <a:pt x="756" y="432"/>
                  </a:cubicBezTo>
                  <a:cubicBezTo>
                    <a:pt x="741" y="432"/>
                    <a:pt x="741" y="432"/>
                    <a:pt x="741" y="432"/>
                  </a:cubicBezTo>
                  <a:cubicBezTo>
                    <a:pt x="741" y="440"/>
                    <a:pt x="741" y="440"/>
                    <a:pt x="741" y="440"/>
                  </a:cubicBezTo>
                  <a:moveTo>
                    <a:pt x="718" y="440"/>
                  </a:moveTo>
                  <a:cubicBezTo>
                    <a:pt x="733" y="440"/>
                    <a:pt x="733" y="440"/>
                    <a:pt x="733" y="440"/>
                  </a:cubicBezTo>
                  <a:cubicBezTo>
                    <a:pt x="733" y="432"/>
                    <a:pt x="733" y="432"/>
                    <a:pt x="733" y="432"/>
                  </a:cubicBezTo>
                  <a:cubicBezTo>
                    <a:pt x="718" y="432"/>
                    <a:pt x="718" y="432"/>
                    <a:pt x="718" y="432"/>
                  </a:cubicBezTo>
                  <a:cubicBezTo>
                    <a:pt x="718" y="440"/>
                    <a:pt x="718" y="440"/>
                    <a:pt x="718" y="440"/>
                  </a:cubicBezTo>
                  <a:moveTo>
                    <a:pt x="695" y="440"/>
                  </a:moveTo>
                  <a:cubicBezTo>
                    <a:pt x="710" y="440"/>
                    <a:pt x="710" y="440"/>
                    <a:pt x="710" y="440"/>
                  </a:cubicBezTo>
                  <a:cubicBezTo>
                    <a:pt x="710" y="432"/>
                    <a:pt x="710" y="432"/>
                    <a:pt x="710" y="432"/>
                  </a:cubicBezTo>
                  <a:cubicBezTo>
                    <a:pt x="695" y="432"/>
                    <a:pt x="695" y="432"/>
                    <a:pt x="695" y="432"/>
                  </a:cubicBezTo>
                  <a:cubicBezTo>
                    <a:pt x="695" y="440"/>
                    <a:pt x="695" y="440"/>
                    <a:pt x="695" y="440"/>
                  </a:cubicBezTo>
                  <a:moveTo>
                    <a:pt x="672" y="440"/>
                  </a:moveTo>
                  <a:cubicBezTo>
                    <a:pt x="688" y="440"/>
                    <a:pt x="688" y="440"/>
                    <a:pt x="688" y="440"/>
                  </a:cubicBezTo>
                  <a:cubicBezTo>
                    <a:pt x="688" y="432"/>
                    <a:pt x="688" y="432"/>
                    <a:pt x="688" y="432"/>
                  </a:cubicBezTo>
                  <a:cubicBezTo>
                    <a:pt x="672" y="432"/>
                    <a:pt x="672" y="432"/>
                    <a:pt x="672" y="432"/>
                  </a:cubicBezTo>
                  <a:cubicBezTo>
                    <a:pt x="672" y="440"/>
                    <a:pt x="672" y="440"/>
                    <a:pt x="672" y="440"/>
                  </a:cubicBezTo>
                  <a:moveTo>
                    <a:pt x="650" y="440"/>
                  </a:moveTo>
                  <a:cubicBezTo>
                    <a:pt x="665" y="440"/>
                    <a:pt x="665" y="440"/>
                    <a:pt x="665" y="440"/>
                  </a:cubicBezTo>
                  <a:cubicBezTo>
                    <a:pt x="665" y="432"/>
                    <a:pt x="665" y="432"/>
                    <a:pt x="665" y="432"/>
                  </a:cubicBezTo>
                  <a:cubicBezTo>
                    <a:pt x="650" y="432"/>
                    <a:pt x="650" y="432"/>
                    <a:pt x="650" y="432"/>
                  </a:cubicBezTo>
                  <a:cubicBezTo>
                    <a:pt x="650" y="440"/>
                    <a:pt x="650" y="440"/>
                    <a:pt x="650" y="440"/>
                  </a:cubicBezTo>
                  <a:moveTo>
                    <a:pt x="627" y="440"/>
                  </a:moveTo>
                  <a:cubicBezTo>
                    <a:pt x="642" y="440"/>
                    <a:pt x="642" y="440"/>
                    <a:pt x="642" y="440"/>
                  </a:cubicBezTo>
                  <a:cubicBezTo>
                    <a:pt x="642" y="432"/>
                    <a:pt x="642" y="432"/>
                    <a:pt x="642" y="432"/>
                  </a:cubicBezTo>
                  <a:cubicBezTo>
                    <a:pt x="627" y="432"/>
                    <a:pt x="627" y="432"/>
                    <a:pt x="627" y="432"/>
                  </a:cubicBezTo>
                  <a:cubicBezTo>
                    <a:pt x="627" y="440"/>
                    <a:pt x="627" y="440"/>
                    <a:pt x="627" y="440"/>
                  </a:cubicBezTo>
                  <a:moveTo>
                    <a:pt x="604" y="440"/>
                  </a:moveTo>
                  <a:cubicBezTo>
                    <a:pt x="619" y="440"/>
                    <a:pt x="619" y="440"/>
                    <a:pt x="619" y="440"/>
                  </a:cubicBezTo>
                  <a:cubicBezTo>
                    <a:pt x="619" y="432"/>
                    <a:pt x="619" y="432"/>
                    <a:pt x="619" y="432"/>
                  </a:cubicBezTo>
                  <a:cubicBezTo>
                    <a:pt x="604" y="432"/>
                    <a:pt x="604" y="432"/>
                    <a:pt x="604" y="432"/>
                  </a:cubicBezTo>
                  <a:cubicBezTo>
                    <a:pt x="604" y="440"/>
                    <a:pt x="604" y="440"/>
                    <a:pt x="604" y="440"/>
                  </a:cubicBezTo>
                  <a:moveTo>
                    <a:pt x="581" y="440"/>
                  </a:moveTo>
                  <a:cubicBezTo>
                    <a:pt x="596" y="440"/>
                    <a:pt x="596" y="440"/>
                    <a:pt x="596" y="440"/>
                  </a:cubicBezTo>
                  <a:cubicBezTo>
                    <a:pt x="596" y="432"/>
                    <a:pt x="596" y="432"/>
                    <a:pt x="596" y="432"/>
                  </a:cubicBezTo>
                  <a:cubicBezTo>
                    <a:pt x="581" y="432"/>
                    <a:pt x="581" y="432"/>
                    <a:pt x="581" y="432"/>
                  </a:cubicBezTo>
                  <a:cubicBezTo>
                    <a:pt x="581" y="440"/>
                    <a:pt x="581" y="440"/>
                    <a:pt x="581" y="440"/>
                  </a:cubicBezTo>
                  <a:moveTo>
                    <a:pt x="558" y="440"/>
                  </a:moveTo>
                  <a:cubicBezTo>
                    <a:pt x="574" y="440"/>
                    <a:pt x="574" y="440"/>
                    <a:pt x="574" y="440"/>
                  </a:cubicBezTo>
                  <a:cubicBezTo>
                    <a:pt x="574" y="432"/>
                    <a:pt x="574" y="432"/>
                    <a:pt x="574" y="432"/>
                  </a:cubicBezTo>
                  <a:cubicBezTo>
                    <a:pt x="558" y="432"/>
                    <a:pt x="558" y="432"/>
                    <a:pt x="558" y="432"/>
                  </a:cubicBezTo>
                  <a:cubicBezTo>
                    <a:pt x="558" y="440"/>
                    <a:pt x="558" y="440"/>
                    <a:pt x="558" y="440"/>
                  </a:cubicBezTo>
                  <a:moveTo>
                    <a:pt x="535" y="440"/>
                  </a:moveTo>
                  <a:cubicBezTo>
                    <a:pt x="551" y="440"/>
                    <a:pt x="551" y="440"/>
                    <a:pt x="551" y="440"/>
                  </a:cubicBezTo>
                  <a:cubicBezTo>
                    <a:pt x="551" y="432"/>
                    <a:pt x="551" y="432"/>
                    <a:pt x="551" y="432"/>
                  </a:cubicBezTo>
                  <a:cubicBezTo>
                    <a:pt x="535" y="432"/>
                    <a:pt x="535" y="432"/>
                    <a:pt x="535" y="432"/>
                  </a:cubicBezTo>
                  <a:cubicBezTo>
                    <a:pt x="535" y="440"/>
                    <a:pt x="535" y="440"/>
                    <a:pt x="535" y="440"/>
                  </a:cubicBezTo>
                  <a:moveTo>
                    <a:pt x="513" y="440"/>
                  </a:moveTo>
                  <a:cubicBezTo>
                    <a:pt x="528" y="440"/>
                    <a:pt x="528" y="440"/>
                    <a:pt x="528" y="440"/>
                  </a:cubicBezTo>
                  <a:cubicBezTo>
                    <a:pt x="528" y="432"/>
                    <a:pt x="528" y="432"/>
                    <a:pt x="528" y="432"/>
                  </a:cubicBezTo>
                  <a:cubicBezTo>
                    <a:pt x="513" y="432"/>
                    <a:pt x="513" y="432"/>
                    <a:pt x="513" y="432"/>
                  </a:cubicBezTo>
                  <a:cubicBezTo>
                    <a:pt x="513" y="440"/>
                    <a:pt x="513" y="440"/>
                    <a:pt x="513"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7" y="440"/>
                    <a:pt x="437" y="440"/>
                    <a:pt x="437" y="440"/>
                  </a:cubicBezTo>
                  <a:cubicBezTo>
                    <a:pt x="437" y="432"/>
                    <a:pt x="437" y="432"/>
                    <a:pt x="437" y="432"/>
                  </a:cubicBezTo>
                  <a:cubicBezTo>
                    <a:pt x="421" y="432"/>
                    <a:pt x="421" y="432"/>
                    <a:pt x="421" y="432"/>
                  </a:cubicBezTo>
                  <a:cubicBezTo>
                    <a:pt x="421" y="440"/>
                    <a:pt x="421" y="440"/>
                    <a:pt x="421" y="440"/>
                  </a:cubicBezTo>
                  <a:moveTo>
                    <a:pt x="399" y="440"/>
                  </a:moveTo>
                  <a:cubicBezTo>
                    <a:pt x="414" y="440"/>
                    <a:pt x="414" y="440"/>
                    <a:pt x="414" y="440"/>
                  </a:cubicBezTo>
                  <a:cubicBezTo>
                    <a:pt x="414" y="432"/>
                    <a:pt x="414" y="432"/>
                    <a:pt x="414" y="432"/>
                  </a:cubicBezTo>
                  <a:cubicBezTo>
                    <a:pt x="399" y="432"/>
                    <a:pt x="399" y="432"/>
                    <a:pt x="399" y="432"/>
                  </a:cubicBezTo>
                  <a:cubicBezTo>
                    <a:pt x="399" y="440"/>
                    <a:pt x="399" y="440"/>
                    <a:pt x="399" y="440"/>
                  </a:cubicBezTo>
                  <a:moveTo>
                    <a:pt x="376" y="440"/>
                  </a:moveTo>
                  <a:cubicBezTo>
                    <a:pt x="391" y="440"/>
                    <a:pt x="391" y="440"/>
                    <a:pt x="391" y="440"/>
                  </a:cubicBezTo>
                  <a:cubicBezTo>
                    <a:pt x="391" y="432"/>
                    <a:pt x="391" y="432"/>
                    <a:pt x="391" y="432"/>
                  </a:cubicBezTo>
                  <a:cubicBezTo>
                    <a:pt x="376" y="432"/>
                    <a:pt x="376" y="432"/>
                    <a:pt x="376" y="432"/>
                  </a:cubicBezTo>
                  <a:cubicBezTo>
                    <a:pt x="376" y="440"/>
                    <a:pt x="376" y="440"/>
                    <a:pt x="376"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300" y="440"/>
                    <a:pt x="300" y="440"/>
                    <a:pt x="300" y="440"/>
                  </a:cubicBezTo>
                  <a:cubicBezTo>
                    <a:pt x="300" y="432"/>
                    <a:pt x="300" y="432"/>
                    <a:pt x="300" y="432"/>
                  </a:cubicBezTo>
                  <a:cubicBezTo>
                    <a:pt x="284" y="432"/>
                    <a:pt x="284" y="432"/>
                    <a:pt x="284" y="432"/>
                  </a:cubicBezTo>
                  <a:cubicBezTo>
                    <a:pt x="284" y="440"/>
                    <a:pt x="284" y="440"/>
                    <a:pt x="284" y="440"/>
                  </a:cubicBezTo>
                  <a:moveTo>
                    <a:pt x="262" y="440"/>
                  </a:moveTo>
                  <a:cubicBezTo>
                    <a:pt x="277" y="440"/>
                    <a:pt x="277" y="440"/>
                    <a:pt x="277" y="440"/>
                  </a:cubicBezTo>
                  <a:cubicBezTo>
                    <a:pt x="277" y="432"/>
                    <a:pt x="277" y="432"/>
                    <a:pt x="277" y="432"/>
                  </a:cubicBezTo>
                  <a:cubicBezTo>
                    <a:pt x="262" y="432"/>
                    <a:pt x="262" y="432"/>
                    <a:pt x="262" y="432"/>
                  </a:cubicBezTo>
                  <a:cubicBezTo>
                    <a:pt x="262" y="440"/>
                    <a:pt x="262" y="440"/>
                    <a:pt x="262" y="440"/>
                  </a:cubicBezTo>
                  <a:moveTo>
                    <a:pt x="239" y="440"/>
                  </a:moveTo>
                  <a:cubicBezTo>
                    <a:pt x="254" y="440"/>
                    <a:pt x="254" y="440"/>
                    <a:pt x="254" y="440"/>
                  </a:cubicBezTo>
                  <a:cubicBezTo>
                    <a:pt x="254" y="432"/>
                    <a:pt x="254" y="432"/>
                    <a:pt x="254" y="432"/>
                  </a:cubicBezTo>
                  <a:cubicBezTo>
                    <a:pt x="239" y="432"/>
                    <a:pt x="239" y="432"/>
                    <a:pt x="239" y="432"/>
                  </a:cubicBezTo>
                  <a:cubicBezTo>
                    <a:pt x="239" y="440"/>
                    <a:pt x="239" y="440"/>
                    <a:pt x="239"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ubicBezTo>
                    <a:pt x="16" y="306"/>
                    <a:pt x="16" y="306"/>
                    <a:pt x="16" y="306"/>
                  </a:cubicBezTo>
                  <a:moveTo>
                    <a:pt x="8" y="284"/>
                  </a:moveTo>
                  <a:cubicBezTo>
                    <a:pt x="10" y="289"/>
                    <a:pt x="11" y="294"/>
                    <a:pt x="13" y="299"/>
                  </a:cubicBezTo>
                  <a:cubicBezTo>
                    <a:pt x="20" y="296"/>
                    <a:pt x="20" y="296"/>
                    <a:pt x="20" y="296"/>
                  </a:cubicBezTo>
                  <a:cubicBezTo>
                    <a:pt x="19" y="292"/>
                    <a:pt x="17" y="287"/>
                    <a:pt x="16" y="282"/>
                  </a:cubicBezTo>
                  <a:cubicBezTo>
                    <a:pt x="8" y="284"/>
                    <a:pt x="8" y="284"/>
                    <a:pt x="8" y="284"/>
                  </a:cubicBezTo>
                  <a:moveTo>
                    <a:pt x="3" y="261"/>
                  </a:moveTo>
                  <a:cubicBezTo>
                    <a:pt x="4" y="267"/>
                    <a:pt x="5" y="272"/>
                    <a:pt x="6" y="277"/>
                  </a:cubicBezTo>
                  <a:cubicBezTo>
                    <a:pt x="14" y="275"/>
                    <a:pt x="14" y="275"/>
                    <a:pt x="14" y="275"/>
                  </a:cubicBezTo>
                  <a:cubicBezTo>
                    <a:pt x="13" y="270"/>
                    <a:pt x="12" y="265"/>
                    <a:pt x="11" y="260"/>
                  </a:cubicBezTo>
                  <a:cubicBezTo>
                    <a:pt x="3" y="261"/>
                    <a:pt x="3" y="261"/>
                    <a:pt x="3" y="261"/>
                  </a:cubicBezTo>
                  <a:moveTo>
                    <a:pt x="0" y="238"/>
                  </a:moveTo>
                  <a:cubicBezTo>
                    <a:pt x="1" y="244"/>
                    <a:pt x="1" y="249"/>
                    <a:pt x="2" y="254"/>
                  </a:cubicBezTo>
                  <a:cubicBezTo>
                    <a:pt x="10" y="253"/>
                    <a:pt x="10" y="253"/>
                    <a:pt x="10" y="253"/>
                  </a:cubicBezTo>
                  <a:cubicBezTo>
                    <a:pt x="9" y="248"/>
                    <a:pt x="9" y="243"/>
                    <a:pt x="8" y="238"/>
                  </a:cubicBezTo>
                  <a:cubicBezTo>
                    <a:pt x="0" y="238"/>
                    <a:pt x="0" y="238"/>
                    <a:pt x="0" y="238"/>
                  </a:cubicBezTo>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1" y="197"/>
                    <a:pt x="0" y="202"/>
                    <a:pt x="0" y="208"/>
                  </a:cubicBezTo>
                  <a:cubicBezTo>
                    <a:pt x="8" y="208"/>
                    <a:pt x="8" y="208"/>
                    <a:pt x="8" y="208"/>
                  </a:cubicBezTo>
                  <a:cubicBezTo>
                    <a:pt x="8" y="203"/>
                    <a:pt x="8" y="198"/>
                    <a:pt x="9" y="193"/>
                  </a:cubicBezTo>
                  <a:cubicBezTo>
                    <a:pt x="1" y="192"/>
                    <a:pt x="1" y="192"/>
                    <a:pt x="1" y="192"/>
                  </a:cubicBezTo>
                  <a:cubicBezTo>
                    <a:pt x="1" y="192"/>
                    <a:pt x="1" y="192"/>
                    <a:pt x="1" y="192"/>
                  </a:cubicBezTo>
                  <a:moveTo>
                    <a:pt x="5" y="169"/>
                  </a:moveTo>
                  <a:cubicBezTo>
                    <a:pt x="4" y="174"/>
                    <a:pt x="3" y="179"/>
                    <a:pt x="2" y="184"/>
                  </a:cubicBezTo>
                  <a:cubicBezTo>
                    <a:pt x="10" y="186"/>
                    <a:pt x="10" y="186"/>
                    <a:pt x="10" y="186"/>
                  </a:cubicBezTo>
                  <a:cubicBezTo>
                    <a:pt x="11" y="181"/>
                    <a:pt x="11" y="176"/>
                    <a:pt x="13" y="171"/>
                  </a:cubicBezTo>
                  <a:cubicBezTo>
                    <a:pt x="5" y="169"/>
                    <a:pt x="5" y="169"/>
                    <a:pt x="5" y="169"/>
                  </a:cubicBezTo>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Oval 49"/>
            <p:cNvSpPr>
              <a:spLocks noChangeArrowheads="1"/>
            </p:cNvSpPr>
            <p:nvPr/>
          </p:nvSpPr>
          <p:spPr bwMode="auto">
            <a:xfrm>
              <a:off x="5189538" y="2582863"/>
              <a:ext cx="209550" cy="21113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close/>
                </a:path>
              </a:pathLst>
            </a:cu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5189538" y="2582863"/>
              <a:ext cx="127000" cy="211138"/>
            </a:xfrm>
            <a:custGeom>
              <a:avLst/>
              <a:gdLst>
                <a:gd name="T0" fmla="*/ 28 w 34"/>
                <a:gd name="T1" fmla="*/ 0 h 56"/>
                <a:gd name="T2" fmla="*/ 28 w 34"/>
                <a:gd name="T3" fmla="*/ 0 h 56"/>
                <a:gd name="T4" fmla="*/ 0 w 34"/>
                <a:gd name="T5" fmla="*/ 28 h 56"/>
                <a:gd name="T6" fmla="*/ 27 w 34"/>
                <a:gd name="T7" fmla="*/ 56 h 56"/>
                <a:gd name="T8" fmla="*/ 34 w 34"/>
                <a:gd name="T9" fmla="*/ 1 h 56"/>
                <a:gd name="T10" fmla="*/ 28 w 34"/>
                <a:gd name="T11" fmla="*/ 0 h 56"/>
                <a:gd name="T12" fmla="*/ 28 w 34"/>
                <a:gd name="T13" fmla="*/ 0 h 56"/>
                <a:gd name="T14" fmla="*/ 28 w 34"/>
                <a:gd name="T15" fmla="*/ 0 h 56"/>
                <a:gd name="T16" fmla="*/ 28 w 34"/>
                <a:gd name="T1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6">
                  <a:moveTo>
                    <a:pt x="28" y="0"/>
                  </a:moveTo>
                  <a:cubicBezTo>
                    <a:pt x="28" y="0"/>
                    <a:pt x="28" y="0"/>
                    <a:pt x="28" y="0"/>
                  </a:cubicBezTo>
                  <a:cubicBezTo>
                    <a:pt x="12" y="0"/>
                    <a:pt x="0" y="13"/>
                    <a:pt x="0" y="28"/>
                  </a:cubicBezTo>
                  <a:cubicBezTo>
                    <a:pt x="0" y="43"/>
                    <a:pt x="12" y="56"/>
                    <a:pt x="27" y="56"/>
                  </a:cubicBezTo>
                  <a:cubicBezTo>
                    <a:pt x="34" y="1"/>
                    <a:pt x="34" y="1"/>
                    <a:pt x="34" y="1"/>
                  </a:cubicBezTo>
                  <a:cubicBezTo>
                    <a:pt x="32" y="0"/>
                    <a:pt x="30" y="0"/>
                    <a:pt x="28" y="0"/>
                  </a:cubicBezTo>
                  <a:cubicBezTo>
                    <a:pt x="28" y="0"/>
                    <a:pt x="28" y="0"/>
                    <a:pt x="28" y="0"/>
                  </a:cubicBezTo>
                  <a:cubicBezTo>
                    <a:pt x="28" y="0"/>
                    <a:pt x="28" y="0"/>
                    <a:pt x="28" y="0"/>
                  </a:cubicBezTo>
                  <a:cubicBezTo>
                    <a:pt x="28" y="0"/>
                    <a:pt x="28" y="0"/>
                    <a:pt x="28" y="0"/>
                  </a:cubicBezTo>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close/>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5294313" y="3405188"/>
              <a:ext cx="176213" cy="398463"/>
            </a:xfrm>
            <a:custGeom>
              <a:avLst/>
              <a:gdLst>
                <a:gd name="T0" fmla="*/ 0 w 47"/>
                <a:gd name="T1" fmla="*/ 106 h 106"/>
                <a:gd name="T2" fmla="*/ 1 w 47"/>
                <a:gd name="T3" fmla="*/ 106 h 106"/>
                <a:gd name="T4" fmla="*/ 47 w 47"/>
                <a:gd name="T5" fmla="*/ 89 h 106"/>
                <a:gd name="T6" fmla="*/ 47 w 47"/>
                <a:gd name="T7" fmla="*/ 0 h 106"/>
                <a:gd name="T8" fmla="*/ 0 w 47"/>
                <a:gd name="T9" fmla="*/ 0 h 106"/>
                <a:gd name="T10" fmla="*/ 0 w 47"/>
                <a:gd name="T11" fmla="*/ 106 h 106"/>
              </a:gdLst>
              <a:ahLst/>
              <a:cxnLst>
                <a:cxn ang="0">
                  <a:pos x="T0" y="T1"/>
                </a:cxn>
                <a:cxn ang="0">
                  <a:pos x="T2" y="T3"/>
                </a:cxn>
                <a:cxn ang="0">
                  <a:pos x="T4" y="T5"/>
                </a:cxn>
                <a:cxn ang="0">
                  <a:pos x="T6" y="T7"/>
                </a:cxn>
                <a:cxn ang="0">
                  <a:pos x="T8" y="T9"/>
                </a:cxn>
                <a:cxn ang="0">
                  <a:pos x="T10" y="T11"/>
                </a:cxn>
              </a:cxnLst>
              <a:rect l="0" t="0" r="r" b="b"/>
              <a:pathLst>
                <a:path w="47" h="106">
                  <a:moveTo>
                    <a:pt x="0" y="106"/>
                  </a:moveTo>
                  <a:cubicBezTo>
                    <a:pt x="1" y="106"/>
                    <a:pt x="1" y="106"/>
                    <a:pt x="1" y="106"/>
                  </a:cubicBezTo>
                  <a:cubicBezTo>
                    <a:pt x="26" y="106"/>
                    <a:pt x="47" y="98"/>
                    <a:pt x="47" y="89"/>
                  </a:cubicBezTo>
                  <a:cubicBezTo>
                    <a:pt x="47" y="0"/>
                    <a:pt x="47" y="0"/>
                    <a:pt x="47" y="0"/>
                  </a:cubicBezTo>
                  <a:cubicBezTo>
                    <a:pt x="0" y="0"/>
                    <a:pt x="0" y="0"/>
                    <a:pt x="0" y="0"/>
                  </a:cubicBezTo>
                  <a:lnTo>
                    <a:pt x="0" y="106"/>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Freeform 58"/>
            <p:cNvSpPr>
              <a:spLocks/>
            </p:cNvSpPr>
            <p:nvPr/>
          </p:nvSpPr>
          <p:spPr bwMode="auto">
            <a:xfrm>
              <a:off x="5121275" y="3400426"/>
              <a:ext cx="176213" cy="403225"/>
            </a:xfrm>
            <a:custGeom>
              <a:avLst/>
              <a:gdLst>
                <a:gd name="T0" fmla="*/ 0 w 47"/>
                <a:gd name="T1" fmla="*/ 0 h 107"/>
                <a:gd name="T2" fmla="*/ 0 w 47"/>
                <a:gd name="T3" fmla="*/ 90 h 107"/>
                <a:gd name="T4" fmla="*/ 47 w 47"/>
                <a:gd name="T5" fmla="*/ 107 h 107"/>
                <a:gd name="T6" fmla="*/ 47 w 47"/>
                <a:gd name="T7" fmla="*/ 0 h 107"/>
                <a:gd name="T8" fmla="*/ 0 w 47"/>
                <a:gd name="T9" fmla="*/ 0 h 107"/>
              </a:gdLst>
              <a:ahLst/>
              <a:cxnLst>
                <a:cxn ang="0">
                  <a:pos x="T0" y="T1"/>
                </a:cxn>
                <a:cxn ang="0">
                  <a:pos x="T2" y="T3"/>
                </a:cxn>
                <a:cxn ang="0">
                  <a:pos x="T4" y="T5"/>
                </a:cxn>
                <a:cxn ang="0">
                  <a:pos x="T6" y="T7"/>
                </a:cxn>
                <a:cxn ang="0">
                  <a:pos x="T8" y="T9"/>
                </a:cxn>
              </a:cxnLst>
              <a:rect l="0" t="0" r="r" b="b"/>
              <a:pathLst>
                <a:path w="47" h="107">
                  <a:moveTo>
                    <a:pt x="0" y="0"/>
                  </a:moveTo>
                  <a:cubicBezTo>
                    <a:pt x="0" y="90"/>
                    <a:pt x="0" y="90"/>
                    <a:pt x="0" y="90"/>
                  </a:cubicBezTo>
                  <a:cubicBezTo>
                    <a:pt x="0" y="99"/>
                    <a:pt x="21" y="107"/>
                    <a:pt x="47" y="107"/>
                  </a:cubicBezTo>
                  <a:cubicBezTo>
                    <a:pt x="47" y="0"/>
                    <a:pt x="47" y="0"/>
                    <a:pt x="47" y="0"/>
                  </a:cubicBezTo>
                  <a:lnTo>
                    <a:pt x="0" y="0"/>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Oval 59"/>
            <p:cNvSpPr>
              <a:spLocks noChangeArrowheads="1"/>
            </p:cNvSpPr>
            <p:nvPr/>
          </p:nvSpPr>
          <p:spPr bwMode="auto">
            <a:xfrm>
              <a:off x="5121275" y="3340101"/>
              <a:ext cx="349250" cy="125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Oval 60"/>
            <p:cNvSpPr>
              <a:spLocks noChangeArrowheads="1"/>
            </p:cNvSpPr>
            <p:nvPr/>
          </p:nvSpPr>
          <p:spPr bwMode="auto">
            <a:xfrm>
              <a:off x="5159375" y="3355976"/>
              <a:ext cx="274638" cy="8255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5159375" y="3355976"/>
              <a:ext cx="274638" cy="66675"/>
            </a:xfrm>
            <a:custGeom>
              <a:avLst/>
              <a:gdLst>
                <a:gd name="T0" fmla="*/ 66 w 73"/>
                <a:gd name="T1" fmla="*/ 18 h 18"/>
                <a:gd name="T2" fmla="*/ 73 w 73"/>
                <a:gd name="T3" fmla="*/ 11 h 18"/>
                <a:gd name="T4" fmla="*/ 37 w 73"/>
                <a:gd name="T5" fmla="*/ 0 h 18"/>
                <a:gd name="T6" fmla="*/ 0 w 73"/>
                <a:gd name="T7" fmla="*/ 11 h 18"/>
                <a:gd name="T8" fmla="*/ 8 w 73"/>
                <a:gd name="T9" fmla="*/ 18 h 18"/>
                <a:gd name="T10" fmla="*/ 37 w 73"/>
                <a:gd name="T11" fmla="*/ 14 h 18"/>
                <a:gd name="T12" fmla="*/ 66 w 73"/>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73" h="18">
                  <a:moveTo>
                    <a:pt x="66" y="18"/>
                  </a:moveTo>
                  <a:cubicBezTo>
                    <a:pt x="71" y="16"/>
                    <a:pt x="73" y="14"/>
                    <a:pt x="73" y="11"/>
                  </a:cubicBezTo>
                  <a:cubicBezTo>
                    <a:pt x="73" y="5"/>
                    <a:pt x="57" y="0"/>
                    <a:pt x="37" y="0"/>
                  </a:cubicBezTo>
                  <a:cubicBezTo>
                    <a:pt x="17" y="0"/>
                    <a:pt x="0" y="5"/>
                    <a:pt x="0" y="11"/>
                  </a:cubicBezTo>
                  <a:cubicBezTo>
                    <a:pt x="0" y="14"/>
                    <a:pt x="3" y="16"/>
                    <a:pt x="8" y="18"/>
                  </a:cubicBezTo>
                  <a:cubicBezTo>
                    <a:pt x="15" y="16"/>
                    <a:pt x="25" y="14"/>
                    <a:pt x="37" y="14"/>
                  </a:cubicBezTo>
                  <a:cubicBezTo>
                    <a:pt x="49" y="14"/>
                    <a:pt x="59" y="16"/>
                    <a:pt x="66" y="18"/>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noEditPoints="1"/>
            </p:cNvSpPr>
            <p:nvPr/>
          </p:nvSpPr>
          <p:spPr bwMode="auto">
            <a:xfrm>
              <a:off x="6086475" y="2868613"/>
              <a:ext cx="1111250" cy="792163"/>
            </a:xfrm>
            <a:custGeom>
              <a:avLst/>
              <a:gdLst>
                <a:gd name="T0" fmla="*/ 242 w 296"/>
                <a:gd name="T1" fmla="*/ 210 h 210"/>
                <a:gd name="T2" fmla="*/ 249 w 296"/>
                <a:gd name="T3" fmla="*/ 209 h 210"/>
                <a:gd name="T4" fmla="*/ 268 w 296"/>
                <a:gd name="T5" fmla="*/ 194 h 210"/>
                <a:gd name="T6" fmla="*/ 287 w 296"/>
                <a:gd name="T7" fmla="*/ 164 h 210"/>
                <a:gd name="T8" fmla="*/ 287 w 296"/>
                <a:gd name="T9" fmla="*/ 164 h 210"/>
                <a:gd name="T10" fmla="*/ 296 w 296"/>
                <a:gd name="T11" fmla="*/ 157 h 210"/>
                <a:gd name="T12" fmla="*/ 288 w 296"/>
                <a:gd name="T13" fmla="*/ 118 h 210"/>
                <a:gd name="T14" fmla="*/ 288 w 296"/>
                <a:gd name="T15" fmla="*/ 118 h 210"/>
                <a:gd name="T16" fmla="*/ 296 w 296"/>
                <a:gd name="T17" fmla="*/ 94 h 210"/>
                <a:gd name="T18" fmla="*/ 296 w 296"/>
                <a:gd name="T19" fmla="*/ 86 h 210"/>
                <a:gd name="T20" fmla="*/ 288 w 296"/>
                <a:gd name="T21" fmla="*/ 54 h 210"/>
                <a:gd name="T22" fmla="*/ 295 w 296"/>
                <a:gd name="T23" fmla="*/ 46 h 210"/>
                <a:gd name="T24" fmla="*/ 293 w 296"/>
                <a:gd name="T25" fmla="*/ 38 h 210"/>
                <a:gd name="T26" fmla="*/ 275 w 296"/>
                <a:gd name="T27" fmla="*/ 22 h 210"/>
                <a:gd name="T28" fmla="*/ 242 w 296"/>
                <a:gd name="T29" fmla="*/ 8 h 210"/>
                <a:gd name="T30" fmla="*/ 242 w 296"/>
                <a:gd name="T31" fmla="*/ 8 h 210"/>
                <a:gd name="T32" fmla="*/ 219 w 296"/>
                <a:gd name="T33" fmla="*/ 0 h 210"/>
                <a:gd name="T34" fmla="*/ 211 w 296"/>
                <a:gd name="T35" fmla="*/ 0 h 210"/>
                <a:gd name="T36" fmla="*/ 187 w 296"/>
                <a:gd name="T37" fmla="*/ 8 h 210"/>
                <a:gd name="T38" fmla="*/ 148 w 296"/>
                <a:gd name="T39" fmla="*/ 8 h 210"/>
                <a:gd name="T40" fmla="*/ 148 w 296"/>
                <a:gd name="T41" fmla="*/ 8 h 210"/>
                <a:gd name="T42" fmla="*/ 124 w 296"/>
                <a:gd name="T43" fmla="*/ 0 h 210"/>
                <a:gd name="T44" fmla="*/ 117 w 296"/>
                <a:gd name="T45" fmla="*/ 0 h 210"/>
                <a:gd name="T46" fmla="*/ 93 w 296"/>
                <a:gd name="T47" fmla="*/ 8 h 210"/>
                <a:gd name="T48" fmla="*/ 54 w 296"/>
                <a:gd name="T49" fmla="*/ 8 h 210"/>
                <a:gd name="T50" fmla="*/ 54 w 296"/>
                <a:gd name="T51" fmla="*/ 8 h 210"/>
                <a:gd name="T52" fmla="*/ 29 w 296"/>
                <a:gd name="T53" fmla="*/ 6 h 210"/>
                <a:gd name="T54" fmla="*/ 22 w 296"/>
                <a:gd name="T55" fmla="*/ 10 h 210"/>
                <a:gd name="T56" fmla="*/ 13 w 296"/>
                <a:gd name="T57" fmla="*/ 33 h 210"/>
                <a:gd name="T58" fmla="*/ 8 w 296"/>
                <a:gd name="T59" fmla="*/ 70 h 210"/>
                <a:gd name="T60" fmla="*/ 0 w 296"/>
                <a:gd name="T61" fmla="*/ 54 h 210"/>
                <a:gd name="T62" fmla="*/ 8 w 296"/>
                <a:gd name="T63" fmla="*/ 78 h 210"/>
                <a:gd name="T64" fmla="*/ 8 w 296"/>
                <a:gd name="T65" fmla="*/ 117 h 210"/>
                <a:gd name="T66" fmla="*/ 8 w 296"/>
                <a:gd name="T67" fmla="*/ 117 h 210"/>
                <a:gd name="T68" fmla="*/ 0 w 296"/>
                <a:gd name="T69" fmla="*/ 140 h 210"/>
                <a:gd name="T70" fmla="*/ 8 w 296"/>
                <a:gd name="T71" fmla="*/ 148 h 210"/>
                <a:gd name="T72" fmla="*/ 8 w 296"/>
                <a:gd name="T73" fmla="*/ 163 h 210"/>
                <a:gd name="T74" fmla="*/ 10 w 296"/>
                <a:gd name="T75" fmla="*/ 188 h 210"/>
                <a:gd name="T76" fmla="*/ 15 w 296"/>
                <a:gd name="T77" fmla="*/ 194 h 210"/>
                <a:gd name="T78" fmla="*/ 53 w 296"/>
                <a:gd name="T79" fmla="*/ 202 h 210"/>
                <a:gd name="T80" fmla="*/ 53 w 296"/>
                <a:gd name="T81" fmla="*/ 210 h 210"/>
                <a:gd name="T82" fmla="*/ 61 w 296"/>
                <a:gd name="T83" fmla="*/ 210 h 210"/>
                <a:gd name="T84" fmla="*/ 85 w 296"/>
                <a:gd name="T85" fmla="*/ 202 h 210"/>
                <a:gd name="T86" fmla="*/ 124 w 296"/>
                <a:gd name="T87" fmla="*/ 202 h 210"/>
                <a:gd name="T88" fmla="*/ 124 w 296"/>
                <a:gd name="T89" fmla="*/ 202 h 210"/>
                <a:gd name="T90" fmla="*/ 148 w 296"/>
                <a:gd name="T91" fmla="*/ 210 h 210"/>
                <a:gd name="T92" fmla="*/ 156 w 296"/>
                <a:gd name="T93" fmla="*/ 210 h 210"/>
                <a:gd name="T94" fmla="*/ 179 w 296"/>
                <a:gd name="T95" fmla="*/ 202 h 210"/>
                <a:gd name="T96" fmla="*/ 218 w 296"/>
                <a:gd name="T97" fmla="*/ 202 h 210"/>
                <a:gd name="T98" fmla="*/ 218 w 296"/>
                <a:gd name="T99"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6" h="210">
                  <a:moveTo>
                    <a:pt x="242" y="202"/>
                  </a:moveTo>
                  <a:cubicBezTo>
                    <a:pt x="226" y="202"/>
                    <a:pt x="226" y="202"/>
                    <a:pt x="226" y="202"/>
                  </a:cubicBezTo>
                  <a:cubicBezTo>
                    <a:pt x="226" y="210"/>
                    <a:pt x="226" y="210"/>
                    <a:pt x="226" y="210"/>
                  </a:cubicBezTo>
                  <a:cubicBezTo>
                    <a:pt x="242" y="210"/>
                    <a:pt x="242" y="210"/>
                    <a:pt x="242" y="210"/>
                  </a:cubicBezTo>
                  <a:lnTo>
                    <a:pt x="242" y="202"/>
                  </a:lnTo>
                  <a:close/>
                  <a:moveTo>
                    <a:pt x="262" y="197"/>
                  </a:moveTo>
                  <a:cubicBezTo>
                    <a:pt x="258" y="199"/>
                    <a:pt x="253" y="201"/>
                    <a:pt x="248" y="202"/>
                  </a:cubicBezTo>
                  <a:cubicBezTo>
                    <a:pt x="249" y="209"/>
                    <a:pt x="249" y="209"/>
                    <a:pt x="249" y="209"/>
                  </a:cubicBezTo>
                  <a:cubicBezTo>
                    <a:pt x="255" y="209"/>
                    <a:pt x="260" y="207"/>
                    <a:pt x="265" y="205"/>
                  </a:cubicBezTo>
                  <a:cubicBezTo>
                    <a:pt x="262" y="197"/>
                    <a:pt x="262" y="197"/>
                    <a:pt x="262" y="197"/>
                  </a:cubicBezTo>
                  <a:close/>
                  <a:moveTo>
                    <a:pt x="278" y="184"/>
                  </a:moveTo>
                  <a:cubicBezTo>
                    <a:pt x="276" y="188"/>
                    <a:pt x="272" y="191"/>
                    <a:pt x="268" y="194"/>
                  </a:cubicBezTo>
                  <a:cubicBezTo>
                    <a:pt x="273" y="200"/>
                    <a:pt x="273" y="200"/>
                    <a:pt x="273" y="200"/>
                  </a:cubicBezTo>
                  <a:cubicBezTo>
                    <a:pt x="277" y="197"/>
                    <a:pt x="281" y="193"/>
                    <a:pt x="285" y="189"/>
                  </a:cubicBezTo>
                  <a:cubicBezTo>
                    <a:pt x="278" y="184"/>
                    <a:pt x="278" y="184"/>
                    <a:pt x="278" y="184"/>
                  </a:cubicBezTo>
                  <a:close/>
                  <a:moveTo>
                    <a:pt x="287" y="164"/>
                  </a:moveTo>
                  <a:cubicBezTo>
                    <a:pt x="286" y="169"/>
                    <a:pt x="285" y="173"/>
                    <a:pt x="282" y="178"/>
                  </a:cubicBezTo>
                  <a:cubicBezTo>
                    <a:pt x="289" y="181"/>
                    <a:pt x="289" y="181"/>
                    <a:pt x="289" y="181"/>
                  </a:cubicBezTo>
                  <a:cubicBezTo>
                    <a:pt x="292" y="176"/>
                    <a:pt x="294" y="171"/>
                    <a:pt x="295" y="165"/>
                  </a:cubicBezTo>
                  <a:cubicBezTo>
                    <a:pt x="287" y="164"/>
                    <a:pt x="287" y="164"/>
                    <a:pt x="287" y="164"/>
                  </a:cubicBezTo>
                  <a:close/>
                  <a:moveTo>
                    <a:pt x="288" y="141"/>
                  </a:moveTo>
                  <a:cubicBezTo>
                    <a:pt x="288" y="156"/>
                    <a:pt x="288" y="156"/>
                    <a:pt x="288" y="156"/>
                  </a:cubicBezTo>
                  <a:cubicBezTo>
                    <a:pt x="288" y="157"/>
                    <a:pt x="288" y="157"/>
                    <a:pt x="288" y="157"/>
                  </a:cubicBezTo>
                  <a:cubicBezTo>
                    <a:pt x="296" y="157"/>
                    <a:pt x="296" y="157"/>
                    <a:pt x="296" y="157"/>
                  </a:cubicBezTo>
                  <a:cubicBezTo>
                    <a:pt x="296" y="156"/>
                    <a:pt x="296" y="156"/>
                    <a:pt x="296" y="156"/>
                  </a:cubicBezTo>
                  <a:cubicBezTo>
                    <a:pt x="296" y="141"/>
                    <a:pt x="296" y="141"/>
                    <a:pt x="296" y="141"/>
                  </a:cubicBezTo>
                  <a:cubicBezTo>
                    <a:pt x="288" y="141"/>
                    <a:pt x="288" y="141"/>
                    <a:pt x="288" y="141"/>
                  </a:cubicBezTo>
                  <a:close/>
                  <a:moveTo>
                    <a:pt x="288" y="118"/>
                  </a:moveTo>
                  <a:cubicBezTo>
                    <a:pt x="288" y="133"/>
                    <a:pt x="288" y="133"/>
                    <a:pt x="288" y="133"/>
                  </a:cubicBezTo>
                  <a:cubicBezTo>
                    <a:pt x="296" y="133"/>
                    <a:pt x="296" y="133"/>
                    <a:pt x="296" y="133"/>
                  </a:cubicBezTo>
                  <a:cubicBezTo>
                    <a:pt x="296" y="118"/>
                    <a:pt x="296" y="118"/>
                    <a:pt x="296" y="118"/>
                  </a:cubicBezTo>
                  <a:lnTo>
                    <a:pt x="288" y="118"/>
                  </a:lnTo>
                  <a:close/>
                  <a:moveTo>
                    <a:pt x="288" y="94"/>
                  </a:moveTo>
                  <a:cubicBezTo>
                    <a:pt x="288" y="110"/>
                    <a:pt x="288" y="110"/>
                    <a:pt x="288" y="110"/>
                  </a:cubicBezTo>
                  <a:cubicBezTo>
                    <a:pt x="296" y="110"/>
                    <a:pt x="296" y="110"/>
                    <a:pt x="296" y="110"/>
                  </a:cubicBezTo>
                  <a:cubicBezTo>
                    <a:pt x="296" y="94"/>
                    <a:pt x="296" y="94"/>
                    <a:pt x="296" y="94"/>
                  </a:cubicBezTo>
                  <a:lnTo>
                    <a:pt x="288" y="94"/>
                  </a:lnTo>
                  <a:close/>
                  <a:moveTo>
                    <a:pt x="288" y="71"/>
                  </a:moveTo>
                  <a:cubicBezTo>
                    <a:pt x="288" y="86"/>
                    <a:pt x="288" y="86"/>
                    <a:pt x="288" y="86"/>
                  </a:cubicBezTo>
                  <a:cubicBezTo>
                    <a:pt x="296" y="86"/>
                    <a:pt x="296" y="86"/>
                    <a:pt x="296" y="86"/>
                  </a:cubicBezTo>
                  <a:cubicBezTo>
                    <a:pt x="296" y="71"/>
                    <a:pt x="296" y="71"/>
                    <a:pt x="296" y="71"/>
                  </a:cubicBezTo>
                  <a:lnTo>
                    <a:pt x="288" y="71"/>
                  </a:lnTo>
                  <a:close/>
                  <a:moveTo>
                    <a:pt x="287" y="48"/>
                  </a:moveTo>
                  <a:cubicBezTo>
                    <a:pt x="287" y="50"/>
                    <a:pt x="288" y="52"/>
                    <a:pt x="288" y="54"/>
                  </a:cubicBezTo>
                  <a:cubicBezTo>
                    <a:pt x="288" y="63"/>
                    <a:pt x="288" y="63"/>
                    <a:pt x="288" y="63"/>
                  </a:cubicBezTo>
                  <a:cubicBezTo>
                    <a:pt x="296" y="63"/>
                    <a:pt x="296" y="63"/>
                    <a:pt x="296" y="63"/>
                  </a:cubicBezTo>
                  <a:cubicBezTo>
                    <a:pt x="296" y="54"/>
                    <a:pt x="296" y="54"/>
                    <a:pt x="296" y="54"/>
                  </a:cubicBezTo>
                  <a:cubicBezTo>
                    <a:pt x="296" y="52"/>
                    <a:pt x="295" y="49"/>
                    <a:pt x="295" y="46"/>
                  </a:cubicBezTo>
                  <a:cubicBezTo>
                    <a:pt x="287" y="48"/>
                    <a:pt x="287" y="48"/>
                    <a:pt x="287" y="48"/>
                  </a:cubicBezTo>
                  <a:close/>
                  <a:moveTo>
                    <a:pt x="279" y="28"/>
                  </a:moveTo>
                  <a:cubicBezTo>
                    <a:pt x="282" y="32"/>
                    <a:pt x="284" y="36"/>
                    <a:pt x="286" y="41"/>
                  </a:cubicBezTo>
                  <a:cubicBezTo>
                    <a:pt x="293" y="38"/>
                    <a:pt x="293" y="38"/>
                    <a:pt x="293" y="38"/>
                  </a:cubicBezTo>
                  <a:cubicBezTo>
                    <a:pt x="291" y="33"/>
                    <a:pt x="289" y="28"/>
                    <a:pt x="286" y="23"/>
                  </a:cubicBezTo>
                  <a:cubicBezTo>
                    <a:pt x="279" y="28"/>
                    <a:pt x="279" y="28"/>
                    <a:pt x="279" y="28"/>
                  </a:cubicBezTo>
                  <a:close/>
                  <a:moveTo>
                    <a:pt x="263" y="14"/>
                  </a:moveTo>
                  <a:cubicBezTo>
                    <a:pt x="267" y="16"/>
                    <a:pt x="271" y="19"/>
                    <a:pt x="275" y="22"/>
                  </a:cubicBezTo>
                  <a:cubicBezTo>
                    <a:pt x="280" y="17"/>
                    <a:pt x="280" y="17"/>
                    <a:pt x="280" y="17"/>
                  </a:cubicBezTo>
                  <a:cubicBezTo>
                    <a:pt x="276" y="13"/>
                    <a:pt x="272" y="9"/>
                    <a:pt x="267" y="6"/>
                  </a:cubicBezTo>
                  <a:cubicBezTo>
                    <a:pt x="263" y="14"/>
                    <a:pt x="263" y="14"/>
                    <a:pt x="263" y="14"/>
                  </a:cubicBezTo>
                  <a:close/>
                  <a:moveTo>
                    <a:pt x="242" y="8"/>
                  </a:moveTo>
                  <a:cubicBezTo>
                    <a:pt x="247" y="8"/>
                    <a:pt x="252" y="9"/>
                    <a:pt x="256" y="11"/>
                  </a:cubicBezTo>
                  <a:cubicBezTo>
                    <a:pt x="259" y="3"/>
                    <a:pt x="259" y="3"/>
                    <a:pt x="259" y="3"/>
                  </a:cubicBezTo>
                  <a:cubicBezTo>
                    <a:pt x="254" y="1"/>
                    <a:pt x="248" y="0"/>
                    <a:pt x="242" y="0"/>
                  </a:cubicBezTo>
                  <a:cubicBezTo>
                    <a:pt x="242" y="8"/>
                    <a:pt x="242" y="8"/>
                    <a:pt x="242" y="8"/>
                  </a:cubicBezTo>
                  <a:close/>
                  <a:moveTo>
                    <a:pt x="219" y="8"/>
                  </a:moveTo>
                  <a:cubicBezTo>
                    <a:pt x="234" y="8"/>
                    <a:pt x="234" y="8"/>
                    <a:pt x="234" y="8"/>
                  </a:cubicBezTo>
                  <a:cubicBezTo>
                    <a:pt x="234" y="0"/>
                    <a:pt x="234" y="0"/>
                    <a:pt x="234" y="0"/>
                  </a:cubicBezTo>
                  <a:cubicBezTo>
                    <a:pt x="219" y="0"/>
                    <a:pt x="219" y="0"/>
                    <a:pt x="219" y="0"/>
                  </a:cubicBezTo>
                  <a:lnTo>
                    <a:pt x="219" y="8"/>
                  </a:lnTo>
                  <a:close/>
                  <a:moveTo>
                    <a:pt x="195" y="8"/>
                  </a:moveTo>
                  <a:cubicBezTo>
                    <a:pt x="211" y="8"/>
                    <a:pt x="211" y="8"/>
                    <a:pt x="211" y="8"/>
                  </a:cubicBezTo>
                  <a:cubicBezTo>
                    <a:pt x="211" y="0"/>
                    <a:pt x="211" y="0"/>
                    <a:pt x="211" y="0"/>
                  </a:cubicBezTo>
                  <a:cubicBezTo>
                    <a:pt x="195" y="0"/>
                    <a:pt x="195" y="0"/>
                    <a:pt x="195" y="0"/>
                  </a:cubicBezTo>
                  <a:lnTo>
                    <a:pt x="195" y="8"/>
                  </a:lnTo>
                  <a:close/>
                  <a:moveTo>
                    <a:pt x="172" y="8"/>
                  </a:moveTo>
                  <a:cubicBezTo>
                    <a:pt x="187" y="8"/>
                    <a:pt x="187" y="8"/>
                    <a:pt x="187" y="8"/>
                  </a:cubicBezTo>
                  <a:cubicBezTo>
                    <a:pt x="187" y="0"/>
                    <a:pt x="187" y="0"/>
                    <a:pt x="187" y="0"/>
                  </a:cubicBezTo>
                  <a:cubicBezTo>
                    <a:pt x="172" y="0"/>
                    <a:pt x="172" y="0"/>
                    <a:pt x="172" y="0"/>
                  </a:cubicBezTo>
                  <a:lnTo>
                    <a:pt x="172" y="8"/>
                  </a:lnTo>
                  <a:close/>
                  <a:moveTo>
                    <a:pt x="148" y="8"/>
                  </a:moveTo>
                  <a:cubicBezTo>
                    <a:pt x="164" y="8"/>
                    <a:pt x="164" y="8"/>
                    <a:pt x="164" y="8"/>
                  </a:cubicBezTo>
                  <a:cubicBezTo>
                    <a:pt x="164" y="0"/>
                    <a:pt x="164" y="0"/>
                    <a:pt x="164" y="0"/>
                  </a:cubicBezTo>
                  <a:cubicBezTo>
                    <a:pt x="148" y="0"/>
                    <a:pt x="148" y="0"/>
                    <a:pt x="148" y="0"/>
                  </a:cubicBezTo>
                  <a:lnTo>
                    <a:pt x="148" y="8"/>
                  </a:lnTo>
                  <a:close/>
                  <a:moveTo>
                    <a:pt x="124" y="8"/>
                  </a:moveTo>
                  <a:cubicBezTo>
                    <a:pt x="140" y="8"/>
                    <a:pt x="140" y="8"/>
                    <a:pt x="140" y="8"/>
                  </a:cubicBezTo>
                  <a:cubicBezTo>
                    <a:pt x="140" y="0"/>
                    <a:pt x="140" y="0"/>
                    <a:pt x="140" y="0"/>
                  </a:cubicBezTo>
                  <a:cubicBezTo>
                    <a:pt x="124" y="0"/>
                    <a:pt x="124" y="0"/>
                    <a:pt x="124" y="0"/>
                  </a:cubicBezTo>
                  <a:lnTo>
                    <a:pt x="124" y="8"/>
                  </a:lnTo>
                  <a:close/>
                  <a:moveTo>
                    <a:pt x="101" y="8"/>
                  </a:moveTo>
                  <a:cubicBezTo>
                    <a:pt x="117" y="8"/>
                    <a:pt x="117" y="8"/>
                    <a:pt x="117" y="8"/>
                  </a:cubicBezTo>
                  <a:cubicBezTo>
                    <a:pt x="117" y="0"/>
                    <a:pt x="117" y="0"/>
                    <a:pt x="117" y="0"/>
                  </a:cubicBezTo>
                  <a:cubicBezTo>
                    <a:pt x="101" y="0"/>
                    <a:pt x="101" y="0"/>
                    <a:pt x="101" y="0"/>
                  </a:cubicBezTo>
                  <a:lnTo>
                    <a:pt x="101" y="8"/>
                  </a:lnTo>
                  <a:close/>
                  <a:moveTo>
                    <a:pt x="77" y="8"/>
                  </a:moveTo>
                  <a:cubicBezTo>
                    <a:pt x="93" y="8"/>
                    <a:pt x="93" y="8"/>
                    <a:pt x="93" y="8"/>
                  </a:cubicBezTo>
                  <a:cubicBezTo>
                    <a:pt x="93" y="0"/>
                    <a:pt x="93" y="0"/>
                    <a:pt x="93" y="0"/>
                  </a:cubicBezTo>
                  <a:cubicBezTo>
                    <a:pt x="77" y="0"/>
                    <a:pt x="77" y="0"/>
                    <a:pt x="77" y="0"/>
                  </a:cubicBezTo>
                  <a:lnTo>
                    <a:pt x="77" y="8"/>
                  </a:lnTo>
                  <a:close/>
                  <a:moveTo>
                    <a:pt x="54" y="8"/>
                  </a:moveTo>
                  <a:cubicBezTo>
                    <a:pt x="69" y="8"/>
                    <a:pt x="69" y="8"/>
                    <a:pt x="69" y="8"/>
                  </a:cubicBezTo>
                  <a:cubicBezTo>
                    <a:pt x="69" y="0"/>
                    <a:pt x="69" y="0"/>
                    <a:pt x="69" y="0"/>
                  </a:cubicBezTo>
                  <a:cubicBezTo>
                    <a:pt x="54" y="0"/>
                    <a:pt x="54" y="0"/>
                    <a:pt x="54" y="0"/>
                  </a:cubicBezTo>
                  <a:lnTo>
                    <a:pt x="54" y="8"/>
                  </a:lnTo>
                  <a:close/>
                  <a:moveTo>
                    <a:pt x="33" y="13"/>
                  </a:moveTo>
                  <a:cubicBezTo>
                    <a:pt x="37" y="11"/>
                    <a:pt x="42" y="10"/>
                    <a:pt x="47" y="9"/>
                  </a:cubicBezTo>
                  <a:cubicBezTo>
                    <a:pt x="45" y="1"/>
                    <a:pt x="45" y="1"/>
                    <a:pt x="45" y="1"/>
                  </a:cubicBezTo>
                  <a:cubicBezTo>
                    <a:pt x="40" y="2"/>
                    <a:pt x="34" y="4"/>
                    <a:pt x="29" y="6"/>
                  </a:cubicBezTo>
                  <a:lnTo>
                    <a:pt x="33" y="13"/>
                  </a:lnTo>
                  <a:close/>
                  <a:moveTo>
                    <a:pt x="16" y="27"/>
                  </a:moveTo>
                  <a:cubicBezTo>
                    <a:pt x="19" y="23"/>
                    <a:pt x="23" y="20"/>
                    <a:pt x="27" y="17"/>
                  </a:cubicBezTo>
                  <a:cubicBezTo>
                    <a:pt x="22" y="10"/>
                    <a:pt x="22" y="10"/>
                    <a:pt x="22" y="10"/>
                  </a:cubicBezTo>
                  <a:cubicBezTo>
                    <a:pt x="17" y="14"/>
                    <a:pt x="13" y="18"/>
                    <a:pt x="10" y="22"/>
                  </a:cubicBezTo>
                  <a:lnTo>
                    <a:pt x="16" y="27"/>
                  </a:lnTo>
                  <a:close/>
                  <a:moveTo>
                    <a:pt x="8" y="47"/>
                  </a:moveTo>
                  <a:cubicBezTo>
                    <a:pt x="9" y="42"/>
                    <a:pt x="10" y="37"/>
                    <a:pt x="13" y="33"/>
                  </a:cubicBezTo>
                  <a:cubicBezTo>
                    <a:pt x="6" y="30"/>
                    <a:pt x="6" y="30"/>
                    <a:pt x="6" y="30"/>
                  </a:cubicBezTo>
                  <a:cubicBezTo>
                    <a:pt x="3" y="34"/>
                    <a:pt x="1" y="40"/>
                    <a:pt x="0" y="46"/>
                  </a:cubicBezTo>
                  <a:cubicBezTo>
                    <a:pt x="8" y="47"/>
                    <a:pt x="8" y="47"/>
                    <a:pt x="8" y="47"/>
                  </a:cubicBezTo>
                  <a:close/>
                  <a:moveTo>
                    <a:pt x="8" y="70"/>
                  </a:moveTo>
                  <a:cubicBezTo>
                    <a:pt x="8" y="54"/>
                    <a:pt x="8" y="54"/>
                    <a:pt x="8" y="54"/>
                  </a:cubicBezTo>
                  <a:cubicBezTo>
                    <a:pt x="8" y="54"/>
                    <a:pt x="8" y="54"/>
                    <a:pt x="8" y="54"/>
                  </a:cubicBezTo>
                  <a:cubicBezTo>
                    <a:pt x="0" y="54"/>
                    <a:pt x="0" y="54"/>
                    <a:pt x="0" y="54"/>
                  </a:cubicBezTo>
                  <a:cubicBezTo>
                    <a:pt x="0" y="54"/>
                    <a:pt x="0" y="54"/>
                    <a:pt x="0" y="54"/>
                  </a:cubicBezTo>
                  <a:cubicBezTo>
                    <a:pt x="0" y="70"/>
                    <a:pt x="0" y="70"/>
                    <a:pt x="0" y="70"/>
                  </a:cubicBezTo>
                  <a:cubicBezTo>
                    <a:pt x="8" y="70"/>
                    <a:pt x="8" y="70"/>
                    <a:pt x="8" y="70"/>
                  </a:cubicBezTo>
                  <a:close/>
                  <a:moveTo>
                    <a:pt x="8" y="93"/>
                  </a:moveTo>
                  <a:cubicBezTo>
                    <a:pt x="8" y="78"/>
                    <a:pt x="8" y="78"/>
                    <a:pt x="8" y="78"/>
                  </a:cubicBezTo>
                  <a:cubicBezTo>
                    <a:pt x="0" y="78"/>
                    <a:pt x="0" y="78"/>
                    <a:pt x="0" y="78"/>
                  </a:cubicBezTo>
                  <a:cubicBezTo>
                    <a:pt x="0" y="93"/>
                    <a:pt x="0" y="93"/>
                    <a:pt x="0" y="93"/>
                  </a:cubicBezTo>
                  <a:lnTo>
                    <a:pt x="8" y="93"/>
                  </a:lnTo>
                  <a:close/>
                  <a:moveTo>
                    <a:pt x="8" y="117"/>
                  </a:moveTo>
                  <a:cubicBezTo>
                    <a:pt x="8" y="101"/>
                    <a:pt x="8" y="101"/>
                    <a:pt x="8" y="101"/>
                  </a:cubicBezTo>
                  <a:cubicBezTo>
                    <a:pt x="0" y="101"/>
                    <a:pt x="0" y="101"/>
                    <a:pt x="0" y="101"/>
                  </a:cubicBezTo>
                  <a:cubicBezTo>
                    <a:pt x="0" y="117"/>
                    <a:pt x="0" y="117"/>
                    <a:pt x="0" y="117"/>
                  </a:cubicBezTo>
                  <a:lnTo>
                    <a:pt x="8" y="117"/>
                  </a:lnTo>
                  <a:close/>
                  <a:moveTo>
                    <a:pt x="8" y="140"/>
                  </a:moveTo>
                  <a:cubicBezTo>
                    <a:pt x="8" y="125"/>
                    <a:pt x="8" y="125"/>
                    <a:pt x="8" y="125"/>
                  </a:cubicBezTo>
                  <a:cubicBezTo>
                    <a:pt x="0" y="125"/>
                    <a:pt x="0" y="125"/>
                    <a:pt x="0" y="125"/>
                  </a:cubicBezTo>
                  <a:cubicBezTo>
                    <a:pt x="0" y="140"/>
                    <a:pt x="0" y="140"/>
                    <a:pt x="0" y="140"/>
                  </a:cubicBezTo>
                  <a:lnTo>
                    <a:pt x="8" y="140"/>
                  </a:lnTo>
                  <a:close/>
                  <a:moveTo>
                    <a:pt x="8" y="163"/>
                  </a:moveTo>
                  <a:cubicBezTo>
                    <a:pt x="8" y="161"/>
                    <a:pt x="8" y="159"/>
                    <a:pt x="8" y="156"/>
                  </a:cubicBezTo>
                  <a:cubicBezTo>
                    <a:pt x="8" y="148"/>
                    <a:pt x="8" y="148"/>
                    <a:pt x="8" y="148"/>
                  </a:cubicBezTo>
                  <a:cubicBezTo>
                    <a:pt x="0" y="148"/>
                    <a:pt x="0" y="148"/>
                    <a:pt x="0" y="148"/>
                  </a:cubicBezTo>
                  <a:cubicBezTo>
                    <a:pt x="0" y="156"/>
                    <a:pt x="0" y="156"/>
                    <a:pt x="0" y="156"/>
                  </a:cubicBezTo>
                  <a:cubicBezTo>
                    <a:pt x="0" y="159"/>
                    <a:pt x="0" y="162"/>
                    <a:pt x="0" y="164"/>
                  </a:cubicBezTo>
                  <a:cubicBezTo>
                    <a:pt x="8" y="163"/>
                    <a:pt x="8" y="163"/>
                    <a:pt x="8" y="163"/>
                  </a:cubicBezTo>
                  <a:close/>
                  <a:moveTo>
                    <a:pt x="16" y="183"/>
                  </a:moveTo>
                  <a:cubicBezTo>
                    <a:pt x="13" y="179"/>
                    <a:pt x="11" y="175"/>
                    <a:pt x="10" y="170"/>
                  </a:cubicBezTo>
                  <a:cubicBezTo>
                    <a:pt x="2" y="173"/>
                    <a:pt x="2" y="173"/>
                    <a:pt x="2" y="173"/>
                  </a:cubicBezTo>
                  <a:cubicBezTo>
                    <a:pt x="4" y="178"/>
                    <a:pt x="6" y="183"/>
                    <a:pt x="10" y="188"/>
                  </a:cubicBezTo>
                  <a:cubicBezTo>
                    <a:pt x="16" y="183"/>
                    <a:pt x="16" y="183"/>
                    <a:pt x="16" y="183"/>
                  </a:cubicBezTo>
                  <a:close/>
                  <a:moveTo>
                    <a:pt x="33" y="197"/>
                  </a:moveTo>
                  <a:cubicBezTo>
                    <a:pt x="28" y="195"/>
                    <a:pt x="24" y="192"/>
                    <a:pt x="21" y="189"/>
                  </a:cubicBezTo>
                  <a:cubicBezTo>
                    <a:pt x="15" y="194"/>
                    <a:pt x="15" y="194"/>
                    <a:pt x="15" y="194"/>
                  </a:cubicBezTo>
                  <a:cubicBezTo>
                    <a:pt x="19" y="198"/>
                    <a:pt x="24" y="202"/>
                    <a:pt x="29" y="204"/>
                  </a:cubicBezTo>
                  <a:cubicBezTo>
                    <a:pt x="33" y="197"/>
                    <a:pt x="33" y="197"/>
                    <a:pt x="33" y="197"/>
                  </a:cubicBezTo>
                  <a:close/>
                  <a:moveTo>
                    <a:pt x="53" y="202"/>
                  </a:moveTo>
                  <a:cubicBezTo>
                    <a:pt x="53" y="202"/>
                    <a:pt x="53" y="202"/>
                    <a:pt x="53" y="202"/>
                  </a:cubicBezTo>
                  <a:cubicBezTo>
                    <a:pt x="48" y="202"/>
                    <a:pt x="44" y="201"/>
                    <a:pt x="39" y="200"/>
                  </a:cubicBezTo>
                  <a:cubicBezTo>
                    <a:pt x="37" y="207"/>
                    <a:pt x="37" y="207"/>
                    <a:pt x="37" y="207"/>
                  </a:cubicBezTo>
                  <a:cubicBezTo>
                    <a:pt x="42" y="209"/>
                    <a:pt x="48" y="210"/>
                    <a:pt x="53" y="210"/>
                  </a:cubicBezTo>
                  <a:cubicBezTo>
                    <a:pt x="53" y="210"/>
                    <a:pt x="53" y="210"/>
                    <a:pt x="53" y="210"/>
                  </a:cubicBezTo>
                  <a:cubicBezTo>
                    <a:pt x="53" y="202"/>
                    <a:pt x="53" y="202"/>
                    <a:pt x="53" y="202"/>
                  </a:cubicBezTo>
                  <a:close/>
                  <a:moveTo>
                    <a:pt x="77" y="202"/>
                  </a:moveTo>
                  <a:cubicBezTo>
                    <a:pt x="61" y="202"/>
                    <a:pt x="61" y="202"/>
                    <a:pt x="61" y="202"/>
                  </a:cubicBezTo>
                  <a:cubicBezTo>
                    <a:pt x="61" y="210"/>
                    <a:pt x="61" y="210"/>
                    <a:pt x="61" y="210"/>
                  </a:cubicBezTo>
                  <a:cubicBezTo>
                    <a:pt x="77" y="210"/>
                    <a:pt x="77" y="210"/>
                    <a:pt x="77" y="210"/>
                  </a:cubicBezTo>
                  <a:lnTo>
                    <a:pt x="77" y="202"/>
                  </a:lnTo>
                  <a:close/>
                  <a:moveTo>
                    <a:pt x="101" y="202"/>
                  </a:moveTo>
                  <a:cubicBezTo>
                    <a:pt x="85" y="202"/>
                    <a:pt x="85" y="202"/>
                    <a:pt x="85" y="202"/>
                  </a:cubicBezTo>
                  <a:cubicBezTo>
                    <a:pt x="85" y="210"/>
                    <a:pt x="85" y="210"/>
                    <a:pt x="85" y="210"/>
                  </a:cubicBezTo>
                  <a:cubicBezTo>
                    <a:pt x="101" y="210"/>
                    <a:pt x="101" y="210"/>
                    <a:pt x="101" y="210"/>
                  </a:cubicBezTo>
                  <a:lnTo>
                    <a:pt x="101" y="202"/>
                  </a:lnTo>
                  <a:close/>
                  <a:moveTo>
                    <a:pt x="124" y="202"/>
                  </a:moveTo>
                  <a:cubicBezTo>
                    <a:pt x="108" y="202"/>
                    <a:pt x="108" y="202"/>
                    <a:pt x="108" y="202"/>
                  </a:cubicBezTo>
                  <a:cubicBezTo>
                    <a:pt x="108" y="210"/>
                    <a:pt x="108" y="210"/>
                    <a:pt x="108" y="210"/>
                  </a:cubicBezTo>
                  <a:cubicBezTo>
                    <a:pt x="124" y="210"/>
                    <a:pt x="124" y="210"/>
                    <a:pt x="124" y="210"/>
                  </a:cubicBezTo>
                  <a:lnTo>
                    <a:pt x="124" y="202"/>
                  </a:lnTo>
                  <a:close/>
                  <a:moveTo>
                    <a:pt x="148" y="202"/>
                  </a:moveTo>
                  <a:cubicBezTo>
                    <a:pt x="132" y="202"/>
                    <a:pt x="132" y="202"/>
                    <a:pt x="132" y="202"/>
                  </a:cubicBezTo>
                  <a:cubicBezTo>
                    <a:pt x="132" y="210"/>
                    <a:pt x="132" y="210"/>
                    <a:pt x="132" y="210"/>
                  </a:cubicBezTo>
                  <a:cubicBezTo>
                    <a:pt x="148" y="210"/>
                    <a:pt x="148" y="210"/>
                    <a:pt x="148" y="210"/>
                  </a:cubicBezTo>
                  <a:lnTo>
                    <a:pt x="148" y="202"/>
                  </a:lnTo>
                  <a:close/>
                  <a:moveTo>
                    <a:pt x="171" y="202"/>
                  </a:moveTo>
                  <a:cubicBezTo>
                    <a:pt x="156" y="202"/>
                    <a:pt x="156" y="202"/>
                    <a:pt x="156" y="202"/>
                  </a:cubicBezTo>
                  <a:cubicBezTo>
                    <a:pt x="156" y="210"/>
                    <a:pt x="156" y="210"/>
                    <a:pt x="156" y="210"/>
                  </a:cubicBezTo>
                  <a:cubicBezTo>
                    <a:pt x="171" y="210"/>
                    <a:pt x="171" y="210"/>
                    <a:pt x="171" y="210"/>
                  </a:cubicBezTo>
                  <a:lnTo>
                    <a:pt x="171" y="202"/>
                  </a:lnTo>
                  <a:close/>
                  <a:moveTo>
                    <a:pt x="195" y="202"/>
                  </a:moveTo>
                  <a:cubicBezTo>
                    <a:pt x="179" y="202"/>
                    <a:pt x="179" y="202"/>
                    <a:pt x="179" y="202"/>
                  </a:cubicBezTo>
                  <a:cubicBezTo>
                    <a:pt x="179" y="210"/>
                    <a:pt x="179" y="210"/>
                    <a:pt x="179" y="210"/>
                  </a:cubicBezTo>
                  <a:cubicBezTo>
                    <a:pt x="195" y="210"/>
                    <a:pt x="195" y="210"/>
                    <a:pt x="195" y="210"/>
                  </a:cubicBezTo>
                  <a:lnTo>
                    <a:pt x="195" y="202"/>
                  </a:lnTo>
                  <a:close/>
                  <a:moveTo>
                    <a:pt x="218" y="202"/>
                  </a:moveTo>
                  <a:cubicBezTo>
                    <a:pt x="203" y="202"/>
                    <a:pt x="203" y="202"/>
                    <a:pt x="203" y="202"/>
                  </a:cubicBezTo>
                  <a:cubicBezTo>
                    <a:pt x="203" y="210"/>
                    <a:pt x="203" y="210"/>
                    <a:pt x="203" y="210"/>
                  </a:cubicBezTo>
                  <a:cubicBezTo>
                    <a:pt x="218" y="210"/>
                    <a:pt x="218" y="210"/>
                    <a:pt x="218" y="210"/>
                  </a:cubicBezTo>
                  <a:lnTo>
                    <a:pt x="218" y="202"/>
                  </a:lnTo>
                  <a:close/>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6386513" y="3024188"/>
              <a:ext cx="511175" cy="485775"/>
            </a:xfrm>
            <a:custGeom>
              <a:avLst/>
              <a:gdLst>
                <a:gd name="T0" fmla="*/ 161 w 322"/>
                <a:gd name="T1" fmla="*/ 254 h 306"/>
                <a:gd name="T2" fmla="*/ 62 w 322"/>
                <a:gd name="T3" fmla="*/ 306 h 306"/>
                <a:gd name="T4" fmla="*/ 81 w 322"/>
                <a:gd name="T5" fmla="*/ 194 h 306"/>
                <a:gd name="T6" fmla="*/ 0 w 322"/>
                <a:gd name="T7" fmla="*/ 116 h 306"/>
                <a:gd name="T8" fmla="*/ 112 w 322"/>
                <a:gd name="T9" fmla="*/ 99 h 306"/>
                <a:gd name="T10" fmla="*/ 161 w 322"/>
                <a:gd name="T11" fmla="*/ 0 h 306"/>
                <a:gd name="T12" fmla="*/ 211 w 322"/>
                <a:gd name="T13" fmla="*/ 99 h 306"/>
                <a:gd name="T14" fmla="*/ 322 w 322"/>
                <a:gd name="T15" fmla="*/ 116 h 306"/>
                <a:gd name="T16" fmla="*/ 242 w 322"/>
                <a:gd name="T17" fmla="*/ 194 h 306"/>
                <a:gd name="T18" fmla="*/ 261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2" y="306"/>
                  </a:lnTo>
                  <a:lnTo>
                    <a:pt x="81" y="194"/>
                  </a:lnTo>
                  <a:lnTo>
                    <a:pt x="0" y="116"/>
                  </a:lnTo>
                  <a:lnTo>
                    <a:pt x="112" y="99"/>
                  </a:lnTo>
                  <a:lnTo>
                    <a:pt x="161" y="0"/>
                  </a:lnTo>
                  <a:lnTo>
                    <a:pt x="211" y="99"/>
                  </a:lnTo>
                  <a:lnTo>
                    <a:pt x="322" y="116"/>
                  </a:lnTo>
                  <a:lnTo>
                    <a:pt x="242" y="194"/>
                  </a:lnTo>
                  <a:lnTo>
                    <a:pt x="261"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5"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6"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Web Applications architectures</a:t>
            </a:r>
          </a:p>
        </p:txBody>
      </p:sp>
    </p:spTree>
    <p:extLst>
      <p:ext uri="{BB962C8B-B14F-4D97-AF65-F5344CB8AC3E}">
        <p14:creationId xmlns:p14="http://schemas.microsoft.com/office/powerpoint/2010/main" val="3340268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962150" y="2163763"/>
            <a:ext cx="8267700" cy="253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1965325" y="2155826"/>
            <a:ext cx="1957388" cy="2576512"/>
            <a:chOff x="1965325" y="2155826"/>
            <a:chExt cx="1957388" cy="2576512"/>
          </a:xfrm>
        </p:grpSpPr>
        <p:sp>
          <p:nvSpPr>
            <p:cNvPr id="5" name="Rectangle 5"/>
            <p:cNvSpPr>
              <a:spLocks noChangeArrowheads="1"/>
            </p:cNvSpPr>
            <p:nvPr/>
          </p:nvSpPr>
          <p:spPr bwMode="auto">
            <a:xfrm>
              <a:off x="1965325" y="4208463"/>
              <a:ext cx="14303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Photo taken an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1970088" y="44275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127250" y="4427538"/>
              <a:ext cx="1254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 call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Freeform 8"/>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9"/>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noEditPoints="1"/>
            </p:cNvSpPr>
            <p:nvPr/>
          </p:nvSpPr>
          <p:spPr bwMode="auto">
            <a:xfrm>
              <a:off x="3516313"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2"/>
            <p:cNvSpPr>
              <a:spLocks/>
            </p:cNvSpPr>
            <p:nvPr/>
          </p:nvSpPr>
          <p:spPr bwMode="auto">
            <a:xfrm>
              <a:off x="3790950"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1"/>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2"/>
            <p:cNvSpPr>
              <a:spLocks noChangeArrowheads="1"/>
            </p:cNvSpPr>
            <p:nvPr/>
          </p:nvSpPr>
          <p:spPr bwMode="auto">
            <a:xfrm>
              <a:off x="2247900" y="2894013"/>
              <a:ext cx="674688" cy="7953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3"/>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Oval 34"/>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Oval 35"/>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Rectangle 43"/>
            <p:cNvSpPr>
              <a:spLocks noChangeArrowheads="1"/>
            </p:cNvSpPr>
            <p:nvPr/>
          </p:nvSpPr>
          <p:spPr bwMode="auto">
            <a:xfrm>
              <a:off x="2705100" y="3432176"/>
              <a:ext cx="706438" cy="569913"/>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4"/>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762250" y="3492501"/>
              <a:ext cx="592138" cy="4524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9"/>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5" name="Group 114"/>
          <p:cNvGrpSpPr/>
          <p:nvPr/>
        </p:nvGrpSpPr>
        <p:grpSpPr>
          <a:xfrm>
            <a:off x="4038600" y="2630488"/>
            <a:ext cx="3006725" cy="2019300"/>
            <a:chOff x="4038600" y="2630488"/>
            <a:chExt cx="3006725" cy="2019300"/>
          </a:xfrm>
        </p:grpSpPr>
        <p:sp>
          <p:nvSpPr>
            <p:cNvPr id="21" name="Freeform 21"/>
            <p:cNvSpPr>
              <a:spLocks/>
            </p:cNvSpPr>
            <p:nvPr/>
          </p:nvSpPr>
          <p:spPr bwMode="auto">
            <a:xfrm>
              <a:off x="4511675"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038600"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7"/>
            <p:cNvSpPr>
              <a:spLocks noChangeArrowheads="1"/>
            </p:cNvSpPr>
            <p:nvPr/>
          </p:nvSpPr>
          <p:spPr bwMode="auto">
            <a:xfrm>
              <a:off x="4732338" y="4344988"/>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4976813"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5033963" y="4344988"/>
              <a:ext cx="15382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s in 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Freeform 30"/>
            <p:cNvSpPr>
              <a:spLocks noEditPoints="1"/>
            </p:cNvSpPr>
            <p:nvPr/>
          </p:nvSpPr>
          <p:spPr bwMode="auto">
            <a:xfrm>
              <a:off x="4064000" y="2630488"/>
              <a:ext cx="2981325" cy="1657350"/>
            </a:xfrm>
            <a:custGeom>
              <a:avLst/>
              <a:gdLst>
                <a:gd name="T0" fmla="*/ 162 w 794"/>
                <a:gd name="T1" fmla="*/ 6 h 440"/>
                <a:gd name="T2" fmla="*/ 200 w 794"/>
                <a:gd name="T3" fmla="*/ 8 h 440"/>
                <a:gd name="T4" fmla="*/ 223 w 794"/>
                <a:gd name="T5" fmla="*/ 8 h 440"/>
                <a:gd name="T6" fmla="*/ 269 w 794"/>
                <a:gd name="T7" fmla="*/ 0 h 440"/>
                <a:gd name="T8" fmla="*/ 276 w 794"/>
                <a:gd name="T9" fmla="*/ 8 h 440"/>
                <a:gd name="T10" fmla="*/ 314 w 794"/>
                <a:gd name="T11" fmla="*/ 0 h 440"/>
                <a:gd name="T12" fmla="*/ 345 w 794"/>
                <a:gd name="T13" fmla="*/ 0 h 440"/>
                <a:gd name="T14" fmla="*/ 383 w 794"/>
                <a:gd name="T15" fmla="*/ 8 h 440"/>
                <a:gd name="T16" fmla="*/ 428 w 794"/>
                <a:gd name="T17" fmla="*/ 0 h 440"/>
                <a:gd name="T18" fmla="*/ 436 w 794"/>
                <a:gd name="T19" fmla="*/ 8 h 440"/>
                <a:gd name="T20" fmla="*/ 474 w 794"/>
                <a:gd name="T21" fmla="*/ 0 h 440"/>
                <a:gd name="T22" fmla="*/ 504 w 794"/>
                <a:gd name="T23" fmla="*/ 0 h 440"/>
                <a:gd name="T24" fmla="*/ 543 w 794"/>
                <a:gd name="T25" fmla="*/ 8 h 440"/>
                <a:gd name="T26" fmla="*/ 588 w 794"/>
                <a:gd name="T27" fmla="*/ 0 h 440"/>
                <a:gd name="T28" fmla="*/ 588 w 794"/>
                <a:gd name="T29" fmla="*/ 0 h 440"/>
                <a:gd name="T30" fmla="*/ 619 w 794"/>
                <a:gd name="T31" fmla="*/ 4 h 440"/>
                <a:gd name="T32" fmla="*/ 653 w 794"/>
                <a:gd name="T33" fmla="*/ 22 h 440"/>
                <a:gd name="T34" fmla="*/ 697 w 794"/>
                <a:gd name="T35" fmla="*/ 36 h 440"/>
                <a:gd name="T36" fmla="*/ 699 w 794"/>
                <a:gd name="T37" fmla="*/ 46 h 440"/>
                <a:gd name="T38" fmla="*/ 733 w 794"/>
                <a:gd name="T39" fmla="*/ 65 h 440"/>
                <a:gd name="T40" fmla="*/ 753 w 794"/>
                <a:gd name="T41" fmla="*/ 89 h 440"/>
                <a:gd name="T42" fmla="*/ 766 w 794"/>
                <a:gd name="T43" fmla="*/ 126 h 440"/>
                <a:gd name="T44" fmla="*/ 788 w 794"/>
                <a:gd name="T45" fmla="*/ 166 h 440"/>
                <a:gd name="T46" fmla="*/ 782 w 794"/>
                <a:gd name="T47" fmla="*/ 175 h 440"/>
                <a:gd name="T48" fmla="*/ 794 w 794"/>
                <a:gd name="T49" fmla="*/ 212 h 440"/>
                <a:gd name="T50" fmla="*/ 786 w 794"/>
                <a:gd name="T51" fmla="*/ 235 h 440"/>
                <a:gd name="T52" fmla="*/ 791 w 794"/>
                <a:gd name="T53" fmla="*/ 258 h 440"/>
                <a:gd name="T54" fmla="*/ 784 w 794"/>
                <a:gd name="T55" fmla="*/ 288 h 440"/>
                <a:gd name="T56" fmla="*/ 769 w 794"/>
                <a:gd name="T57" fmla="*/ 307 h 440"/>
                <a:gd name="T58" fmla="*/ 758 w 794"/>
                <a:gd name="T59" fmla="*/ 344 h 440"/>
                <a:gd name="T60" fmla="*/ 739 w 794"/>
                <a:gd name="T61" fmla="*/ 369 h 440"/>
                <a:gd name="T62" fmla="*/ 706 w 794"/>
                <a:gd name="T63" fmla="*/ 389 h 440"/>
                <a:gd name="T64" fmla="*/ 671 w 794"/>
                <a:gd name="T65" fmla="*/ 419 h 440"/>
                <a:gd name="T66" fmla="*/ 664 w 794"/>
                <a:gd name="T67" fmla="*/ 422 h 440"/>
                <a:gd name="T68" fmla="*/ 625 w 794"/>
                <a:gd name="T69" fmla="*/ 427 h 440"/>
                <a:gd name="T70" fmla="*/ 604 w 794"/>
                <a:gd name="T71" fmla="*/ 438 h 440"/>
                <a:gd name="T72" fmla="*/ 558 w 794"/>
                <a:gd name="T73" fmla="*/ 440 h 440"/>
                <a:gd name="T74" fmla="*/ 550 w 794"/>
                <a:gd name="T75" fmla="*/ 432 h 440"/>
                <a:gd name="T76" fmla="*/ 512 w 794"/>
                <a:gd name="T77" fmla="*/ 440 h 440"/>
                <a:gd name="T78" fmla="*/ 482 w 794"/>
                <a:gd name="T79" fmla="*/ 440 h 440"/>
                <a:gd name="T80" fmla="*/ 444 w 794"/>
                <a:gd name="T81" fmla="*/ 432 h 440"/>
                <a:gd name="T82" fmla="*/ 398 w 794"/>
                <a:gd name="T83" fmla="*/ 440 h 440"/>
                <a:gd name="T84" fmla="*/ 391 w 794"/>
                <a:gd name="T85" fmla="*/ 432 h 440"/>
                <a:gd name="T86" fmla="*/ 353 w 794"/>
                <a:gd name="T87" fmla="*/ 440 h 440"/>
                <a:gd name="T88" fmla="*/ 322 w 794"/>
                <a:gd name="T89" fmla="*/ 440 h 440"/>
                <a:gd name="T90" fmla="*/ 284 w 794"/>
                <a:gd name="T91" fmla="*/ 432 h 440"/>
                <a:gd name="T92" fmla="*/ 238 w 794"/>
                <a:gd name="T93" fmla="*/ 440 h 440"/>
                <a:gd name="T94" fmla="*/ 231 w 794"/>
                <a:gd name="T95" fmla="*/ 432 h 440"/>
                <a:gd name="T96" fmla="*/ 192 w 794"/>
                <a:gd name="T97" fmla="*/ 439 h 440"/>
                <a:gd name="T98" fmla="*/ 147 w 794"/>
                <a:gd name="T99" fmla="*/ 429 h 440"/>
                <a:gd name="T100" fmla="*/ 142 w 794"/>
                <a:gd name="T101" fmla="*/ 419 h 440"/>
                <a:gd name="T102" fmla="*/ 105 w 794"/>
                <a:gd name="T103" fmla="*/ 410 h 440"/>
                <a:gd name="T104" fmla="*/ 79 w 794"/>
                <a:gd name="T105" fmla="*/ 392 h 440"/>
                <a:gd name="T106" fmla="*/ 68 w 794"/>
                <a:gd name="T107" fmla="*/ 371 h 440"/>
                <a:gd name="T108" fmla="*/ 44 w 794"/>
                <a:gd name="T109" fmla="*/ 342 h 440"/>
                <a:gd name="T110" fmla="*/ 15 w 794"/>
                <a:gd name="T111" fmla="*/ 306 h 440"/>
                <a:gd name="T112" fmla="*/ 20 w 794"/>
                <a:gd name="T113" fmla="*/ 296 h 440"/>
                <a:gd name="T114" fmla="*/ 10 w 794"/>
                <a:gd name="T115" fmla="*/ 260 h 440"/>
                <a:gd name="T116" fmla="*/ 0 w 794"/>
                <a:gd name="T117" fmla="*/ 215 h 440"/>
                <a:gd name="T118" fmla="*/ 1 w 794"/>
                <a:gd name="T119" fmla="*/ 192 h 440"/>
                <a:gd name="T120" fmla="*/ 10 w 794"/>
                <a:gd name="T121" fmla="*/ 185 h 440"/>
                <a:gd name="T122" fmla="*/ 18 w 794"/>
                <a:gd name="T123" fmla="*/ 149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4" h="440">
                  <a:moveTo>
                    <a:pt x="154" y="9"/>
                  </a:moveTo>
                  <a:cubicBezTo>
                    <a:pt x="152" y="9"/>
                    <a:pt x="150" y="10"/>
                    <a:pt x="148" y="10"/>
                  </a:cubicBezTo>
                  <a:cubicBezTo>
                    <a:pt x="151" y="18"/>
                    <a:pt x="151" y="18"/>
                    <a:pt x="151" y="18"/>
                  </a:cubicBezTo>
                  <a:cubicBezTo>
                    <a:pt x="153" y="17"/>
                    <a:pt x="155" y="17"/>
                    <a:pt x="156" y="16"/>
                  </a:cubicBezTo>
                  <a:cubicBezTo>
                    <a:pt x="154" y="9"/>
                    <a:pt x="154" y="9"/>
                    <a:pt x="154" y="9"/>
                  </a:cubicBezTo>
                  <a:moveTo>
                    <a:pt x="177" y="3"/>
                  </a:moveTo>
                  <a:cubicBezTo>
                    <a:pt x="172" y="4"/>
                    <a:pt x="167" y="5"/>
                    <a:pt x="162" y="6"/>
                  </a:cubicBezTo>
                  <a:cubicBezTo>
                    <a:pt x="164" y="14"/>
                    <a:pt x="164" y="14"/>
                    <a:pt x="164" y="14"/>
                  </a:cubicBezTo>
                  <a:cubicBezTo>
                    <a:pt x="168" y="13"/>
                    <a:pt x="173" y="12"/>
                    <a:pt x="178" y="11"/>
                  </a:cubicBezTo>
                  <a:cubicBezTo>
                    <a:pt x="177" y="3"/>
                    <a:pt x="177" y="3"/>
                    <a:pt x="177" y="3"/>
                  </a:cubicBezTo>
                  <a:moveTo>
                    <a:pt x="200" y="0"/>
                  </a:moveTo>
                  <a:cubicBezTo>
                    <a:pt x="195" y="1"/>
                    <a:pt x="190" y="1"/>
                    <a:pt x="184" y="2"/>
                  </a:cubicBezTo>
                  <a:cubicBezTo>
                    <a:pt x="186" y="10"/>
                    <a:pt x="186" y="10"/>
                    <a:pt x="186" y="10"/>
                  </a:cubicBezTo>
                  <a:cubicBezTo>
                    <a:pt x="190" y="9"/>
                    <a:pt x="195" y="9"/>
                    <a:pt x="200" y="8"/>
                  </a:cubicBezTo>
                  <a:cubicBezTo>
                    <a:pt x="200" y="0"/>
                    <a:pt x="200" y="0"/>
                    <a:pt x="200" y="0"/>
                  </a:cubicBezTo>
                  <a:moveTo>
                    <a:pt x="223" y="0"/>
                  </a:moveTo>
                  <a:cubicBezTo>
                    <a:pt x="214" y="0"/>
                    <a:pt x="214" y="0"/>
                    <a:pt x="214" y="0"/>
                  </a:cubicBezTo>
                  <a:cubicBezTo>
                    <a:pt x="212" y="0"/>
                    <a:pt x="210" y="0"/>
                    <a:pt x="208" y="0"/>
                  </a:cubicBezTo>
                  <a:cubicBezTo>
                    <a:pt x="208" y="8"/>
                    <a:pt x="208" y="8"/>
                    <a:pt x="208" y="8"/>
                  </a:cubicBezTo>
                  <a:cubicBezTo>
                    <a:pt x="210" y="8"/>
                    <a:pt x="212" y="8"/>
                    <a:pt x="214" y="8"/>
                  </a:cubicBezTo>
                  <a:cubicBezTo>
                    <a:pt x="223" y="8"/>
                    <a:pt x="223" y="8"/>
                    <a:pt x="223" y="8"/>
                  </a:cubicBezTo>
                  <a:cubicBezTo>
                    <a:pt x="223" y="0"/>
                    <a:pt x="223" y="0"/>
                    <a:pt x="223" y="0"/>
                  </a:cubicBezTo>
                  <a:moveTo>
                    <a:pt x="246" y="0"/>
                  </a:moveTo>
                  <a:cubicBezTo>
                    <a:pt x="231" y="0"/>
                    <a:pt x="231" y="0"/>
                    <a:pt x="231" y="0"/>
                  </a:cubicBezTo>
                  <a:cubicBezTo>
                    <a:pt x="231" y="8"/>
                    <a:pt x="231" y="8"/>
                    <a:pt x="231" y="8"/>
                  </a:cubicBezTo>
                  <a:cubicBezTo>
                    <a:pt x="246" y="8"/>
                    <a:pt x="246" y="8"/>
                    <a:pt x="246" y="8"/>
                  </a:cubicBezTo>
                  <a:cubicBezTo>
                    <a:pt x="246" y="0"/>
                    <a:pt x="246" y="0"/>
                    <a:pt x="246" y="0"/>
                  </a:cubicBezTo>
                  <a:moveTo>
                    <a:pt x="269" y="0"/>
                  </a:moveTo>
                  <a:cubicBezTo>
                    <a:pt x="253" y="0"/>
                    <a:pt x="253" y="0"/>
                    <a:pt x="253" y="0"/>
                  </a:cubicBezTo>
                  <a:cubicBezTo>
                    <a:pt x="253" y="8"/>
                    <a:pt x="253" y="8"/>
                    <a:pt x="253" y="8"/>
                  </a:cubicBezTo>
                  <a:cubicBezTo>
                    <a:pt x="269" y="8"/>
                    <a:pt x="269" y="8"/>
                    <a:pt x="269" y="8"/>
                  </a:cubicBezTo>
                  <a:cubicBezTo>
                    <a:pt x="269" y="0"/>
                    <a:pt x="269" y="0"/>
                    <a:pt x="269" y="0"/>
                  </a:cubicBezTo>
                  <a:moveTo>
                    <a:pt x="291" y="0"/>
                  </a:moveTo>
                  <a:cubicBezTo>
                    <a:pt x="276" y="0"/>
                    <a:pt x="276" y="0"/>
                    <a:pt x="276" y="0"/>
                  </a:cubicBezTo>
                  <a:cubicBezTo>
                    <a:pt x="276" y="8"/>
                    <a:pt x="276" y="8"/>
                    <a:pt x="276" y="8"/>
                  </a:cubicBezTo>
                  <a:cubicBezTo>
                    <a:pt x="291" y="8"/>
                    <a:pt x="291" y="8"/>
                    <a:pt x="291" y="8"/>
                  </a:cubicBezTo>
                  <a:cubicBezTo>
                    <a:pt x="291" y="0"/>
                    <a:pt x="291" y="0"/>
                    <a:pt x="291" y="0"/>
                  </a:cubicBezTo>
                  <a:moveTo>
                    <a:pt x="314" y="0"/>
                  </a:moveTo>
                  <a:cubicBezTo>
                    <a:pt x="299" y="0"/>
                    <a:pt x="299" y="0"/>
                    <a:pt x="299" y="0"/>
                  </a:cubicBezTo>
                  <a:cubicBezTo>
                    <a:pt x="299" y="8"/>
                    <a:pt x="299" y="8"/>
                    <a:pt x="299" y="8"/>
                  </a:cubicBezTo>
                  <a:cubicBezTo>
                    <a:pt x="314" y="8"/>
                    <a:pt x="314" y="8"/>
                    <a:pt x="314" y="8"/>
                  </a:cubicBezTo>
                  <a:cubicBezTo>
                    <a:pt x="314" y="0"/>
                    <a:pt x="314" y="0"/>
                    <a:pt x="314" y="0"/>
                  </a:cubicBezTo>
                  <a:moveTo>
                    <a:pt x="337" y="0"/>
                  </a:moveTo>
                  <a:cubicBezTo>
                    <a:pt x="322" y="0"/>
                    <a:pt x="322" y="0"/>
                    <a:pt x="322" y="0"/>
                  </a:cubicBezTo>
                  <a:cubicBezTo>
                    <a:pt x="322" y="8"/>
                    <a:pt x="322" y="8"/>
                    <a:pt x="322" y="8"/>
                  </a:cubicBezTo>
                  <a:cubicBezTo>
                    <a:pt x="337" y="8"/>
                    <a:pt x="337" y="8"/>
                    <a:pt x="337" y="8"/>
                  </a:cubicBezTo>
                  <a:cubicBezTo>
                    <a:pt x="337" y="0"/>
                    <a:pt x="337" y="0"/>
                    <a:pt x="337" y="0"/>
                  </a:cubicBezTo>
                  <a:moveTo>
                    <a:pt x="360" y="0"/>
                  </a:moveTo>
                  <a:cubicBezTo>
                    <a:pt x="345" y="0"/>
                    <a:pt x="345" y="0"/>
                    <a:pt x="345" y="0"/>
                  </a:cubicBezTo>
                  <a:cubicBezTo>
                    <a:pt x="345" y="8"/>
                    <a:pt x="345" y="8"/>
                    <a:pt x="345" y="8"/>
                  </a:cubicBezTo>
                  <a:cubicBezTo>
                    <a:pt x="360" y="8"/>
                    <a:pt x="360" y="8"/>
                    <a:pt x="360" y="8"/>
                  </a:cubicBezTo>
                  <a:cubicBezTo>
                    <a:pt x="360" y="0"/>
                    <a:pt x="360" y="0"/>
                    <a:pt x="360" y="0"/>
                  </a:cubicBezTo>
                  <a:moveTo>
                    <a:pt x="383" y="0"/>
                  </a:moveTo>
                  <a:cubicBezTo>
                    <a:pt x="368" y="0"/>
                    <a:pt x="368" y="0"/>
                    <a:pt x="368" y="0"/>
                  </a:cubicBezTo>
                  <a:cubicBezTo>
                    <a:pt x="368" y="8"/>
                    <a:pt x="368" y="8"/>
                    <a:pt x="368" y="8"/>
                  </a:cubicBezTo>
                  <a:cubicBezTo>
                    <a:pt x="383" y="8"/>
                    <a:pt x="383" y="8"/>
                    <a:pt x="383" y="8"/>
                  </a:cubicBezTo>
                  <a:cubicBezTo>
                    <a:pt x="383" y="0"/>
                    <a:pt x="383" y="0"/>
                    <a:pt x="383" y="0"/>
                  </a:cubicBezTo>
                  <a:moveTo>
                    <a:pt x="406" y="0"/>
                  </a:moveTo>
                  <a:cubicBezTo>
                    <a:pt x="390" y="0"/>
                    <a:pt x="390" y="0"/>
                    <a:pt x="390" y="0"/>
                  </a:cubicBezTo>
                  <a:cubicBezTo>
                    <a:pt x="390" y="8"/>
                    <a:pt x="390" y="8"/>
                    <a:pt x="390" y="8"/>
                  </a:cubicBezTo>
                  <a:cubicBezTo>
                    <a:pt x="406" y="8"/>
                    <a:pt x="406" y="8"/>
                    <a:pt x="406" y="8"/>
                  </a:cubicBezTo>
                  <a:cubicBezTo>
                    <a:pt x="406" y="0"/>
                    <a:pt x="406" y="0"/>
                    <a:pt x="406" y="0"/>
                  </a:cubicBezTo>
                  <a:moveTo>
                    <a:pt x="428" y="0"/>
                  </a:moveTo>
                  <a:cubicBezTo>
                    <a:pt x="413" y="0"/>
                    <a:pt x="413" y="0"/>
                    <a:pt x="413" y="0"/>
                  </a:cubicBezTo>
                  <a:cubicBezTo>
                    <a:pt x="413" y="8"/>
                    <a:pt x="413" y="8"/>
                    <a:pt x="413" y="8"/>
                  </a:cubicBezTo>
                  <a:cubicBezTo>
                    <a:pt x="428" y="8"/>
                    <a:pt x="428" y="8"/>
                    <a:pt x="428" y="8"/>
                  </a:cubicBezTo>
                  <a:cubicBezTo>
                    <a:pt x="428" y="0"/>
                    <a:pt x="428" y="0"/>
                    <a:pt x="428" y="0"/>
                  </a:cubicBezTo>
                  <a:moveTo>
                    <a:pt x="451" y="0"/>
                  </a:moveTo>
                  <a:cubicBezTo>
                    <a:pt x="436" y="0"/>
                    <a:pt x="436" y="0"/>
                    <a:pt x="436" y="0"/>
                  </a:cubicBezTo>
                  <a:cubicBezTo>
                    <a:pt x="436" y="8"/>
                    <a:pt x="436" y="8"/>
                    <a:pt x="436" y="8"/>
                  </a:cubicBezTo>
                  <a:cubicBezTo>
                    <a:pt x="451" y="8"/>
                    <a:pt x="451" y="8"/>
                    <a:pt x="451" y="8"/>
                  </a:cubicBezTo>
                  <a:cubicBezTo>
                    <a:pt x="451" y="0"/>
                    <a:pt x="451" y="0"/>
                    <a:pt x="451" y="0"/>
                  </a:cubicBezTo>
                  <a:moveTo>
                    <a:pt x="474" y="0"/>
                  </a:moveTo>
                  <a:cubicBezTo>
                    <a:pt x="459" y="0"/>
                    <a:pt x="459" y="0"/>
                    <a:pt x="459" y="0"/>
                  </a:cubicBezTo>
                  <a:cubicBezTo>
                    <a:pt x="459" y="8"/>
                    <a:pt x="459" y="8"/>
                    <a:pt x="459" y="8"/>
                  </a:cubicBezTo>
                  <a:cubicBezTo>
                    <a:pt x="474" y="8"/>
                    <a:pt x="474" y="8"/>
                    <a:pt x="474" y="8"/>
                  </a:cubicBezTo>
                  <a:cubicBezTo>
                    <a:pt x="474" y="0"/>
                    <a:pt x="474" y="0"/>
                    <a:pt x="474" y="0"/>
                  </a:cubicBezTo>
                  <a:moveTo>
                    <a:pt x="497" y="0"/>
                  </a:moveTo>
                  <a:cubicBezTo>
                    <a:pt x="482" y="0"/>
                    <a:pt x="482" y="0"/>
                    <a:pt x="482" y="0"/>
                  </a:cubicBezTo>
                  <a:cubicBezTo>
                    <a:pt x="482" y="8"/>
                    <a:pt x="482" y="8"/>
                    <a:pt x="482" y="8"/>
                  </a:cubicBezTo>
                  <a:cubicBezTo>
                    <a:pt x="497" y="8"/>
                    <a:pt x="497" y="8"/>
                    <a:pt x="497" y="8"/>
                  </a:cubicBezTo>
                  <a:cubicBezTo>
                    <a:pt x="497" y="0"/>
                    <a:pt x="497" y="0"/>
                    <a:pt x="497" y="0"/>
                  </a:cubicBezTo>
                  <a:moveTo>
                    <a:pt x="520" y="0"/>
                  </a:moveTo>
                  <a:cubicBezTo>
                    <a:pt x="504" y="0"/>
                    <a:pt x="504" y="0"/>
                    <a:pt x="504" y="0"/>
                  </a:cubicBezTo>
                  <a:cubicBezTo>
                    <a:pt x="504" y="8"/>
                    <a:pt x="504" y="8"/>
                    <a:pt x="504" y="8"/>
                  </a:cubicBezTo>
                  <a:cubicBezTo>
                    <a:pt x="520" y="8"/>
                    <a:pt x="520" y="8"/>
                    <a:pt x="520" y="8"/>
                  </a:cubicBezTo>
                  <a:cubicBezTo>
                    <a:pt x="520" y="0"/>
                    <a:pt x="520" y="0"/>
                    <a:pt x="520" y="0"/>
                  </a:cubicBezTo>
                  <a:moveTo>
                    <a:pt x="543" y="0"/>
                  </a:moveTo>
                  <a:cubicBezTo>
                    <a:pt x="527" y="0"/>
                    <a:pt x="527" y="0"/>
                    <a:pt x="527" y="0"/>
                  </a:cubicBezTo>
                  <a:cubicBezTo>
                    <a:pt x="527" y="8"/>
                    <a:pt x="527" y="8"/>
                    <a:pt x="527" y="8"/>
                  </a:cubicBezTo>
                  <a:cubicBezTo>
                    <a:pt x="543" y="8"/>
                    <a:pt x="543" y="8"/>
                    <a:pt x="543" y="8"/>
                  </a:cubicBezTo>
                  <a:cubicBezTo>
                    <a:pt x="543" y="0"/>
                    <a:pt x="543" y="0"/>
                    <a:pt x="543" y="0"/>
                  </a:cubicBezTo>
                  <a:moveTo>
                    <a:pt x="565" y="0"/>
                  </a:moveTo>
                  <a:cubicBezTo>
                    <a:pt x="550" y="0"/>
                    <a:pt x="550" y="0"/>
                    <a:pt x="550" y="0"/>
                  </a:cubicBezTo>
                  <a:cubicBezTo>
                    <a:pt x="550" y="8"/>
                    <a:pt x="550" y="8"/>
                    <a:pt x="550" y="8"/>
                  </a:cubicBezTo>
                  <a:cubicBezTo>
                    <a:pt x="565" y="8"/>
                    <a:pt x="565" y="8"/>
                    <a:pt x="565" y="8"/>
                  </a:cubicBezTo>
                  <a:cubicBezTo>
                    <a:pt x="565" y="0"/>
                    <a:pt x="565" y="0"/>
                    <a:pt x="565" y="0"/>
                  </a:cubicBezTo>
                  <a:moveTo>
                    <a:pt x="588" y="0"/>
                  </a:moveTo>
                  <a:cubicBezTo>
                    <a:pt x="585" y="0"/>
                    <a:pt x="583" y="0"/>
                    <a:pt x="580" y="0"/>
                  </a:cubicBezTo>
                  <a:cubicBezTo>
                    <a:pt x="573" y="0"/>
                    <a:pt x="573" y="0"/>
                    <a:pt x="573" y="0"/>
                  </a:cubicBezTo>
                  <a:cubicBezTo>
                    <a:pt x="573" y="8"/>
                    <a:pt x="573" y="8"/>
                    <a:pt x="573" y="8"/>
                  </a:cubicBezTo>
                  <a:cubicBezTo>
                    <a:pt x="580" y="8"/>
                    <a:pt x="580" y="8"/>
                    <a:pt x="580" y="8"/>
                  </a:cubicBezTo>
                  <a:cubicBezTo>
                    <a:pt x="582" y="8"/>
                    <a:pt x="585" y="8"/>
                    <a:pt x="588" y="8"/>
                  </a:cubicBezTo>
                  <a:cubicBezTo>
                    <a:pt x="588" y="0"/>
                    <a:pt x="588" y="0"/>
                    <a:pt x="588" y="0"/>
                  </a:cubicBezTo>
                  <a:cubicBezTo>
                    <a:pt x="588" y="0"/>
                    <a:pt x="588" y="0"/>
                    <a:pt x="588" y="0"/>
                  </a:cubicBezTo>
                  <a:moveTo>
                    <a:pt x="611" y="2"/>
                  </a:moveTo>
                  <a:cubicBezTo>
                    <a:pt x="606" y="2"/>
                    <a:pt x="601" y="1"/>
                    <a:pt x="596" y="1"/>
                  </a:cubicBezTo>
                  <a:cubicBezTo>
                    <a:pt x="595" y="8"/>
                    <a:pt x="595" y="8"/>
                    <a:pt x="595" y="8"/>
                  </a:cubicBezTo>
                  <a:cubicBezTo>
                    <a:pt x="600" y="9"/>
                    <a:pt x="605" y="9"/>
                    <a:pt x="610" y="10"/>
                  </a:cubicBezTo>
                  <a:cubicBezTo>
                    <a:pt x="611" y="2"/>
                    <a:pt x="611" y="2"/>
                    <a:pt x="611" y="2"/>
                  </a:cubicBezTo>
                  <a:moveTo>
                    <a:pt x="634" y="7"/>
                  </a:moveTo>
                  <a:cubicBezTo>
                    <a:pt x="629" y="6"/>
                    <a:pt x="624" y="5"/>
                    <a:pt x="619" y="4"/>
                  </a:cubicBezTo>
                  <a:cubicBezTo>
                    <a:pt x="618" y="11"/>
                    <a:pt x="618" y="11"/>
                    <a:pt x="618" y="11"/>
                  </a:cubicBezTo>
                  <a:cubicBezTo>
                    <a:pt x="623" y="12"/>
                    <a:pt x="627" y="13"/>
                    <a:pt x="632" y="15"/>
                  </a:cubicBezTo>
                  <a:cubicBezTo>
                    <a:pt x="634" y="7"/>
                    <a:pt x="634" y="7"/>
                    <a:pt x="634" y="7"/>
                  </a:cubicBezTo>
                  <a:moveTo>
                    <a:pt x="656" y="14"/>
                  </a:moveTo>
                  <a:cubicBezTo>
                    <a:pt x="651" y="12"/>
                    <a:pt x="647" y="11"/>
                    <a:pt x="642" y="9"/>
                  </a:cubicBezTo>
                  <a:cubicBezTo>
                    <a:pt x="639" y="17"/>
                    <a:pt x="639" y="17"/>
                    <a:pt x="639" y="17"/>
                  </a:cubicBezTo>
                  <a:cubicBezTo>
                    <a:pt x="644" y="18"/>
                    <a:pt x="649" y="20"/>
                    <a:pt x="653" y="22"/>
                  </a:cubicBezTo>
                  <a:cubicBezTo>
                    <a:pt x="656" y="14"/>
                    <a:pt x="656" y="14"/>
                    <a:pt x="656" y="14"/>
                  </a:cubicBezTo>
                  <a:moveTo>
                    <a:pt x="677" y="24"/>
                  </a:moveTo>
                  <a:cubicBezTo>
                    <a:pt x="673" y="21"/>
                    <a:pt x="668" y="19"/>
                    <a:pt x="663" y="17"/>
                  </a:cubicBezTo>
                  <a:cubicBezTo>
                    <a:pt x="660" y="24"/>
                    <a:pt x="660" y="24"/>
                    <a:pt x="660" y="24"/>
                  </a:cubicBezTo>
                  <a:cubicBezTo>
                    <a:pt x="665" y="26"/>
                    <a:pt x="669" y="28"/>
                    <a:pt x="674" y="31"/>
                  </a:cubicBezTo>
                  <a:cubicBezTo>
                    <a:pt x="677" y="24"/>
                    <a:pt x="677" y="24"/>
                    <a:pt x="677" y="24"/>
                  </a:cubicBezTo>
                  <a:moveTo>
                    <a:pt x="697" y="36"/>
                  </a:moveTo>
                  <a:cubicBezTo>
                    <a:pt x="693" y="33"/>
                    <a:pt x="689" y="30"/>
                    <a:pt x="684" y="27"/>
                  </a:cubicBezTo>
                  <a:cubicBezTo>
                    <a:pt x="680" y="34"/>
                    <a:pt x="680" y="34"/>
                    <a:pt x="680" y="34"/>
                  </a:cubicBezTo>
                  <a:cubicBezTo>
                    <a:pt x="685" y="37"/>
                    <a:pt x="689" y="39"/>
                    <a:pt x="693" y="42"/>
                  </a:cubicBezTo>
                  <a:cubicBezTo>
                    <a:pt x="697" y="36"/>
                    <a:pt x="697" y="36"/>
                    <a:pt x="697" y="36"/>
                  </a:cubicBezTo>
                  <a:moveTo>
                    <a:pt x="716" y="49"/>
                  </a:moveTo>
                  <a:cubicBezTo>
                    <a:pt x="712" y="46"/>
                    <a:pt x="708" y="43"/>
                    <a:pt x="704" y="40"/>
                  </a:cubicBezTo>
                  <a:cubicBezTo>
                    <a:pt x="699" y="46"/>
                    <a:pt x="699" y="46"/>
                    <a:pt x="699" y="46"/>
                  </a:cubicBezTo>
                  <a:cubicBezTo>
                    <a:pt x="703" y="49"/>
                    <a:pt x="707" y="52"/>
                    <a:pt x="711" y="55"/>
                  </a:cubicBezTo>
                  <a:cubicBezTo>
                    <a:pt x="716" y="49"/>
                    <a:pt x="716" y="49"/>
                    <a:pt x="716" y="49"/>
                  </a:cubicBezTo>
                  <a:moveTo>
                    <a:pt x="733" y="65"/>
                  </a:moveTo>
                  <a:cubicBezTo>
                    <a:pt x="729" y="62"/>
                    <a:pt x="726" y="58"/>
                    <a:pt x="722" y="54"/>
                  </a:cubicBezTo>
                  <a:cubicBezTo>
                    <a:pt x="717" y="60"/>
                    <a:pt x="717" y="60"/>
                    <a:pt x="717" y="60"/>
                  </a:cubicBezTo>
                  <a:cubicBezTo>
                    <a:pt x="720" y="64"/>
                    <a:pt x="724" y="67"/>
                    <a:pt x="728" y="71"/>
                  </a:cubicBezTo>
                  <a:cubicBezTo>
                    <a:pt x="733" y="65"/>
                    <a:pt x="733" y="65"/>
                    <a:pt x="733" y="65"/>
                  </a:cubicBezTo>
                  <a:moveTo>
                    <a:pt x="748" y="83"/>
                  </a:moveTo>
                  <a:cubicBezTo>
                    <a:pt x="745" y="79"/>
                    <a:pt x="742" y="75"/>
                    <a:pt x="738" y="71"/>
                  </a:cubicBezTo>
                  <a:cubicBezTo>
                    <a:pt x="733" y="76"/>
                    <a:pt x="733" y="76"/>
                    <a:pt x="733" y="76"/>
                  </a:cubicBezTo>
                  <a:cubicBezTo>
                    <a:pt x="736" y="80"/>
                    <a:pt x="739" y="84"/>
                    <a:pt x="742" y="88"/>
                  </a:cubicBezTo>
                  <a:cubicBezTo>
                    <a:pt x="748" y="83"/>
                    <a:pt x="748" y="83"/>
                    <a:pt x="748" y="83"/>
                  </a:cubicBezTo>
                  <a:moveTo>
                    <a:pt x="762" y="102"/>
                  </a:moveTo>
                  <a:cubicBezTo>
                    <a:pt x="759" y="97"/>
                    <a:pt x="756" y="93"/>
                    <a:pt x="753" y="89"/>
                  </a:cubicBezTo>
                  <a:cubicBezTo>
                    <a:pt x="747" y="93"/>
                    <a:pt x="747" y="93"/>
                    <a:pt x="747" y="93"/>
                  </a:cubicBezTo>
                  <a:cubicBezTo>
                    <a:pt x="750" y="98"/>
                    <a:pt x="752" y="102"/>
                    <a:pt x="755" y="106"/>
                  </a:cubicBezTo>
                  <a:cubicBezTo>
                    <a:pt x="762" y="102"/>
                    <a:pt x="762" y="102"/>
                    <a:pt x="762" y="102"/>
                  </a:cubicBezTo>
                  <a:moveTo>
                    <a:pt x="773" y="122"/>
                  </a:moveTo>
                  <a:cubicBezTo>
                    <a:pt x="771" y="118"/>
                    <a:pt x="768" y="113"/>
                    <a:pt x="766" y="108"/>
                  </a:cubicBezTo>
                  <a:cubicBezTo>
                    <a:pt x="759" y="112"/>
                    <a:pt x="759" y="112"/>
                    <a:pt x="759" y="112"/>
                  </a:cubicBezTo>
                  <a:cubicBezTo>
                    <a:pt x="761" y="117"/>
                    <a:pt x="764" y="121"/>
                    <a:pt x="766" y="126"/>
                  </a:cubicBezTo>
                  <a:cubicBezTo>
                    <a:pt x="773" y="122"/>
                    <a:pt x="773" y="122"/>
                    <a:pt x="773" y="122"/>
                  </a:cubicBezTo>
                  <a:moveTo>
                    <a:pt x="782" y="144"/>
                  </a:moveTo>
                  <a:cubicBezTo>
                    <a:pt x="780" y="139"/>
                    <a:pt x="778" y="134"/>
                    <a:pt x="776" y="129"/>
                  </a:cubicBezTo>
                  <a:cubicBezTo>
                    <a:pt x="769" y="132"/>
                    <a:pt x="769" y="132"/>
                    <a:pt x="769" y="132"/>
                  </a:cubicBezTo>
                  <a:cubicBezTo>
                    <a:pt x="771" y="137"/>
                    <a:pt x="773" y="142"/>
                    <a:pt x="774" y="146"/>
                  </a:cubicBezTo>
                  <a:cubicBezTo>
                    <a:pt x="782" y="144"/>
                    <a:pt x="782" y="144"/>
                    <a:pt x="782" y="144"/>
                  </a:cubicBezTo>
                  <a:moveTo>
                    <a:pt x="788" y="166"/>
                  </a:moveTo>
                  <a:cubicBezTo>
                    <a:pt x="787" y="161"/>
                    <a:pt x="786" y="156"/>
                    <a:pt x="784" y="151"/>
                  </a:cubicBezTo>
                  <a:cubicBezTo>
                    <a:pt x="777" y="153"/>
                    <a:pt x="777" y="153"/>
                    <a:pt x="777" y="153"/>
                  </a:cubicBezTo>
                  <a:cubicBezTo>
                    <a:pt x="778" y="158"/>
                    <a:pt x="779" y="163"/>
                    <a:pt x="781" y="168"/>
                  </a:cubicBezTo>
                  <a:cubicBezTo>
                    <a:pt x="788" y="166"/>
                    <a:pt x="788" y="166"/>
                    <a:pt x="788" y="166"/>
                  </a:cubicBezTo>
                  <a:moveTo>
                    <a:pt x="792" y="189"/>
                  </a:moveTo>
                  <a:cubicBezTo>
                    <a:pt x="791" y="184"/>
                    <a:pt x="791" y="179"/>
                    <a:pt x="790" y="174"/>
                  </a:cubicBezTo>
                  <a:cubicBezTo>
                    <a:pt x="782" y="175"/>
                    <a:pt x="782" y="175"/>
                    <a:pt x="782" y="175"/>
                  </a:cubicBezTo>
                  <a:cubicBezTo>
                    <a:pt x="783" y="180"/>
                    <a:pt x="784" y="185"/>
                    <a:pt x="784" y="190"/>
                  </a:cubicBezTo>
                  <a:cubicBezTo>
                    <a:pt x="792" y="189"/>
                    <a:pt x="792" y="189"/>
                    <a:pt x="792" y="189"/>
                  </a:cubicBezTo>
                  <a:moveTo>
                    <a:pt x="794" y="212"/>
                  </a:moveTo>
                  <a:cubicBezTo>
                    <a:pt x="793" y="207"/>
                    <a:pt x="793" y="202"/>
                    <a:pt x="793" y="197"/>
                  </a:cubicBezTo>
                  <a:cubicBezTo>
                    <a:pt x="785" y="197"/>
                    <a:pt x="785" y="197"/>
                    <a:pt x="785" y="197"/>
                  </a:cubicBezTo>
                  <a:cubicBezTo>
                    <a:pt x="786" y="202"/>
                    <a:pt x="786" y="207"/>
                    <a:pt x="786" y="212"/>
                  </a:cubicBezTo>
                  <a:cubicBezTo>
                    <a:pt x="794" y="212"/>
                    <a:pt x="794" y="212"/>
                    <a:pt x="794" y="212"/>
                  </a:cubicBezTo>
                  <a:cubicBezTo>
                    <a:pt x="794" y="212"/>
                    <a:pt x="794" y="212"/>
                    <a:pt x="794" y="212"/>
                  </a:cubicBezTo>
                  <a:moveTo>
                    <a:pt x="793" y="235"/>
                  </a:moveTo>
                  <a:cubicBezTo>
                    <a:pt x="793" y="232"/>
                    <a:pt x="794" y="229"/>
                    <a:pt x="794" y="226"/>
                  </a:cubicBezTo>
                  <a:cubicBezTo>
                    <a:pt x="794" y="220"/>
                    <a:pt x="794" y="220"/>
                    <a:pt x="794" y="220"/>
                  </a:cubicBezTo>
                  <a:cubicBezTo>
                    <a:pt x="786" y="220"/>
                    <a:pt x="786" y="220"/>
                    <a:pt x="786" y="220"/>
                  </a:cubicBezTo>
                  <a:cubicBezTo>
                    <a:pt x="786" y="226"/>
                    <a:pt x="786" y="226"/>
                    <a:pt x="786" y="226"/>
                  </a:cubicBezTo>
                  <a:cubicBezTo>
                    <a:pt x="786" y="229"/>
                    <a:pt x="786" y="232"/>
                    <a:pt x="786" y="235"/>
                  </a:cubicBezTo>
                  <a:cubicBezTo>
                    <a:pt x="793" y="235"/>
                    <a:pt x="793" y="235"/>
                    <a:pt x="793" y="235"/>
                  </a:cubicBezTo>
                  <a:cubicBezTo>
                    <a:pt x="793" y="235"/>
                    <a:pt x="793" y="235"/>
                    <a:pt x="793" y="235"/>
                  </a:cubicBezTo>
                  <a:moveTo>
                    <a:pt x="791" y="258"/>
                  </a:moveTo>
                  <a:cubicBezTo>
                    <a:pt x="792" y="253"/>
                    <a:pt x="792" y="248"/>
                    <a:pt x="793" y="243"/>
                  </a:cubicBezTo>
                  <a:cubicBezTo>
                    <a:pt x="785" y="242"/>
                    <a:pt x="785" y="242"/>
                    <a:pt x="785" y="242"/>
                  </a:cubicBezTo>
                  <a:cubicBezTo>
                    <a:pt x="785" y="247"/>
                    <a:pt x="784" y="252"/>
                    <a:pt x="783" y="257"/>
                  </a:cubicBezTo>
                  <a:cubicBezTo>
                    <a:pt x="791" y="258"/>
                    <a:pt x="791" y="258"/>
                    <a:pt x="791" y="258"/>
                  </a:cubicBezTo>
                  <a:moveTo>
                    <a:pt x="786" y="281"/>
                  </a:moveTo>
                  <a:cubicBezTo>
                    <a:pt x="788" y="276"/>
                    <a:pt x="789" y="271"/>
                    <a:pt x="790" y="266"/>
                  </a:cubicBezTo>
                  <a:cubicBezTo>
                    <a:pt x="782" y="264"/>
                    <a:pt x="782" y="264"/>
                    <a:pt x="782" y="264"/>
                  </a:cubicBezTo>
                  <a:cubicBezTo>
                    <a:pt x="781" y="269"/>
                    <a:pt x="780" y="274"/>
                    <a:pt x="779" y="279"/>
                  </a:cubicBezTo>
                  <a:cubicBezTo>
                    <a:pt x="786" y="281"/>
                    <a:pt x="786" y="281"/>
                    <a:pt x="786" y="281"/>
                  </a:cubicBezTo>
                  <a:moveTo>
                    <a:pt x="779" y="303"/>
                  </a:moveTo>
                  <a:cubicBezTo>
                    <a:pt x="781" y="298"/>
                    <a:pt x="783" y="293"/>
                    <a:pt x="784" y="288"/>
                  </a:cubicBezTo>
                  <a:cubicBezTo>
                    <a:pt x="777" y="286"/>
                    <a:pt x="777" y="286"/>
                    <a:pt x="777" y="286"/>
                  </a:cubicBezTo>
                  <a:cubicBezTo>
                    <a:pt x="775" y="291"/>
                    <a:pt x="774" y="296"/>
                    <a:pt x="772" y="300"/>
                  </a:cubicBezTo>
                  <a:cubicBezTo>
                    <a:pt x="779" y="303"/>
                    <a:pt x="779" y="303"/>
                    <a:pt x="779" y="303"/>
                  </a:cubicBezTo>
                  <a:cubicBezTo>
                    <a:pt x="779" y="303"/>
                    <a:pt x="779" y="303"/>
                    <a:pt x="779" y="303"/>
                  </a:cubicBezTo>
                  <a:moveTo>
                    <a:pt x="769" y="324"/>
                  </a:moveTo>
                  <a:cubicBezTo>
                    <a:pt x="772" y="320"/>
                    <a:pt x="774" y="315"/>
                    <a:pt x="776" y="310"/>
                  </a:cubicBezTo>
                  <a:cubicBezTo>
                    <a:pt x="769" y="307"/>
                    <a:pt x="769" y="307"/>
                    <a:pt x="769" y="307"/>
                  </a:cubicBezTo>
                  <a:cubicBezTo>
                    <a:pt x="767" y="312"/>
                    <a:pt x="765" y="316"/>
                    <a:pt x="763" y="321"/>
                  </a:cubicBezTo>
                  <a:cubicBezTo>
                    <a:pt x="769" y="324"/>
                    <a:pt x="769" y="324"/>
                    <a:pt x="769" y="324"/>
                  </a:cubicBezTo>
                  <a:moveTo>
                    <a:pt x="758" y="344"/>
                  </a:moveTo>
                  <a:cubicBezTo>
                    <a:pt x="761" y="340"/>
                    <a:pt x="763" y="335"/>
                    <a:pt x="766" y="331"/>
                  </a:cubicBezTo>
                  <a:cubicBezTo>
                    <a:pt x="759" y="327"/>
                    <a:pt x="759" y="327"/>
                    <a:pt x="759" y="327"/>
                  </a:cubicBezTo>
                  <a:cubicBezTo>
                    <a:pt x="757" y="331"/>
                    <a:pt x="754" y="336"/>
                    <a:pt x="751" y="340"/>
                  </a:cubicBezTo>
                  <a:cubicBezTo>
                    <a:pt x="758" y="344"/>
                    <a:pt x="758" y="344"/>
                    <a:pt x="758" y="344"/>
                  </a:cubicBezTo>
                  <a:moveTo>
                    <a:pt x="744" y="363"/>
                  </a:moveTo>
                  <a:cubicBezTo>
                    <a:pt x="747" y="359"/>
                    <a:pt x="750" y="355"/>
                    <a:pt x="753" y="350"/>
                  </a:cubicBezTo>
                  <a:cubicBezTo>
                    <a:pt x="747" y="346"/>
                    <a:pt x="747" y="346"/>
                    <a:pt x="747" y="346"/>
                  </a:cubicBezTo>
                  <a:cubicBezTo>
                    <a:pt x="744" y="350"/>
                    <a:pt x="741" y="354"/>
                    <a:pt x="738" y="358"/>
                  </a:cubicBezTo>
                  <a:cubicBezTo>
                    <a:pt x="744" y="363"/>
                    <a:pt x="744" y="363"/>
                    <a:pt x="744" y="363"/>
                  </a:cubicBezTo>
                  <a:moveTo>
                    <a:pt x="728" y="380"/>
                  </a:moveTo>
                  <a:cubicBezTo>
                    <a:pt x="732" y="376"/>
                    <a:pt x="735" y="372"/>
                    <a:pt x="739" y="369"/>
                  </a:cubicBezTo>
                  <a:cubicBezTo>
                    <a:pt x="733" y="363"/>
                    <a:pt x="733" y="363"/>
                    <a:pt x="733" y="363"/>
                  </a:cubicBezTo>
                  <a:cubicBezTo>
                    <a:pt x="730" y="367"/>
                    <a:pt x="726" y="371"/>
                    <a:pt x="723" y="374"/>
                  </a:cubicBezTo>
                  <a:cubicBezTo>
                    <a:pt x="728" y="380"/>
                    <a:pt x="728" y="380"/>
                    <a:pt x="728" y="380"/>
                  </a:cubicBezTo>
                  <a:moveTo>
                    <a:pt x="710" y="395"/>
                  </a:moveTo>
                  <a:cubicBezTo>
                    <a:pt x="714" y="392"/>
                    <a:pt x="718" y="388"/>
                    <a:pt x="722" y="385"/>
                  </a:cubicBezTo>
                  <a:cubicBezTo>
                    <a:pt x="717" y="379"/>
                    <a:pt x="717" y="379"/>
                    <a:pt x="717" y="379"/>
                  </a:cubicBezTo>
                  <a:cubicBezTo>
                    <a:pt x="713" y="383"/>
                    <a:pt x="710" y="386"/>
                    <a:pt x="706" y="389"/>
                  </a:cubicBezTo>
                  <a:cubicBezTo>
                    <a:pt x="710" y="395"/>
                    <a:pt x="710" y="395"/>
                    <a:pt x="710" y="395"/>
                  </a:cubicBezTo>
                  <a:moveTo>
                    <a:pt x="691" y="408"/>
                  </a:moveTo>
                  <a:cubicBezTo>
                    <a:pt x="696" y="405"/>
                    <a:pt x="700" y="403"/>
                    <a:pt x="704" y="400"/>
                  </a:cubicBezTo>
                  <a:cubicBezTo>
                    <a:pt x="700" y="393"/>
                    <a:pt x="700" y="393"/>
                    <a:pt x="700" y="393"/>
                  </a:cubicBezTo>
                  <a:cubicBezTo>
                    <a:pt x="696" y="396"/>
                    <a:pt x="691" y="399"/>
                    <a:pt x="687" y="402"/>
                  </a:cubicBezTo>
                  <a:cubicBezTo>
                    <a:pt x="691" y="408"/>
                    <a:pt x="691" y="408"/>
                    <a:pt x="691" y="408"/>
                  </a:cubicBezTo>
                  <a:moveTo>
                    <a:pt x="671" y="419"/>
                  </a:moveTo>
                  <a:cubicBezTo>
                    <a:pt x="675" y="417"/>
                    <a:pt x="680" y="415"/>
                    <a:pt x="685" y="412"/>
                  </a:cubicBezTo>
                  <a:cubicBezTo>
                    <a:pt x="681" y="405"/>
                    <a:pt x="681" y="405"/>
                    <a:pt x="681" y="405"/>
                  </a:cubicBezTo>
                  <a:cubicBezTo>
                    <a:pt x="676" y="408"/>
                    <a:pt x="672" y="410"/>
                    <a:pt x="667" y="412"/>
                  </a:cubicBezTo>
                  <a:cubicBezTo>
                    <a:pt x="671" y="419"/>
                    <a:pt x="671" y="419"/>
                    <a:pt x="671" y="419"/>
                  </a:cubicBezTo>
                  <a:cubicBezTo>
                    <a:pt x="671" y="419"/>
                    <a:pt x="671" y="419"/>
                    <a:pt x="671" y="419"/>
                  </a:cubicBezTo>
                  <a:moveTo>
                    <a:pt x="649" y="428"/>
                  </a:moveTo>
                  <a:cubicBezTo>
                    <a:pt x="654" y="426"/>
                    <a:pt x="659" y="424"/>
                    <a:pt x="664" y="422"/>
                  </a:cubicBezTo>
                  <a:cubicBezTo>
                    <a:pt x="661" y="415"/>
                    <a:pt x="661" y="415"/>
                    <a:pt x="661" y="415"/>
                  </a:cubicBezTo>
                  <a:cubicBezTo>
                    <a:pt x="656" y="417"/>
                    <a:pt x="651" y="419"/>
                    <a:pt x="647" y="421"/>
                  </a:cubicBezTo>
                  <a:cubicBezTo>
                    <a:pt x="649" y="428"/>
                    <a:pt x="649" y="428"/>
                    <a:pt x="649" y="428"/>
                  </a:cubicBezTo>
                  <a:moveTo>
                    <a:pt x="627" y="434"/>
                  </a:moveTo>
                  <a:cubicBezTo>
                    <a:pt x="632" y="433"/>
                    <a:pt x="637" y="432"/>
                    <a:pt x="642" y="430"/>
                  </a:cubicBezTo>
                  <a:cubicBezTo>
                    <a:pt x="640" y="423"/>
                    <a:pt x="640" y="423"/>
                    <a:pt x="640" y="423"/>
                  </a:cubicBezTo>
                  <a:cubicBezTo>
                    <a:pt x="635" y="425"/>
                    <a:pt x="630" y="426"/>
                    <a:pt x="625" y="427"/>
                  </a:cubicBezTo>
                  <a:cubicBezTo>
                    <a:pt x="627" y="434"/>
                    <a:pt x="627" y="434"/>
                    <a:pt x="627" y="434"/>
                  </a:cubicBezTo>
                  <a:moveTo>
                    <a:pt x="604" y="438"/>
                  </a:moveTo>
                  <a:cubicBezTo>
                    <a:pt x="609" y="438"/>
                    <a:pt x="614" y="437"/>
                    <a:pt x="619" y="436"/>
                  </a:cubicBezTo>
                  <a:cubicBezTo>
                    <a:pt x="618" y="428"/>
                    <a:pt x="618" y="428"/>
                    <a:pt x="618" y="428"/>
                  </a:cubicBezTo>
                  <a:cubicBezTo>
                    <a:pt x="613" y="429"/>
                    <a:pt x="608" y="430"/>
                    <a:pt x="603" y="431"/>
                  </a:cubicBezTo>
                  <a:cubicBezTo>
                    <a:pt x="604" y="438"/>
                    <a:pt x="604" y="438"/>
                    <a:pt x="604" y="438"/>
                  </a:cubicBezTo>
                  <a:cubicBezTo>
                    <a:pt x="604" y="438"/>
                    <a:pt x="604" y="438"/>
                    <a:pt x="604" y="438"/>
                  </a:cubicBezTo>
                  <a:moveTo>
                    <a:pt x="581" y="440"/>
                  </a:moveTo>
                  <a:cubicBezTo>
                    <a:pt x="586" y="440"/>
                    <a:pt x="591" y="440"/>
                    <a:pt x="596" y="439"/>
                  </a:cubicBezTo>
                  <a:cubicBezTo>
                    <a:pt x="596" y="431"/>
                    <a:pt x="596" y="431"/>
                    <a:pt x="596" y="431"/>
                  </a:cubicBezTo>
                  <a:cubicBezTo>
                    <a:pt x="591" y="432"/>
                    <a:pt x="586" y="432"/>
                    <a:pt x="581" y="432"/>
                  </a:cubicBezTo>
                  <a:cubicBezTo>
                    <a:pt x="581" y="440"/>
                    <a:pt x="581" y="440"/>
                    <a:pt x="581" y="440"/>
                  </a:cubicBezTo>
                  <a:cubicBezTo>
                    <a:pt x="581" y="440"/>
                    <a:pt x="581" y="440"/>
                    <a:pt x="581" y="440"/>
                  </a:cubicBezTo>
                  <a:moveTo>
                    <a:pt x="558" y="440"/>
                  </a:moveTo>
                  <a:cubicBezTo>
                    <a:pt x="573" y="440"/>
                    <a:pt x="573" y="440"/>
                    <a:pt x="573" y="440"/>
                  </a:cubicBezTo>
                  <a:cubicBezTo>
                    <a:pt x="573" y="432"/>
                    <a:pt x="573" y="432"/>
                    <a:pt x="573" y="432"/>
                  </a:cubicBezTo>
                  <a:cubicBezTo>
                    <a:pt x="558" y="432"/>
                    <a:pt x="558" y="432"/>
                    <a:pt x="558" y="432"/>
                  </a:cubicBezTo>
                  <a:cubicBezTo>
                    <a:pt x="558" y="440"/>
                    <a:pt x="558" y="440"/>
                    <a:pt x="558" y="440"/>
                  </a:cubicBezTo>
                  <a:moveTo>
                    <a:pt x="535" y="440"/>
                  </a:moveTo>
                  <a:cubicBezTo>
                    <a:pt x="550" y="440"/>
                    <a:pt x="550" y="440"/>
                    <a:pt x="550" y="440"/>
                  </a:cubicBezTo>
                  <a:cubicBezTo>
                    <a:pt x="550" y="432"/>
                    <a:pt x="550" y="432"/>
                    <a:pt x="550" y="432"/>
                  </a:cubicBezTo>
                  <a:cubicBezTo>
                    <a:pt x="535" y="432"/>
                    <a:pt x="535" y="432"/>
                    <a:pt x="535" y="432"/>
                  </a:cubicBezTo>
                  <a:cubicBezTo>
                    <a:pt x="535" y="440"/>
                    <a:pt x="535" y="440"/>
                    <a:pt x="535" y="440"/>
                  </a:cubicBezTo>
                  <a:moveTo>
                    <a:pt x="512" y="440"/>
                  </a:moveTo>
                  <a:cubicBezTo>
                    <a:pt x="528" y="440"/>
                    <a:pt x="528" y="440"/>
                    <a:pt x="528" y="440"/>
                  </a:cubicBezTo>
                  <a:cubicBezTo>
                    <a:pt x="528" y="432"/>
                    <a:pt x="528" y="432"/>
                    <a:pt x="528" y="432"/>
                  </a:cubicBezTo>
                  <a:cubicBezTo>
                    <a:pt x="512" y="432"/>
                    <a:pt x="512" y="432"/>
                    <a:pt x="512" y="432"/>
                  </a:cubicBezTo>
                  <a:cubicBezTo>
                    <a:pt x="512" y="440"/>
                    <a:pt x="512" y="440"/>
                    <a:pt x="512"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6" y="440"/>
                    <a:pt x="436" y="440"/>
                    <a:pt x="436" y="440"/>
                  </a:cubicBezTo>
                  <a:cubicBezTo>
                    <a:pt x="436" y="432"/>
                    <a:pt x="436" y="432"/>
                    <a:pt x="436" y="432"/>
                  </a:cubicBezTo>
                  <a:cubicBezTo>
                    <a:pt x="421" y="432"/>
                    <a:pt x="421" y="432"/>
                    <a:pt x="421" y="432"/>
                  </a:cubicBezTo>
                  <a:cubicBezTo>
                    <a:pt x="421" y="440"/>
                    <a:pt x="421" y="440"/>
                    <a:pt x="421" y="440"/>
                  </a:cubicBezTo>
                  <a:moveTo>
                    <a:pt x="398" y="440"/>
                  </a:moveTo>
                  <a:cubicBezTo>
                    <a:pt x="413" y="440"/>
                    <a:pt x="413" y="440"/>
                    <a:pt x="413" y="440"/>
                  </a:cubicBezTo>
                  <a:cubicBezTo>
                    <a:pt x="413" y="432"/>
                    <a:pt x="413" y="432"/>
                    <a:pt x="413" y="432"/>
                  </a:cubicBezTo>
                  <a:cubicBezTo>
                    <a:pt x="398" y="432"/>
                    <a:pt x="398" y="432"/>
                    <a:pt x="398" y="432"/>
                  </a:cubicBezTo>
                  <a:cubicBezTo>
                    <a:pt x="398" y="440"/>
                    <a:pt x="398" y="440"/>
                    <a:pt x="398" y="440"/>
                  </a:cubicBezTo>
                  <a:moveTo>
                    <a:pt x="375" y="440"/>
                  </a:moveTo>
                  <a:cubicBezTo>
                    <a:pt x="391" y="440"/>
                    <a:pt x="391" y="440"/>
                    <a:pt x="391" y="440"/>
                  </a:cubicBezTo>
                  <a:cubicBezTo>
                    <a:pt x="391" y="432"/>
                    <a:pt x="391" y="432"/>
                    <a:pt x="391" y="432"/>
                  </a:cubicBezTo>
                  <a:cubicBezTo>
                    <a:pt x="375" y="432"/>
                    <a:pt x="375" y="432"/>
                    <a:pt x="375" y="432"/>
                  </a:cubicBezTo>
                  <a:cubicBezTo>
                    <a:pt x="375" y="440"/>
                    <a:pt x="375" y="440"/>
                    <a:pt x="375"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299" y="440"/>
                    <a:pt x="299" y="440"/>
                    <a:pt x="299" y="440"/>
                  </a:cubicBezTo>
                  <a:cubicBezTo>
                    <a:pt x="299" y="432"/>
                    <a:pt x="299" y="432"/>
                    <a:pt x="299" y="432"/>
                  </a:cubicBezTo>
                  <a:cubicBezTo>
                    <a:pt x="284" y="432"/>
                    <a:pt x="284" y="432"/>
                    <a:pt x="284" y="432"/>
                  </a:cubicBezTo>
                  <a:cubicBezTo>
                    <a:pt x="284" y="440"/>
                    <a:pt x="284" y="440"/>
                    <a:pt x="284" y="440"/>
                  </a:cubicBezTo>
                  <a:moveTo>
                    <a:pt x="261" y="440"/>
                  </a:moveTo>
                  <a:cubicBezTo>
                    <a:pt x="276" y="440"/>
                    <a:pt x="276" y="440"/>
                    <a:pt x="276" y="440"/>
                  </a:cubicBezTo>
                  <a:cubicBezTo>
                    <a:pt x="276" y="432"/>
                    <a:pt x="276" y="432"/>
                    <a:pt x="276" y="432"/>
                  </a:cubicBezTo>
                  <a:cubicBezTo>
                    <a:pt x="261" y="432"/>
                    <a:pt x="261" y="432"/>
                    <a:pt x="261" y="432"/>
                  </a:cubicBezTo>
                  <a:cubicBezTo>
                    <a:pt x="261" y="440"/>
                    <a:pt x="261" y="440"/>
                    <a:pt x="261" y="440"/>
                  </a:cubicBezTo>
                  <a:moveTo>
                    <a:pt x="238" y="440"/>
                  </a:moveTo>
                  <a:cubicBezTo>
                    <a:pt x="254" y="440"/>
                    <a:pt x="254" y="440"/>
                    <a:pt x="254" y="440"/>
                  </a:cubicBezTo>
                  <a:cubicBezTo>
                    <a:pt x="254" y="432"/>
                    <a:pt x="254" y="432"/>
                    <a:pt x="254" y="432"/>
                  </a:cubicBezTo>
                  <a:cubicBezTo>
                    <a:pt x="238" y="432"/>
                    <a:pt x="238" y="432"/>
                    <a:pt x="238" y="432"/>
                  </a:cubicBezTo>
                  <a:cubicBezTo>
                    <a:pt x="238" y="440"/>
                    <a:pt x="238" y="440"/>
                    <a:pt x="238"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ubicBezTo>
                    <a:pt x="169" y="435"/>
                    <a:pt x="169" y="435"/>
                    <a:pt x="169" y="435"/>
                  </a:cubicBezTo>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ubicBezTo>
                    <a:pt x="68" y="382"/>
                    <a:pt x="68" y="382"/>
                    <a:pt x="68" y="382"/>
                  </a:cubicBezTo>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ubicBezTo>
                    <a:pt x="52" y="365"/>
                    <a:pt x="52" y="365"/>
                    <a:pt x="52" y="365"/>
                  </a:cubicBezTo>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moveTo>
                    <a:pt x="25" y="327"/>
                  </a:moveTo>
                  <a:cubicBezTo>
                    <a:pt x="28" y="332"/>
                    <a:pt x="30" y="336"/>
                    <a:pt x="33" y="340"/>
                  </a:cubicBezTo>
                  <a:cubicBezTo>
                    <a:pt x="40" y="336"/>
                    <a:pt x="40" y="336"/>
                    <a:pt x="40" y="336"/>
                  </a:cubicBezTo>
                  <a:cubicBezTo>
                    <a:pt x="37" y="332"/>
                    <a:pt x="35" y="328"/>
                    <a:pt x="32" y="323"/>
                  </a:cubicBezTo>
                  <a:cubicBezTo>
                    <a:pt x="25" y="327"/>
                    <a:pt x="25" y="327"/>
                    <a:pt x="25" y="327"/>
                  </a:cubicBezTo>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moveTo>
                    <a:pt x="8" y="284"/>
                  </a:moveTo>
                  <a:cubicBezTo>
                    <a:pt x="9" y="289"/>
                    <a:pt x="11" y="294"/>
                    <a:pt x="13" y="299"/>
                  </a:cubicBezTo>
                  <a:cubicBezTo>
                    <a:pt x="20" y="296"/>
                    <a:pt x="20" y="296"/>
                    <a:pt x="20" y="296"/>
                  </a:cubicBezTo>
                  <a:cubicBezTo>
                    <a:pt x="18" y="291"/>
                    <a:pt x="17" y="287"/>
                    <a:pt x="15" y="282"/>
                  </a:cubicBezTo>
                  <a:cubicBezTo>
                    <a:pt x="8" y="284"/>
                    <a:pt x="8" y="284"/>
                    <a:pt x="8" y="284"/>
                  </a:cubicBezTo>
                  <a:cubicBezTo>
                    <a:pt x="8" y="284"/>
                    <a:pt x="8" y="284"/>
                    <a:pt x="8" y="284"/>
                  </a:cubicBezTo>
                  <a:moveTo>
                    <a:pt x="3" y="261"/>
                  </a:moveTo>
                  <a:cubicBezTo>
                    <a:pt x="4" y="266"/>
                    <a:pt x="5" y="272"/>
                    <a:pt x="6" y="276"/>
                  </a:cubicBezTo>
                  <a:cubicBezTo>
                    <a:pt x="13" y="275"/>
                    <a:pt x="13" y="275"/>
                    <a:pt x="13" y="275"/>
                  </a:cubicBezTo>
                  <a:cubicBezTo>
                    <a:pt x="12" y="270"/>
                    <a:pt x="11" y="265"/>
                    <a:pt x="10" y="260"/>
                  </a:cubicBezTo>
                  <a:cubicBezTo>
                    <a:pt x="3" y="261"/>
                    <a:pt x="3" y="261"/>
                    <a:pt x="3" y="261"/>
                  </a:cubicBezTo>
                  <a:moveTo>
                    <a:pt x="0" y="238"/>
                  </a:moveTo>
                  <a:cubicBezTo>
                    <a:pt x="0" y="243"/>
                    <a:pt x="1" y="249"/>
                    <a:pt x="2" y="254"/>
                  </a:cubicBezTo>
                  <a:cubicBezTo>
                    <a:pt x="9" y="253"/>
                    <a:pt x="9" y="253"/>
                    <a:pt x="9" y="253"/>
                  </a:cubicBezTo>
                  <a:cubicBezTo>
                    <a:pt x="9" y="248"/>
                    <a:pt x="8" y="243"/>
                    <a:pt x="8" y="238"/>
                  </a:cubicBezTo>
                  <a:cubicBezTo>
                    <a:pt x="0" y="238"/>
                    <a:pt x="0" y="238"/>
                    <a:pt x="0" y="238"/>
                  </a:cubicBezTo>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0" y="197"/>
                    <a:pt x="0" y="202"/>
                    <a:pt x="0" y="207"/>
                  </a:cubicBezTo>
                  <a:cubicBezTo>
                    <a:pt x="8" y="208"/>
                    <a:pt x="8" y="208"/>
                    <a:pt x="8" y="208"/>
                  </a:cubicBezTo>
                  <a:cubicBezTo>
                    <a:pt x="8" y="203"/>
                    <a:pt x="8" y="198"/>
                    <a:pt x="9" y="193"/>
                  </a:cubicBezTo>
                  <a:cubicBezTo>
                    <a:pt x="1" y="192"/>
                    <a:pt x="1" y="192"/>
                    <a:pt x="1" y="192"/>
                  </a:cubicBezTo>
                  <a:moveTo>
                    <a:pt x="5" y="169"/>
                  </a:moveTo>
                  <a:cubicBezTo>
                    <a:pt x="4" y="174"/>
                    <a:pt x="3" y="179"/>
                    <a:pt x="2" y="184"/>
                  </a:cubicBezTo>
                  <a:cubicBezTo>
                    <a:pt x="10" y="185"/>
                    <a:pt x="10" y="185"/>
                    <a:pt x="10" y="185"/>
                  </a:cubicBezTo>
                  <a:cubicBezTo>
                    <a:pt x="10" y="180"/>
                    <a:pt x="11" y="176"/>
                    <a:pt x="12" y="171"/>
                  </a:cubicBezTo>
                  <a:cubicBezTo>
                    <a:pt x="5" y="169"/>
                    <a:pt x="5" y="169"/>
                    <a:pt x="5" y="169"/>
                  </a:cubicBezTo>
                  <a:cubicBezTo>
                    <a:pt x="5" y="169"/>
                    <a:pt x="5" y="169"/>
                    <a:pt x="5" y="169"/>
                  </a:cubicBezTo>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noEditPoints="1"/>
            </p:cNvSpPr>
            <p:nvPr/>
          </p:nvSpPr>
          <p:spPr bwMode="auto">
            <a:xfrm>
              <a:off x="5289550" y="2951163"/>
              <a:ext cx="1200150"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788025" y="3530601"/>
              <a:ext cx="57150" cy="128588"/>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930900" y="3289301"/>
              <a:ext cx="52388" cy="125413"/>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noEditPoints="1"/>
            </p:cNvSpPr>
            <p:nvPr/>
          </p:nvSpPr>
          <p:spPr bwMode="auto">
            <a:xfrm>
              <a:off x="5630863" y="3203576"/>
              <a:ext cx="514350" cy="541338"/>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6"/>
            <p:cNvSpPr>
              <a:spLocks noChangeArrowheads="1"/>
            </p:cNvSpPr>
            <p:nvPr/>
          </p:nvSpPr>
          <p:spPr bwMode="auto">
            <a:xfrm>
              <a:off x="4868863" y="325913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7"/>
            <p:cNvSpPr>
              <a:spLocks noChangeArrowheads="1"/>
            </p:cNvSpPr>
            <p:nvPr/>
          </p:nvSpPr>
          <p:spPr bwMode="auto">
            <a:xfrm>
              <a:off x="4868863" y="325913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4910138" y="3300413"/>
              <a:ext cx="4381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60"/>
            <p:cNvSpPr>
              <a:spLocks noChangeArrowheads="1"/>
            </p:cNvSpPr>
            <p:nvPr/>
          </p:nvSpPr>
          <p:spPr bwMode="auto">
            <a:xfrm>
              <a:off x="4910138" y="3300413"/>
              <a:ext cx="438150" cy="339725"/>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61"/>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5100638" y="3451226"/>
              <a:ext cx="247650" cy="188913"/>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4995863" y="3492501"/>
              <a:ext cx="307975" cy="147638"/>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4951413" y="3341688"/>
              <a:ext cx="201613" cy="131763"/>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6" name="Group 115"/>
          <p:cNvGrpSpPr/>
          <p:nvPr/>
        </p:nvGrpSpPr>
        <p:grpSpPr>
          <a:xfrm>
            <a:off x="7165975" y="2630488"/>
            <a:ext cx="3063876" cy="2019300"/>
            <a:chOff x="7165975" y="2630488"/>
            <a:chExt cx="3063876" cy="2019300"/>
          </a:xfrm>
        </p:grpSpPr>
        <p:sp>
          <p:nvSpPr>
            <p:cNvPr id="13" name="Freeform 13"/>
            <p:cNvSpPr>
              <a:spLocks noEditPoints="1"/>
            </p:cNvSpPr>
            <p:nvPr/>
          </p:nvSpPr>
          <p:spPr bwMode="auto">
            <a:xfrm>
              <a:off x="7165975"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p:cNvSpPr>
            <p:nvPr/>
          </p:nvSpPr>
          <p:spPr bwMode="auto">
            <a:xfrm>
              <a:off x="7440613"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5"/>
            <p:cNvSpPr>
              <a:spLocks noChangeArrowheads="1"/>
            </p:cNvSpPr>
            <p:nvPr/>
          </p:nvSpPr>
          <p:spPr bwMode="auto">
            <a:xfrm>
              <a:off x="8848725" y="3444876"/>
              <a:ext cx="404813" cy="28575"/>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Rectangle 16"/>
            <p:cNvSpPr>
              <a:spLocks noChangeArrowheads="1"/>
            </p:cNvSpPr>
            <p:nvPr/>
          </p:nvSpPr>
          <p:spPr bwMode="auto">
            <a:xfrm>
              <a:off x="8848725" y="3444876"/>
              <a:ext cx="404813" cy="2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 name="T8" fmla="*/ 14 w 194"/>
                <a:gd name="T9" fmla="*/ 194 h 194"/>
              </a:gdLst>
              <a:ahLst/>
              <a:cxnLst>
                <a:cxn ang="0">
                  <a:pos x="T0" y="T1"/>
                </a:cxn>
                <a:cxn ang="0">
                  <a:pos x="T2" y="T3"/>
                </a:cxn>
                <a:cxn ang="0">
                  <a:pos x="T4" y="T5"/>
                </a:cxn>
                <a:cxn ang="0">
                  <a:pos x="T6" y="T7"/>
                </a:cxn>
                <a:cxn ang="0">
                  <a:pos x="T8" y="T9"/>
                </a:cxn>
              </a:cxnLst>
              <a:rect l="0" t="0" r="r" b="b"/>
              <a:pathLst>
                <a:path w="194" h="194">
                  <a:moveTo>
                    <a:pt x="14" y="194"/>
                  </a:moveTo>
                  <a:lnTo>
                    <a:pt x="194" y="11"/>
                  </a:lnTo>
                  <a:lnTo>
                    <a:pt x="179" y="0"/>
                  </a:lnTo>
                  <a:lnTo>
                    <a:pt x="0" y="180"/>
                  </a:lnTo>
                  <a:lnTo>
                    <a:pt x="14" y="1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Lst>
              <a:ahLst/>
              <a:cxnLst>
                <a:cxn ang="0">
                  <a:pos x="T0" y="T1"/>
                </a:cxn>
                <a:cxn ang="0">
                  <a:pos x="T2" y="T3"/>
                </a:cxn>
                <a:cxn ang="0">
                  <a:pos x="T4" y="T5"/>
                </a:cxn>
                <a:cxn ang="0">
                  <a:pos x="T6" y="T7"/>
                </a:cxn>
              </a:cxnLst>
              <a:rect l="0" t="0" r="r" b="b"/>
              <a:pathLst>
                <a:path w="194" h="194">
                  <a:moveTo>
                    <a:pt x="14" y="194"/>
                  </a:moveTo>
                  <a:lnTo>
                    <a:pt x="194" y="11"/>
                  </a:lnTo>
                  <a:lnTo>
                    <a:pt x="179" y="0"/>
                  </a:lnTo>
                  <a:lnTo>
                    <a:pt x="0" y="1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 name="T8" fmla="*/ 0 w 194"/>
                <a:gd name="T9" fmla="*/ 14 h 194"/>
              </a:gdLst>
              <a:ahLst/>
              <a:cxnLst>
                <a:cxn ang="0">
                  <a:pos x="T0" y="T1"/>
                </a:cxn>
                <a:cxn ang="0">
                  <a:pos x="T2" y="T3"/>
                </a:cxn>
                <a:cxn ang="0">
                  <a:pos x="T4" y="T5"/>
                </a:cxn>
                <a:cxn ang="0">
                  <a:pos x="T6" y="T7"/>
                </a:cxn>
                <a:cxn ang="0">
                  <a:pos x="T8" y="T9"/>
                </a:cxn>
              </a:cxnLst>
              <a:rect l="0" t="0" r="r" b="b"/>
              <a:pathLst>
                <a:path w="194" h="194">
                  <a:moveTo>
                    <a:pt x="0" y="14"/>
                  </a:moveTo>
                  <a:lnTo>
                    <a:pt x="179" y="194"/>
                  </a:lnTo>
                  <a:lnTo>
                    <a:pt x="194" y="180"/>
                  </a:lnTo>
                  <a:lnTo>
                    <a:pt x="14"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Lst>
              <a:ahLst/>
              <a:cxnLst>
                <a:cxn ang="0">
                  <a:pos x="T0" y="T1"/>
                </a:cxn>
                <a:cxn ang="0">
                  <a:pos x="T2" y="T3"/>
                </a:cxn>
                <a:cxn ang="0">
                  <a:pos x="T4" y="T5"/>
                </a:cxn>
                <a:cxn ang="0">
                  <a:pos x="T6" y="T7"/>
                </a:cxn>
              </a:cxnLst>
              <a:rect l="0" t="0" r="r" b="b"/>
              <a:pathLst>
                <a:path w="194" h="194">
                  <a:moveTo>
                    <a:pt x="0" y="14"/>
                  </a:moveTo>
                  <a:lnTo>
                    <a:pt x="179" y="194"/>
                  </a:lnTo>
                  <a:lnTo>
                    <a:pt x="194" y="18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8161338"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7688263"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Rectangle 71"/>
            <p:cNvSpPr>
              <a:spLocks noChangeArrowheads="1"/>
            </p:cNvSpPr>
            <p:nvPr/>
          </p:nvSpPr>
          <p:spPr bwMode="auto">
            <a:xfrm>
              <a:off x="8074025" y="4344988"/>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 name="Rectangle 72"/>
            <p:cNvSpPr>
              <a:spLocks noChangeArrowheads="1"/>
            </p:cNvSpPr>
            <p:nvPr/>
          </p:nvSpPr>
          <p:spPr bwMode="auto">
            <a:xfrm>
              <a:off x="8172450"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 name="Rectangle 73"/>
            <p:cNvSpPr>
              <a:spLocks noChangeArrowheads="1"/>
            </p:cNvSpPr>
            <p:nvPr/>
          </p:nvSpPr>
          <p:spPr bwMode="auto">
            <a:xfrm>
              <a:off x="8228013" y="4344988"/>
              <a:ext cx="1854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duces scaled imag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 name="Freeform 74"/>
            <p:cNvSpPr>
              <a:spLocks noEditPoints="1"/>
            </p:cNvSpPr>
            <p:nvPr/>
          </p:nvSpPr>
          <p:spPr bwMode="auto">
            <a:xfrm>
              <a:off x="7713663" y="2630488"/>
              <a:ext cx="2516188" cy="1657350"/>
            </a:xfrm>
            <a:custGeom>
              <a:avLst/>
              <a:gdLst>
                <a:gd name="T0" fmla="*/ 180 w 670"/>
                <a:gd name="T1" fmla="*/ 3 h 440"/>
                <a:gd name="T2" fmla="*/ 188 w 670"/>
                <a:gd name="T3" fmla="*/ 2 h 440"/>
                <a:gd name="T4" fmla="*/ 211 w 670"/>
                <a:gd name="T5" fmla="*/ 0 h 440"/>
                <a:gd name="T6" fmla="*/ 234 w 670"/>
                <a:gd name="T7" fmla="*/ 0 h 440"/>
                <a:gd name="T8" fmla="*/ 257 w 670"/>
                <a:gd name="T9" fmla="*/ 8 h 440"/>
                <a:gd name="T10" fmla="*/ 295 w 670"/>
                <a:gd name="T11" fmla="*/ 8 h 440"/>
                <a:gd name="T12" fmla="*/ 318 w 670"/>
                <a:gd name="T13" fmla="*/ 0 h 440"/>
                <a:gd name="T14" fmla="*/ 363 w 670"/>
                <a:gd name="T15" fmla="*/ 0 h 440"/>
                <a:gd name="T16" fmla="*/ 371 w 670"/>
                <a:gd name="T17" fmla="*/ 0 h 440"/>
                <a:gd name="T18" fmla="*/ 394 w 670"/>
                <a:gd name="T19" fmla="*/ 8 h 440"/>
                <a:gd name="T20" fmla="*/ 432 w 670"/>
                <a:gd name="T21" fmla="*/ 8 h 440"/>
                <a:gd name="T22" fmla="*/ 455 w 670"/>
                <a:gd name="T23" fmla="*/ 0 h 440"/>
                <a:gd name="T24" fmla="*/ 501 w 670"/>
                <a:gd name="T25" fmla="*/ 5 h 440"/>
                <a:gd name="T26" fmla="*/ 508 w 670"/>
                <a:gd name="T27" fmla="*/ 7 h 440"/>
                <a:gd name="T28" fmla="*/ 528 w 670"/>
                <a:gd name="T29" fmla="*/ 21 h 440"/>
                <a:gd name="T30" fmla="*/ 561 w 670"/>
                <a:gd name="T31" fmla="*/ 37 h 440"/>
                <a:gd name="T32" fmla="*/ 585 w 670"/>
                <a:gd name="T33" fmla="*/ 43 h 440"/>
                <a:gd name="T34" fmla="*/ 618 w 670"/>
                <a:gd name="T35" fmla="*/ 75 h 440"/>
                <a:gd name="T36" fmla="*/ 623 w 670"/>
                <a:gd name="T37" fmla="*/ 81 h 440"/>
                <a:gd name="T38" fmla="*/ 630 w 670"/>
                <a:gd name="T39" fmla="*/ 104 h 440"/>
                <a:gd name="T40" fmla="*/ 647 w 670"/>
                <a:gd name="T41" fmla="*/ 137 h 440"/>
                <a:gd name="T42" fmla="*/ 662 w 670"/>
                <a:gd name="T43" fmla="*/ 156 h 440"/>
                <a:gd name="T44" fmla="*/ 669 w 670"/>
                <a:gd name="T45" fmla="*/ 202 h 440"/>
                <a:gd name="T46" fmla="*/ 670 w 670"/>
                <a:gd name="T47" fmla="*/ 214 h 440"/>
                <a:gd name="T48" fmla="*/ 669 w 670"/>
                <a:gd name="T49" fmla="*/ 248 h 440"/>
                <a:gd name="T50" fmla="*/ 668 w 670"/>
                <a:gd name="T51" fmla="*/ 256 h 440"/>
                <a:gd name="T52" fmla="*/ 656 w 670"/>
                <a:gd name="T53" fmla="*/ 277 h 440"/>
                <a:gd name="T54" fmla="*/ 643 w 670"/>
                <a:gd name="T55" fmla="*/ 312 h 440"/>
                <a:gd name="T56" fmla="*/ 639 w 670"/>
                <a:gd name="T57" fmla="*/ 336 h 440"/>
                <a:gd name="T58" fmla="*/ 611 w 670"/>
                <a:gd name="T59" fmla="*/ 373 h 440"/>
                <a:gd name="T60" fmla="*/ 606 w 670"/>
                <a:gd name="T61" fmla="*/ 378 h 440"/>
                <a:gd name="T62" fmla="*/ 583 w 670"/>
                <a:gd name="T63" fmla="*/ 388 h 440"/>
                <a:gd name="T64" fmla="*/ 552 w 670"/>
                <a:gd name="T65" fmla="*/ 408 h 440"/>
                <a:gd name="T66" fmla="*/ 535 w 670"/>
                <a:gd name="T67" fmla="*/ 425 h 440"/>
                <a:gd name="T68" fmla="*/ 490 w 670"/>
                <a:gd name="T69" fmla="*/ 437 h 440"/>
                <a:gd name="T70" fmla="*/ 482 w 670"/>
                <a:gd name="T71" fmla="*/ 438 h 440"/>
                <a:gd name="T72" fmla="*/ 459 w 670"/>
                <a:gd name="T73" fmla="*/ 440 h 440"/>
                <a:gd name="T74" fmla="*/ 436 w 670"/>
                <a:gd name="T75" fmla="*/ 440 h 440"/>
                <a:gd name="T76" fmla="*/ 413 w 670"/>
                <a:gd name="T77" fmla="*/ 432 h 440"/>
                <a:gd name="T78" fmla="*/ 375 w 670"/>
                <a:gd name="T79" fmla="*/ 432 h 440"/>
                <a:gd name="T80" fmla="*/ 353 w 670"/>
                <a:gd name="T81" fmla="*/ 440 h 440"/>
                <a:gd name="T82" fmla="*/ 307 w 670"/>
                <a:gd name="T83" fmla="*/ 440 h 440"/>
                <a:gd name="T84" fmla="*/ 299 w 670"/>
                <a:gd name="T85" fmla="*/ 440 h 440"/>
                <a:gd name="T86" fmla="*/ 276 w 670"/>
                <a:gd name="T87" fmla="*/ 432 h 440"/>
                <a:gd name="T88" fmla="*/ 238 w 670"/>
                <a:gd name="T89" fmla="*/ 432 h 440"/>
                <a:gd name="T90" fmla="*/ 216 w 670"/>
                <a:gd name="T91" fmla="*/ 440 h 440"/>
                <a:gd name="T92" fmla="*/ 169 w 670"/>
                <a:gd name="T93" fmla="*/ 435 h 440"/>
                <a:gd name="T94" fmla="*/ 162 w 670"/>
                <a:gd name="T95" fmla="*/ 433 h 440"/>
                <a:gd name="T96" fmla="*/ 142 w 670"/>
                <a:gd name="T97" fmla="*/ 419 h 440"/>
                <a:gd name="T98" fmla="*/ 109 w 670"/>
                <a:gd name="T99" fmla="*/ 403 h 440"/>
                <a:gd name="T100" fmla="*/ 86 w 670"/>
                <a:gd name="T101" fmla="*/ 397 h 440"/>
                <a:gd name="T102" fmla="*/ 52 w 670"/>
                <a:gd name="T103" fmla="*/ 365 h 440"/>
                <a:gd name="T104" fmla="*/ 47 w 670"/>
                <a:gd name="T105" fmla="*/ 359 h 440"/>
                <a:gd name="T106" fmla="*/ 40 w 670"/>
                <a:gd name="T107" fmla="*/ 336 h 440"/>
                <a:gd name="T108" fmla="*/ 23 w 670"/>
                <a:gd name="T109" fmla="*/ 303 h 440"/>
                <a:gd name="T110" fmla="*/ 8 w 670"/>
                <a:gd name="T111" fmla="*/ 284 h 440"/>
                <a:gd name="T112" fmla="*/ 0 w 670"/>
                <a:gd name="T113" fmla="*/ 238 h 440"/>
                <a:gd name="T114" fmla="*/ 0 w 670"/>
                <a:gd name="T115" fmla="*/ 226 h 440"/>
                <a:gd name="T116" fmla="*/ 1 w 670"/>
                <a:gd name="T117" fmla="*/ 192 h 440"/>
                <a:gd name="T118" fmla="*/ 2 w 670"/>
                <a:gd name="T119" fmla="*/ 184 h 440"/>
                <a:gd name="T120" fmla="*/ 14 w 670"/>
                <a:gd name="T121" fmla="*/ 163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0" h="440">
                  <a:moveTo>
                    <a:pt x="158" y="8"/>
                  </a:moveTo>
                  <a:cubicBezTo>
                    <a:pt x="155" y="8"/>
                    <a:pt x="151" y="9"/>
                    <a:pt x="148" y="10"/>
                  </a:cubicBezTo>
                  <a:cubicBezTo>
                    <a:pt x="151" y="18"/>
                    <a:pt x="151" y="18"/>
                    <a:pt x="151" y="18"/>
                  </a:cubicBezTo>
                  <a:cubicBezTo>
                    <a:pt x="154" y="17"/>
                    <a:pt x="157" y="16"/>
                    <a:pt x="160" y="15"/>
                  </a:cubicBezTo>
                  <a:cubicBezTo>
                    <a:pt x="158" y="8"/>
                    <a:pt x="158" y="8"/>
                    <a:pt x="158" y="8"/>
                  </a:cubicBezTo>
                  <a:close/>
                  <a:moveTo>
                    <a:pt x="180" y="3"/>
                  </a:moveTo>
                  <a:cubicBezTo>
                    <a:pt x="175" y="3"/>
                    <a:pt x="170" y="4"/>
                    <a:pt x="165" y="6"/>
                  </a:cubicBezTo>
                  <a:cubicBezTo>
                    <a:pt x="167" y="13"/>
                    <a:pt x="167" y="13"/>
                    <a:pt x="167" y="13"/>
                  </a:cubicBezTo>
                  <a:cubicBezTo>
                    <a:pt x="172" y="12"/>
                    <a:pt x="177" y="11"/>
                    <a:pt x="181" y="10"/>
                  </a:cubicBezTo>
                  <a:cubicBezTo>
                    <a:pt x="180" y="3"/>
                    <a:pt x="180" y="3"/>
                    <a:pt x="180" y="3"/>
                  </a:cubicBezTo>
                  <a:close/>
                  <a:moveTo>
                    <a:pt x="203" y="0"/>
                  </a:moveTo>
                  <a:cubicBezTo>
                    <a:pt x="198" y="1"/>
                    <a:pt x="193" y="1"/>
                    <a:pt x="188" y="2"/>
                  </a:cubicBezTo>
                  <a:cubicBezTo>
                    <a:pt x="189" y="9"/>
                    <a:pt x="189" y="9"/>
                    <a:pt x="189" y="9"/>
                  </a:cubicBezTo>
                  <a:cubicBezTo>
                    <a:pt x="194" y="9"/>
                    <a:pt x="199" y="8"/>
                    <a:pt x="204" y="8"/>
                  </a:cubicBezTo>
                  <a:cubicBezTo>
                    <a:pt x="203" y="0"/>
                    <a:pt x="203" y="0"/>
                    <a:pt x="203" y="0"/>
                  </a:cubicBezTo>
                  <a:close/>
                  <a:moveTo>
                    <a:pt x="226" y="0"/>
                  </a:moveTo>
                  <a:cubicBezTo>
                    <a:pt x="214" y="0"/>
                    <a:pt x="214" y="0"/>
                    <a:pt x="214" y="0"/>
                  </a:cubicBezTo>
                  <a:cubicBezTo>
                    <a:pt x="213" y="0"/>
                    <a:pt x="212" y="0"/>
                    <a:pt x="211" y="0"/>
                  </a:cubicBezTo>
                  <a:cubicBezTo>
                    <a:pt x="211" y="8"/>
                    <a:pt x="211" y="8"/>
                    <a:pt x="211" y="8"/>
                  </a:cubicBezTo>
                  <a:cubicBezTo>
                    <a:pt x="212" y="8"/>
                    <a:pt x="213" y="8"/>
                    <a:pt x="214" y="8"/>
                  </a:cubicBezTo>
                  <a:cubicBezTo>
                    <a:pt x="226" y="8"/>
                    <a:pt x="226" y="8"/>
                    <a:pt x="226" y="8"/>
                  </a:cubicBezTo>
                  <a:cubicBezTo>
                    <a:pt x="226" y="0"/>
                    <a:pt x="226" y="0"/>
                    <a:pt x="226" y="0"/>
                  </a:cubicBezTo>
                  <a:close/>
                  <a:moveTo>
                    <a:pt x="249" y="0"/>
                  </a:moveTo>
                  <a:cubicBezTo>
                    <a:pt x="234" y="0"/>
                    <a:pt x="234" y="0"/>
                    <a:pt x="234" y="0"/>
                  </a:cubicBezTo>
                  <a:cubicBezTo>
                    <a:pt x="234" y="8"/>
                    <a:pt x="234" y="8"/>
                    <a:pt x="234" y="8"/>
                  </a:cubicBezTo>
                  <a:cubicBezTo>
                    <a:pt x="249" y="8"/>
                    <a:pt x="249" y="8"/>
                    <a:pt x="249" y="8"/>
                  </a:cubicBezTo>
                  <a:lnTo>
                    <a:pt x="249" y="0"/>
                  </a:lnTo>
                  <a:close/>
                  <a:moveTo>
                    <a:pt x="272" y="0"/>
                  </a:moveTo>
                  <a:cubicBezTo>
                    <a:pt x="257" y="0"/>
                    <a:pt x="257" y="0"/>
                    <a:pt x="257" y="0"/>
                  </a:cubicBezTo>
                  <a:cubicBezTo>
                    <a:pt x="257" y="8"/>
                    <a:pt x="257" y="8"/>
                    <a:pt x="257" y="8"/>
                  </a:cubicBezTo>
                  <a:cubicBezTo>
                    <a:pt x="272" y="8"/>
                    <a:pt x="272" y="8"/>
                    <a:pt x="272" y="8"/>
                  </a:cubicBezTo>
                  <a:lnTo>
                    <a:pt x="272" y="0"/>
                  </a:lnTo>
                  <a:close/>
                  <a:moveTo>
                    <a:pt x="295" y="0"/>
                  </a:moveTo>
                  <a:cubicBezTo>
                    <a:pt x="280" y="0"/>
                    <a:pt x="280" y="0"/>
                    <a:pt x="280" y="0"/>
                  </a:cubicBezTo>
                  <a:cubicBezTo>
                    <a:pt x="280" y="8"/>
                    <a:pt x="280" y="8"/>
                    <a:pt x="280" y="8"/>
                  </a:cubicBezTo>
                  <a:cubicBezTo>
                    <a:pt x="295" y="8"/>
                    <a:pt x="295" y="8"/>
                    <a:pt x="295" y="8"/>
                  </a:cubicBezTo>
                  <a:lnTo>
                    <a:pt x="295" y="0"/>
                  </a:lnTo>
                  <a:close/>
                  <a:moveTo>
                    <a:pt x="318" y="0"/>
                  </a:moveTo>
                  <a:cubicBezTo>
                    <a:pt x="302" y="0"/>
                    <a:pt x="302" y="0"/>
                    <a:pt x="302" y="0"/>
                  </a:cubicBezTo>
                  <a:cubicBezTo>
                    <a:pt x="302" y="8"/>
                    <a:pt x="302" y="8"/>
                    <a:pt x="302" y="8"/>
                  </a:cubicBezTo>
                  <a:cubicBezTo>
                    <a:pt x="318" y="8"/>
                    <a:pt x="318" y="8"/>
                    <a:pt x="318" y="8"/>
                  </a:cubicBezTo>
                  <a:lnTo>
                    <a:pt x="318" y="0"/>
                  </a:lnTo>
                  <a:close/>
                  <a:moveTo>
                    <a:pt x="341" y="0"/>
                  </a:moveTo>
                  <a:cubicBezTo>
                    <a:pt x="325" y="0"/>
                    <a:pt x="325" y="0"/>
                    <a:pt x="325" y="0"/>
                  </a:cubicBezTo>
                  <a:cubicBezTo>
                    <a:pt x="325" y="8"/>
                    <a:pt x="325" y="8"/>
                    <a:pt x="325" y="8"/>
                  </a:cubicBezTo>
                  <a:cubicBezTo>
                    <a:pt x="341" y="8"/>
                    <a:pt x="341" y="8"/>
                    <a:pt x="341" y="8"/>
                  </a:cubicBezTo>
                  <a:lnTo>
                    <a:pt x="341" y="0"/>
                  </a:lnTo>
                  <a:close/>
                  <a:moveTo>
                    <a:pt x="363" y="0"/>
                  </a:moveTo>
                  <a:cubicBezTo>
                    <a:pt x="348" y="0"/>
                    <a:pt x="348" y="0"/>
                    <a:pt x="348" y="0"/>
                  </a:cubicBezTo>
                  <a:cubicBezTo>
                    <a:pt x="348" y="8"/>
                    <a:pt x="348" y="8"/>
                    <a:pt x="348" y="8"/>
                  </a:cubicBezTo>
                  <a:cubicBezTo>
                    <a:pt x="363" y="8"/>
                    <a:pt x="363" y="8"/>
                    <a:pt x="363" y="8"/>
                  </a:cubicBezTo>
                  <a:lnTo>
                    <a:pt x="363" y="0"/>
                  </a:lnTo>
                  <a:close/>
                  <a:moveTo>
                    <a:pt x="386" y="0"/>
                  </a:moveTo>
                  <a:cubicBezTo>
                    <a:pt x="371" y="0"/>
                    <a:pt x="371" y="0"/>
                    <a:pt x="371" y="0"/>
                  </a:cubicBezTo>
                  <a:cubicBezTo>
                    <a:pt x="371" y="8"/>
                    <a:pt x="371" y="8"/>
                    <a:pt x="371" y="8"/>
                  </a:cubicBezTo>
                  <a:cubicBezTo>
                    <a:pt x="386" y="8"/>
                    <a:pt x="386" y="8"/>
                    <a:pt x="386" y="8"/>
                  </a:cubicBezTo>
                  <a:lnTo>
                    <a:pt x="386" y="0"/>
                  </a:lnTo>
                  <a:close/>
                  <a:moveTo>
                    <a:pt x="409" y="0"/>
                  </a:moveTo>
                  <a:cubicBezTo>
                    <a:pt x="394" y="0"/>
                    <a:pt x="394" y="0"/>
                    <a:pt x="394" y="0"/>
                  </a:cubicBezTo>
                  <a:cubicBezTo>
                    <a:pt x="394" y="8"/>
                    <a:pt x="394" y="8"/>
                    <a:pt x="394" y="8"/>
                  </a:cubicBezTo>
                  <a:cubicBezTo>
                    <a:pt x="409" y="8"/>
                    <a:pt x="409" y="8"/>
                    <a:pt x="409" y="8"/>
                  </a:cubicBezTo>
                  <a:lnTo>
                    <a:pt x="409" y="0"/>
                  </a:lnTo>
                  <a:close/>
                  <a:moveTo>
                    <a:pt x="432" y="0"/>
                  </a:moveTo>
                  <a:cubicBezTo>
                    <a:pt x="417" y="0"/>
                    <a:pt x="417" y="0"/>
                    <a:pt x="417" y="0"/>
                  </a:cubicBezTo>
                  <a:cubicBezTo>
                    <a:pt x="417" y="8"/>
                    <a:pt x="417" y="8"/>
                    <a:pt x="417" y="8"/>
                  </a:cubicBezTo>
                  <a:cubicBezTo>
                    <a:pt x="432" y="8"/>
                    <a:pt x="432" y="8"/>
                    <a:pt x="432" y="8"/>
                  </a:cubicBezTo>
                  <a:lnTo>
                    <a:pt x="432" y="0"/>
                  </a:lnTo>
                  <a:close/>
                  <a:moveTo>
                    <a:pt x="455" y="0"/>
                  </a:moveTo>
                  <a:cubicBezTo>
                    <a:pt x="439" y="0"/>
                    <a:pt x="439" y="0"/>
                    <a:pt x="439" y="0"/>
                  </a:cubicBezTo>
                  <a:cubicBezTo>
                    <a:pt x="439" y="8"/>
                    <a:pt x="439" y="8"/>
                    <a:pt x="439" y="8"/>
                  </a:cubicBezTo>
                  <a:cubicBezTo>
                    <a:pt x="455" y="8"/>
                    <a:pt x="455" y="8"/>
                    <a:pt x="455" y="8"/>
                  </a:cubicBezTo>
                  <a:lnTo>
                    <a:pt x="455" y="0"/>
                  </a:lnTo>
                  <a:close/>
                  <a:moveTo>
                    <a:pt x="478" y="1"/>
                  </a:moveTo>
                  <a:cubicBezTo>
                    <a:pt x="473" y="1"/>
                    <a:pt x="468" y="0"/>
                    <a:pt x="462" y="0"/>
                  </a:cubicBezTo>
                  <a:cubicBezTo>
                    <a:pt x="462" y="8"/>
                    <a:pt x="462" y="8"/>
                    <a:pt x="462" y="8"/>
                  </a:cubicBezTo>
                  <a:cubicBezTo>
                    <a:pt x="467" y="8"/>
                    <a:pt x="472" y="8"/>
                    <a:pt x="477" y="9"/>
                  </a:cubicBezTo>
                  <a:lnTo>
                    <a:pt x="478" y="1"/>
                  </a:lnTo>
                  <a:close/>
                  <a:moveTo>
                    <a:pt x="501" y="5"/>
                  </a:moveTo>
                  <a:cubicBezTo>
                    <a:pt x="496" y="4"/>
                    <a:pt x="491" y="3"/>
                    <a:pt x="486" y="2"/>
                  </a:cubicBezTo>
                  <a:cubicBezTo>
                    <a:pt x="484" y="10"/>
                    <a:pt x="484" y="10"/>
                    <a:pt x="484" y="10"/>
                  </a:cubicBezTo>
                  <a:cubicBezTo>
                    <a:pt x="489" y="10"/>
                    <a:pt x="494" y="11"/>
                    <a:pt x="499" y="12"/>
                  </a:cubicBezTo>
                  <a:cubicBezTo>
                    <a:pt x="501" y="5"/>
                    <a:pt x="501" y="5"/>
                    <a:pt x="501" y="5"/>
                  </a:cubicBezTo>
                  <a:close/>
                  <a:moveTo>
                    <a:pt x="523" y="11"/>
                  </a:moveTo>
                  <a:cubicBezTo>
                    <a:pt x="518" y="9"/>
                    <a:pt x="513" y="8"/>
                    <a:pt x="508" y="7"/>
                  </a:cubicBezTo>
                  <a:cubicBezTo>
                    <a:pt x="506" y="14"/>
                    <a:pt x="506" y="14"/>
                    <a:pt x="506" y="14"/>
                  </a:cubicBezTo>
                  <a:cubicBezTo>
                    <a:pt x="511" y="15"/>
                    <a:pt x="516" y="17"/>
                    <a:pt x="521" y="18"/>
                  </a:cubicBezTo>
                  <a:cubicBezTo>
                    <a:pt x="523" y="11"/>
                    <a:pt x="523" y="11"/>
                    <a:pt x="523" y="11"/>
                  </a:cubicBezTo>
                  <a:close/>
                  <a:moveTo>
                    <a:pt x="545" y="19"/>
                  </a:moveTo>
                  <a:cubicBezTo>
                    <a:pt x="540" y="17"/>
                    <a:pt x="535" y="15"/>
                    <a:pt x="530" y="14"/>
                  </a:cubicBezTo>
                  <a:cubicBezTo>
                    <a:pt x="528" y="21"/>
                    <a:pt x="528" y="21"/>
                    <a:pt x="528" y="21"/>
                  </a:cubicBezTo>
                  <a:cubicBezTo>
                    <a:pt x="532" y="23"/>
                    <a:pt x="537" y="24"/>
                    <a:pt x="542" y="27"/>
                  </a:cubicBezTo>
                  <a:cubicBezTo>
                    <a:pt x="545" y="19"/>
                    <a:pt x="545" y="19"/>
                    <a:pt x="545" y="19"/>
                  </a:cubicBezTo>
                  <a:close/>
                  <a:moveTo>
                    <a:pt x="565" y="30"/>
                  </a:moveTo>
                  <a:cubicBezTo>
                    <a:pt x="561" y="28"/>
                    <a:pt x="556" y="25"/>
                    <a:pt x="552" y="23"/>
                  </a:cubicBezTo>
                  <a:cubicBezTo>
                    <a:pt x="548" y="30"/>
                    <a:pt x="548" y="30"/>
                    <a:pt x="548" y="30"/>
                  </a:cubicBezTo>
                  <a:cubicBezTo>
                    <a:pt x="553" y="32"/>
                    <a:pt x="557" y="34"/>
                    <a:pt x="561" y="37"/>
                  </a:cubicBezTo>
                  <a:cubicBezTo>
                    <a:pt x="565" y="30"/>
                    <a:pt x="565" y="30"/>
                    <a:pt x="565" y="30"/>
                  </a:cubicBezTo>
                  <a:close/>
                  <a:moveTo>
                    <a:pt x="585" y="43"/>
                  </a:moveTo>
                  <a:cubicBezTo>
                    <a:pt x="580" y="40"/>
                    <a:pt x="576" y="37"/>
                    <a:pt x="572" y="34"/>
                  </a:cubicBezTo>
                  <a:cubicBezTo>
                    <a:pt x="568" y="41"/>
                    <a:pt x="568" y="41"/>
                    <a:pt x="568" y="41"/>
                  </a:cubicBezTo>
                  <a:cubicBezTo>
                    <a:pt x="572" y="44"/>
                    <a:pt x="576" y="46"/>
                    <a:pt x="580" y="49"/>
                  </a:cubicBezTo>
                  <a:lnTo>
                    <a:pt x="585" y="43"/>
                  </a:lnTo>
                  <a:close/>
                  <a:moveTo>
                    <a:pt x="602" y="58"/>
                  </a:moveTo>
                  <a:cubicBezTo>
                    <a:pt x="599" y="55"/>
                    <a:pt x="595" y="51"/>
                    <a:pt x="591" y="48"/>
                  </a:cubicBezTo>
                  <a:cubicBezTo>
                    <a:pt x="586" y="54"/>
                    <a:pt x="586" y="54"/>
                    <a:pt x="586" y="54"/>
                  </a:cubicBezTo>
                  <a:cubicBezTo>
                    <a:pt x="590" y="57"/>
                    <a:pt x="593" y="61"/>
                    <a:pt x="597" y="64"/>
                  </a:cubicBezTo>
                  <a:cubicBezTo>
                    <a:pt x="602" y="58"/>
                    <a:pt x="602" y="58"/>
                    <a:pt x="602" y="58"/>
                  </a:cubicBezTo>
                  <a:close/>
                  <a:moveTo>
                    <a:pt x="618" y="75"/>
                  </a:moveTo>
                  <a:cubicBezTo>
                    <a:pt x="615" y="71"/>
                    <a:pt x="611" y="67"/>
                    <a:pt x="608" y="64"/>
                  </a:cubicBezTo>
                  <a:cubicBezTo>
                    <a:pt x="602" y="69"/>
                    <a:pt x="602" y="69"/>
                    <a:pt x="602" y="69"/>
                  </a:cubicBezTo>
                  <a:cubicBezTo>
                    <a:pt x="606" y="73"/>
                    <a:pt x="609" y="76"/>
                    <a:pt x="612" y="80"/>
                  </a:cubicBezTo>
                  <a:cubicBezTo>
                    <a:pt x="618" y="75"/>
                    <a:pt x="618" y="75"/>
                    <a:pt x="618" y="75"/>
                  </a:cubicBezTo>
                  <a:close/>
                  <a:moveTo>
                    <a:pt x="632" y="94"/>
                  </a:moveTo>
                  <a:cubicBezTo>
                    <a:pt x="630" y="89"/>
                    <a:pt x="626" y="85"/>
                    <a:pt x="623" y="81"/>
                  </a:cubicBezTo>
                  <a:cubicBezTo>
                    <a:pt x="617" y="86"/>
                    <a:pt x="617" y="86"/>
                    <a:pt x="617" y="86"/>
                  </a:cubicBezTo>
                  <a:cubicBezTo>
                    <a:pt x="620" y="90"/>
                    <a:pt x="623" y="94"/>
                    <a:pt x="626" y="98"/>
                  </a:cubicBezTo>
                  <a:cubicBezTo>
                    <a:pt x="632" y="94"/>
                    <a:pt x="632" y="94"/>
                    <a:pt x="632" y="94"/>
                  </a:cubicBezTo>
                  <a:close/>
                  <a:moveTo>
                    <a:pt x="645" y="113"/>
                  </a:moveTo>
                  <a:cubicBezTo>
                    <a:pt x="642" y="109"/>
                    <a:pt x="639" y="104"/>
                    <a:pt x="637" y="100"/>
                  </a:cubicBezTo>
                  <a:cubicBezTo>
                    <a:pt x="630" y="104"/>
                    <a:pt x="630" y="104"/>
                    <a:pt x="630" y="104"/>
                  </a:cubicBezTo>
                  <a:cubicBezTo>
                    <a:pt x="633" y="108"/>
                    <a:pt x="635" y="113"/>
                    <a:pt x="638" y="117"/>
                  </a:cubicBezTo>
                  <a:cubicBezTo>
                    <a:pt x="645" y="113"/>
                    <a:pt x="645" y="113"/>
                    <a:pt x="645" y="113"/>
                  </a:cubicBezTo>
                  <a:close/>
                  <a:moveTo>
                    <a:pt x="654" y="134"/>
                  </a:moveTo>
                  <a:cubicBezTo>
                    <a:pt x="652" y="130"/>
                    <a:pt x="650" y="125"/>
                    <a:pt x="648" y="120"/>
                  </a:cubicBezTo>
                  <a:cubicBezTo>
                    <a:pt x="641" y="124"/>
                    <a:pt x="641" y="124"/>
                    <a:pt x="641" y="124"/>
                  </a:cubicBezTo>
                  <a:cubicBezTo>
                    <a:pt x="643" y="128"/>
                    <a:pt x="645" y="133"/>
                    <a:pt x="647" y="137"/>
                  </a:cubicBezTo>
                  <a:cubicBezTo>
                    <a:pt x="654" y="134"/>
                    <a:pt x="654" y="134"/>
                    <a:pt x="654" y="134"/>
                  </a:cubicBezTo>
                  <a:close/>
                  <a:moveTo>
                    <a:pt x="662" y="156"/>
                  </a:moveTo>
                  <a:cubicBezTo>
                    <a:pt x="660" y="151"/>
                    <a:pt x="659" y="147"/>
                    <a:pt x="657" y="142"/>
                  </a:cubicBezTo>
                  <a:cubicBezTo>
                    <a:pt x="650" y="144"/>
                    <a:pt x="650" y="144"/>
                    <a:pt x="650" y="144"/>
                  </a:cubicBezTo>
                  <a:cubicBezTo>
                    <a:pt x="652" y="149"/>
                    <a:pt x="653" y="154"/>
                    <a:pt x="654" y="159"/>
                  </a:cubicBezTo>
                  <a:cubicBezTo>
                    <a:pt x="662" y="156"/>
                    <a:pt x="662" y="156"/>
                    <a:pt x="662" y="156"/>
                  </a:cubicBezTo>
                  <a:close/>
                  <a:moveTo>
                    <a:pt x="667" y="179"/>
                  </a:moveTo>
                  <a:cubicBezTo>
                    <a:pt x="666" y="174"/>
                    <a:pt x="665" y="169"/>
                    <a:pt x="664" y="164"/>
                  </a:cubicBezTo>
                  <a:cubicBezTo>
                    <a:pt x="656" y="166"/>
                    <a:pt x="656" y="166"/>
                    <a:pt x="656" y="166"/>
                  </a:cubicBezTo>
                  <a:cubicBezTo>
                    <a:pt x="657" y="171"/>
                    <a:pt x="658" y="175"/>
                    <a:pt x="659" y="180"/>
                  </a:cubicBezTo>
                  <a:lnTo>
                    <a:pt x="667" y="179"/>
                  </a:lnTo>
                  <a:close/>
                  <a:moveTo>
                    <a:pt x="669" y="202"/>
                  </a:moveTo>
                  <a:cubicBezTo>
                    <a:pt x="669" y="197"/>
                    <a:pt x="669" y="192"/>
                    <a:pt x="668" y="187"/>
                  </a:cubicBezTo>
                  <a:cubicBezTo>
                    <a:pt x="660" y="188"/>
                    <a:pt x="660" y="188"/>
                    <a:pt x="660" y="188"/>
                  </a:cubicBezTo>
                  <a:cubicBezTo>
                    <a:pt x="661" y="193"/>
                    <a:pt x="661" y="198"/>
                    <a:pt x="662" y="203"/>
                  </a:cubicBezTo>
                  <a:cubicBezTo>
                    <a:pt x="669" y="202"/>
                    <a:pt x="669" y="202"/>
                    <a:pt x="669" y="202"/>
                  </a:cubicBezTo>
                  <a:close/>
                  <a:moveTo>
                    <a:pt x="670" y="225"/>
                  </a:moveTo>
                  <a:cubicBezTo>
                    <a:pt x="670" y="214"/>
                    <a:pt x="670" y="214"/>
                    <a:pt x="670" y="214"/>
                  </a:cubicBezTo>
                  <a:cubicBezTo>
                    <a:pt x="670" y="213"/>
                    <a:pt x="670" y="211"/>
                    <a:pt x="670" y="210"/>
                  </a:cubicBezTo>
                  <a:cubicBezTo>
                    <a:pt x="662" y="210"/>
                    <a:pt x="662" y="210"/>
                    <a:pt x="662" y="210"/>
                  </a:cubicBezTo>
                  <a:cubicBezTo>
                    <a:pt x="662" y="211"/>
                    <a:pt x="662" y="213"/>
                    <a:pt x="662" y="214"/>
                  </a:cubicBezTo>
                  <a:cubicBezTo>
                    <a:pt x="662" y="225"/>
                    <a:pt x="662" y="225"/>
                    <a:pt x="662" y="225"/>
                  </a:cubicBezTo>
                  <a:cubicBezTo>
                    <a:pt x="670" y="225"/>
                    <a:pt x="670" y="225"/>
                    <a:pt x="670" y="225"/>
                  </a:cubicBezTo>
                  <a:close/>
                  <a:moveTo>
                    <a:pt x="669" y="248"/>
                  </a:moveTo>
                  <a:cubicBezTo>
                    <a:pt x="669" y="243"/>
                    <a:pt x="669" y="238"/>
                    <a:pt x="670" y="233"/>
                  </a:cubicBezTo>
                  <a:cubicBezTo>
                    <a:pt x="662" y="233"/>
                    <a:pt x="662" y="233"/>
                    <a:pt x="662" y="233"/>
                  </a:cubicBezTo>
                  <a:cubicBezTo>
                    <a:pt x="662" y="238"/>
                    <a:pt x="661" y="243"/>
                    <a:pt x="661" y="248"/>
                  </a:cubicBezTo>
                  <a:cubicBezTo>
                    <a:pt x="669" y="248"/>
                    <a:pt x="669" y="248"/>
                    <a:pt x="669" y="248"/>
                  </a:cubicBezTo>
                  <a:close/>
                  <a:moveTo>
                    <a:pt x="665" y="271"/>
                  </a:moveTo>
                  <a:cubicBezTo>
                    <a:pt x="666" y="266"/>
                    <a:pt x="667" y="261"/>
                    <a:pt x="668" y="256"/>
                  </a:cubicBezTo>
                  <a:cubicBezTo>
                    <a:pt x="660" y="255"/>
                    <a:pt x="660" y="255"/>
                    <a:pt x="660" y="255"/>
                  </a:cubicBezTo>
                  <a:cubicBezTo>
                    <a:pt x="659" y="260"/>
                    <a:pt x="658" y="265"/>
                    <a:pt x="657" y="270"/>
                  </a:cubicBezTo>
                  <a:cubicBezTo>
                    <a:pt x="665" y="271"/>
                    <a:pt x="665" y="271"/>
                    <a:pt x="665" y="271"/>
                  </a:cubicBezTo>
                  <a:close/>
                  <a:moveTo>
                    <a:pt x="659" y="294"/>
                  </a:moveTo>
                  <a:cubicBezTo>
                    <a:pt x="660" y="289"/>
                    <a:pt x="662" y="284"/>
                    <a:pt x="663" y="279"/>
                  </a:cubicBezTo>
                  <a:cubicBezTo>
                    <a:pt x="656" y="277"/>
                    <a:pt x="656" y="277"/>
                    <a:pt x="656" y="277"/>
                  </a:cubicBezTo>
                  <a:cubicBezTo>
                    <a:pt x="654" y="282"/>
                    <a:pt x="653" y="287"/>
                    <a:pt x="651" y="291"/>
                  </a:cubicBezTo>
                  <a:lnTo>
                    <a:pt x="659" y="294"/>
                  </a:lnTo>
                  <a:close/>
                  <a:moveTo>
                    <a:pt x="650" y="315"/>
                  </a:moveTo>
                  <a:cubicBezTo>
                    <a:pt x="652" y="311"/>
                    <a:pt x="654" y="306"/>
                    <a:pt x="656" y="301"/>
                  </a:cubicBezTo>
                  <a:cubicBezTo>
                    <a:pt x="649" y="298"/>
                    <a:pt x="649" y="298"/>
                    <a:pt x="649" y="298"/>
                  </a:cubicBezTo>
                  <a:cubicBezTo>
                    <a:pt x="647" y="303"/>
                    <a:pt x="645" y="308"/>
                    <a:pt x="643" y="312"/>
                  </a:cubicBezTo>
                  <a:lnTo>
                    <a:pt x="650" y="315"/>
                  </a:lnTo>
                  <a:close/>
                  <a:moveTo>
                    <a:pt x="639" y="336"/>
                  </a:moveTo>
                  <a:cubicBezTo>
                    <a:pt x="642" y="331"/>
                    <a:pt x="644" y="327"/>
                    <a:pt x="647" y="322"/>
                  </a:cubicBezTo>
                  <a:cubicBezTo>
                    <a:pt x="640" y="319"/>
                    <a:pt x="640" y="319"/>
                    <a:pt x="640" y="319"/>
                  </a:cubicBezTo>
                  <a:cubicBezTo>
                    <a:pt x="637" y="323"/>
                    <a:pt x="635" y="328"/>
                    <a:pt x="632" y="332"/>
                  </a:cubicBezTo>
                  <a:lnTo>
                    <a:pt x="639" y="336"/>
                  </a:lnTo>
                  <a:close/>
                  <a:moveTo>
                    <a:pt x="626" y="355"/>
                  </a:moveTo>
                  <a:cubicBezTo>
                    <a:pt x="629" y="351"/>
                    <a:pt x="632" y="347"/>
                    <a:pt x="635" y="342"/>
                  </a:cubicBezTo>
                  <a:cubicBezTo>
                    <a:pt x="629" y="338"/>
                    <a:pt x="629" y="338"/>
                    <a:pt x="629" y="338"/>
                  </a:cubicBezTo>
                  <a:cubicBezTo>
                    <a:pt x="626" y="342"/>
                    <a:pt x="623" y="346"/>
                    <a:pt x="620" y="350"/>
                  </a:cubicBezTo>
                  <a:cubicBezTo>
                    <a:pt x="626" y="355"/>
                    <a:pt x="626" y="355"/>
                    <a:pt x="626" y="355"/>
                  </a:cubicBezTo>
                  <a:close/>
                  <a:moveTo>
                    <a:pt x="611" y="373"/>
                  </a:moveTo>
                  <a:cubicBezTo>
                    <a:pt x="615" y="369"/>
                    <a:pt x="618" y="365"/>
                    <a:pt x="621" y="361"/>
                  </a:cubicBezTo>
                  <a:cubicBezTo>
                    <a:pt x="615" y="356"/>
                    <a:pt x="615" y="356"/>
                    <a:pt x="615" y="356"/>
                  </a:cubicBezTo>
                  <a:cubicBezTo>
                    <a:pt x="612" y="360"/>
                    <a:pt x="609" y="364"/>
                    <a:pt x="605" y="367"/>
                  </a:cubicBezTo>
                  <a:cubicBezTo>
                    <a:pt x="611" y="373"/>
                    <a:pt x="611" y="373"/>
                    <a:pt x="611" y="373"/>
                  </a:cubicBezTo>
                  <a:close/>
                  <a:moveTo>
                    <a:pt x="594" y="389"/>
                  </a:moveTo>
                  <a:cubicBezTo>
                    <a:pt x="598" y="385"/>
                    <a:pt x="602" y="382"/>
                    <a:pt x="606" y="378"/>
                  </a:cubicBezTo>
                  <a:cubicBezTo>
                    <a:pt x="600" y="373"/>
                    <a:pt x="600" y="373"/>
                    <a:pt x="600" y="373"/>
                  </a:cubicBezTo>
                  <a:cubicBezTo>
                    <a:pt x="597" y="376"/>
                    <a:pt x="593" y="380"/>
                    <a:pt x="589" y="383"/>
                  </a:cubicBezTo>
                  <a:cubicBezTo>
                    <a:pt x="594" y="389"/>
                    <a:pt x="594" y="389"/>
                    <a:pt x="594" y="389"/>
                  </a:cubicBezTo>
                  <a:close/>
                  <a:moveTo>
                    <a:pt x="576" y="403"/>
                  </a:moveTo>
                  <a:cubicBezTo>
                    <a:pt x="580" y="400"/>
                    <a:pt x="584" y="397"/>
                    <a:pt x="588" y="394"/>
                  </a:cubicBezTo>
                  <a:cubicBezTo>
                    <a:pt x="583" y="388"/>
                    <a:pt x="583" y="388"/>
                    <a:pt x="583" y="388"/>
                  </a:cubicBezTo>
                  <a:cubicBezTo>
                    <a:pt x="579" y="391"/>
                    <a:pt x="575" y="394"/>
                    <a:pt x="571" y="396"/>
                  </a:cubicBezTo>
                  <a:cubicBezTo>
                    <a:pt x="576" y="403"/>
                    <a:pt x="576" y="403"/>
                    <a:pt x="576" y="403"/>
                  </a:cubicBezTo>
                  <a:close/>
                  <a:moveTo>
                    <a:pt x="556" y="415"/>
                  </a:moveTo>
                  <a:cubicBezTo>
                    <a:pt x="560" y="412"/>
                    <a:pt x="565" y="410"/>
                    <a:pt x="569" y="407"/>
                  </a:cubicBezTo>
                  <a:cubicBezTo>
                    <a:pt x="565" y="400"/>
                    <a:pt x="565" y="400"/>
                    <a:pt x="565" y="400"/>
                  </a:cubicBezTo>
                  <a:cubicBezTo>
                    <a:pt x="561" y="403"/>
                    <a:pt x="557" y="406"/>
                    <a:pt x="552" y="408"/>
                  </a:cubicBezTo>
                  <a:cubicBezTo>
                    <a:pt x="556" y="415"/>
                    <a:pt x="556" y="415"/>
                    <a:pt x="556" y="415"/>
                  </a:cubicBezTo>
                  <a:close/>
                  <a:moveTo>
                    <a:pt x="535" y="425"/>
                  </a:moveTo>
                  <a:cubicBezTo>
                    <a:pt x="540" y="423"/>
                    <a:pt x="544" y="421"/>
                    <a:pt x="549" y="418"/>
                  </a:cubicBezTo>
                  <a:cubicBezTo>
                    <a:pt x="546" y="411"/>
                    <a:pt x="546" y="411"/>
                    <a:pt x="546" y="411"/>
                  </a:cubicBezTo>
                  <a:cubicBezTo>
                    <a:pt x="541" y="414"/>
                    <a:pt x="536" y="416"/>
                    <a:pt x="532" y="417"/>
                  </a:cubicBezTo>
                  <a:cubicBezTo>
                    <a:pt x="535" y="425"/>
                    <a:pt x="535" y="425"/>
                    <a:pt x="535" y="425"/>
                  </a:cubicBezTo>
                  <a:close/>
                  <a:moveTo>
                    <a:pt x="513" y="432"/>
                  </a:moveTo>
                  <a:cubicBezTo>
                    <a:pt x="518" y="431"/>
                    <a:pt x="523" y="429"/>
                    <a:pt x="527" y="427"/>
                  </a:cubicBezTo>
                  <a:cubicBezTo>
                    <a:pt x="525" y="420"/>
                    <a:pt x="525" y="420"/>
                    <a:pt x="525" y="420"/>
                  </a:cubicBezTo>
                  <a:cubicBezTo>
                    <a:pt x="520" y="422"/>
                    <a:pt x="515" y="423"/>
                    <a:pt x="511" y="425"/>
                  </a:cubicBezTo>
                  <a:cubicBezTo>
                    <a:pt x="513" y="432"/>
                    <a:pt x="513" y="432"/>
                    <a:pt x="513" y="432"/>
                  </a:cubicBezTo>
                  <a:close/>
                  <a:moveTo>
                    <a:pt x="490" y="437"/>
                  </a:moveTo>
                  <a:cubicBezTo>
                    <a:pt x="495" y="436"/>
                    <a:pt x="500" y="435"/>
                    <a:pt x="505" y="434"/>
                  </a:cubicBezTo>
                  <a:cubicBezTo>
                    <a:pt x="503" y="426"/>
                    <a:pt x="503" y="426"/>
                    <a:pt x="503" y="426"/>
                  </a:cubicBezTo>
                  <a:cubicBezTo>
                    <a:pt x="499" y="428"/>
                    <a:pt x="494" y="429"/>
                    <a:pt x="489" y="429"/>
                  </a:cubicBezTo>
                  <a:cubicBezTo>
                    <a:pt x="490" y="437"/>
                    <a:pt x="490" y="437"/>
                    <a:pt x="490" y="437"/>
                  </a:cubicBezTo>
                  <a:close/>
                  <a:moveTo>
                    <a:pt x="467" y="439"/>
                  </a:moveTo>
                  <a:cubicBezTo>
                    <a:pt x="472" y="439"/>
                    <a:pt x="477" y="439"/>
                    <a:pt x="482" y="438"/>
                  </a:cubicBezTo>
                  <a:cubicBezTo>
                    <a:pt x="481" y="430"/>
                    <a:pt x="481" y="430"/>
                    <a:pt x="481" y="430"/>
                  </a:cubicBezTo>
                  <a:cubicBezTo>
                    <a:pt x="476" y="431"/>
                    <a:pt x="471" y="431"/>
                    <a:pt x="466" y="432"/>
                  </a:cubicBezTo>
                  <a:lnTo>
                    <a:pt x="467" y="439"/>
                  </a:lnTo>
                  <a:close/>
                  <a:moveTo>
                    <a:pt x="444" y="440"/>
                  </a:moveTo>
                  <a:cubicBezTo>
                    <a:pt x="456" y="440"/>
                    <a:pt x="456" y="440"/>
                    <a:pt x="456" y="440"/>
                  </a:cubicBezTo>
                  <a:cubicBezTo>
                    <a:pt x="457" y="440"/>
                    <a:pt x="458" y="440"/>
                    <a:pt x="459" y="440"/>
                  </a:cubicBezTo>
                  <a:cubicBezTo>
                    <a:pt x="459" y="432"/>
                    <a:pt x="459" y="432"/>
                    <a:pt x="459" y="432"/>
                  </a:cubicBezTo>
                  <a:cubicBezTo>
                    <a:pt x="458" y="432"/>
                    <a:pt x="457" y="432"/>
                    <a:pt x="456" y="432"/>
                  </a:cubicBezTo>
                  <a:cubicBezTo>
                    <a:pt x="444" y="432"/>
                    <a:pt x="444" y="432"/>
                    <a:pt x="444" y="432"/>
                  </a:cubicBezTo>
                  <a:cubicBezTo>
                    <a:pt x="444" y="440"/>
                    <a:pt x="444" y="440"/>
                    <a:pt x="444" y="440"/>
                  </a:cubicBezTo>
                  <a:close/>
                  <a:moveTo>
                    <a:pt x="421" y="440"/>
                  </a:moveTo>
                  <a:cubicBezTo>
                    <a:pt x="436" y="440"/>
                    <a:pt x="436" y="440"/>
                    <a:pt x="436" y="440"/>
                  </a:cubicBezTo>
                  <a:cubicBezTo>
                    <a:pt x="436" y="432"/>
                    <a:pt x="436" y="432"/>
                    <a:pt x="436" y="432"/>
                  </a:cubicBezTo>
                  <a:cubicBezTo>
                    <a:pt x="421" y="432"/>
                    <a:pt x="421" y="432"/>
                    <a:pt x="421" y="432"/>
                  </a:cubicBezTo>
                  <a:lnTo>
                    <a:pt x="421" y="440"/>
                  </a:lnTo>
                  <a:close/>
                  <a:moveTo>
                    <a:pt x="398" y="440"/>
                  </a:moveTo>
                  <a:cubicBezTo>
                    <a:pt x="413" y="440"/>
                    <a:pt x="413" y="440"/>
                    <a:pt x="413" y="440"/>
                  </a:cubicBezTo>
                  <a:cubicBezTo>
                    <a:pt x="413" y="432"/>
                    <a:pt x="413" y="432"/>
                    <a:pt x="413" y="432"/>
                  </a:cubicBezTo>
                  <a:cubicBezTo>
                    <a:pt x="398" y="432"/>
                    <a:pt x="398" y="432"/>
                    <a:pt x="398" y="432"/>
                  </a:cubicBezTo>
                  <a:lnTo>
                    <a:pt x="398" y="440"/>
                  </a:lnTo>
                  <a:close/>
                  <a:moveTo>
                    <a:pt x="375" y="440"/>
                  </a:moveTo>
                  <a:cubicBezTo>
                    <a:pt x="391" y="440"/>
                    <a:pt x="391" y="440"/>
                    <a:pt x="391" y="440"/>
                  </a:cubicBezTo>
                  <a:cubicBezTo>
                    <a:pt x="391" y="432"/>
                    <a:pt x="391" y="432"/>
                    <a:pt x="391" y="432"/>
                  </a:cubicBezTo>
                  <a:cubicBezTo>
                    <a:pt x="375" y="432"/>
                    <a:pt x="375" y="432"/>
                    <a:pt x="375" y="432"/>
                  </a:cubicBezTo>
                  <a:lnTo>
                    <a:pt x="375"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299" y="440"/>
                    <a:pt x="299" y="440"/>
                    <a:pt x="299" y="440"/>
                  </a:cubicBezTo>
                  <a:cubicBezTo>
                    <a:pt x="299" y="432"/>
                    <a:pt x="299" y="432"/>
                    <a:pt x="299" y="432"/>
                  </a:cubicBezTo>
                  <a:cubicBezTo>
                    <a:pt x="284" y="432"/>
                    <a:pt x="284" y="432"/>
                    <a:pt x="284" y="432"/>
                  </a:cubicBezTo>
                  <a:lnTo>
                    <a:pt x="284" y="440"/>
                  </a:lnTo>
                  <a:close/>
                  <a:moveTo>
                    <a:pt x="261" y="440"/>
                  </a:moveTo>
                  <a:cubicBezTo>
                    <a:pt x="276" y="440"/>
                    <a:pt x="276" y="440"/>
                    <a:pt x="276" y="440"/>
                  </a:cubicBezTo>
                  <a:cubicBezTo>
                    <a:pt x="276" y="432"/>
                    <a:pt x="276" y="432"/>
                    <a:pt x="276" y="432"/>
                  </a:cubicBezTo>
                  <a:cubicBezTo>
                    <a:pt x="261" y="432"/>
                    <a:pt x="261" y="432"/>
                    <a:pt x="261" y="432"/>
                  </a:cubicBezTo>
                  <a:lnTo>
                    <a:pt x="261" y="440"/>
                  </a:lnTo>
                  <a:close/>
                  <a:moveTo>
                    <a:pt x="238" y="440"/>
                  </a:moveTo>
                  <a:cubicBezTo>
                    <a:pt x="254" y="440"/>
                    <a:pt x="254" y="440"/>
                    <a:pt x="254" y="440"/>
                  </a:cubicBezTo>
                  <a:cubicBezTo>
                    <a:pt x="254" y="432"/>
                    <a:pt x="254" y="432"/>
                    <a:pt x="254" y="432"/>
                  </a:cubicBezTo>
                  <a:cubicBezTo>
                    <a:pt x="238" y="432"/>
                    <a:pt x="238" y="432"/>
                    <a:pt x="238" y="432"/>
                  </a:cubicBezTo>
                  <a:lnTo>
                    <a:pt x="238"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close/>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lose/>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close/>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close/>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close/>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close/>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lose/>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lose/>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close/>
                  <a:moveTo>
                    <a:pt x="25" y="327"/>
                  </a:moveTo>
                  <a:cubicBezTo>
                    <a:pt x="28" y="332"/>
                    <a:pt x="30" y="336"/>
                    <a:pt x="33" y="340"/>
                  </a:cubicBezTo>
                  <a:cubicBezTo>
                    <a:pt x="40" y="336"/>
                    <a:pt x="40" y="336"/>
                    <a:pt x="40" y="336"/>
                  </a:cubicBezTo>
                  <a:cubicBezTo>
                    <a:pt x="37" y="332"/>
                    <a:pt x="35" y="328"/>
                    <a:pt x="32" y="323"/>
                  </a:cubicBezTo>
                  <a:lnTo>
                    <a:pt x="25" y="327"/>
                  </a:lnTo>
                  <a:close/>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close/>
                  <a:moveTo>
                    <a:pt x="8" y="284"/>
                  </a:moveTo>
                  <a:cubicBezTo>
                    <a:pt x="9" y="289"/>
                    <a:pt x="11" y="294"/>
                    <a:pt x="13" y="299"/>
                  </a:cubicBezTo>
                  <a:cubicBezTo>
                    <a:pt x="20" y="296"/>
                    <a:pt x="20" y="296"/>
                    <a:pt x="20" y="296"/>
                  </a:cubicBezTo>
                  <a:cubicBezTo>
                    <a:pt x="18" y="291"/>
                    <a:pt x="17" y="287"/>
                    <a:pt x="15" y="282"/>
                  </a:cubicBezTo>
                  <a:cubicBezTo>
                    <a:pt x="8" y="284"/>
                    <a:pt x="8" y="284"/>
                    <a:pt x="8" y="284"/>
                  </a:cubicBezTo>
                  <a:close/>
                  <a:moveTo>
                    <a:pt x="3" y="261"/>
                  </a:moveTo>
                  <a:cubicBezTo>
                    <a:pt x="4" y="266"/>
                    <a:pt x="5" y="272"/>
                    <a:pt x="6" y="276"/>
                  </a:cubicBezTo>
                  <a:cubicBezTo>
                    <a:pt x="13" y="275"/>
                    <a:pt x="13" y="275"/>
                    <a:pt x="13" y="275"/>
                  </a:cubicBezTo>
                  <a:cubicBezTo>
                    <a:pt x="12" y="270"/>
                    <a:pt x="11" y="265"/>
                    <a:pt x="10" y="260"/>
                  </a:cubicBezTo>
                  <a:lnTo>
                    <a:pt x="3" y="261"/>
                  </a:lnTo>
                  <a:close/>
                  <a:moveTo>
                    <a:pt x="0" y="238"/>
                  </a:moveTo>
                  <a:cubicBezTo>
                    <a:pt x="0" y="243"/>
                    <a:pt x="1" y="249"/>
                    <a:pt x="2" y="254"/>
                  </a:cubicBezTo>
                  <a:cubicBezTo>
                    <a:pt x="9" y="253"/>
                    <a:pt x="9" y="253"/>
                    <a:pt x="9" y="253"/>
                  </a:cubicBezTo>
                  <a:cubicBezTo>
                    <a:pt x="9" y="248"/>
                    <a:pt x="8" y="243"/>
                    <a:pt x="8" y="238"/>
                  </a:cubicBezTo>
                  <a:cubicBezTo>
                    <a:pt x="0" y="238"/>
                    <a:pt x="0" y="238"/>
                    <a:pt x="0" y="238"/>
                  </a:cubicBezTo>
                  <a:close/>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0" y="197"/>
                    <a:pt x="0" y="202"/>
                    <a:pt x="0" y="207"/>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5"/>
                    <a:pt x="10" y="185"/>
                    <a:pt x="10" y="185"/>
                  </a:cubicBezTo>
                  <a:cubicBezTo>
                    <a:pt x="10" y="180"/>
                    <a:pt x="11" y="176"/>
                    <a:pt x="12" y="171"/>
                  </a:cubicBezTo>
                  <a:cubicBezTo>
                    <a:pt x="5" y="169"/>
                    <a:pt x="5" y="169"/>
                    <a:pt x="5" y="169"/>
                  </a:cubicBezTo>
                  <a:close/>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5"/>
            <p:cNvSpPr>
              <a:spLocks noChangeArrowheads="1"/>
            </p:cNvSpPr>
            <p:nvPr/>
          </p:nvSpPr>
          <p:spPr bwMode="auto">
            <a:xfrm>
              <a:off x="8458200" y="324008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8458200" y="324008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8499475" y="3282951"/>
              <a:ext cx="442913"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Rectangle 78"/>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9"/>
            <p:cNvSpPr>
              <a:spLocks noChangeArrowheads="1"/>
            </p:cNvSpPr>
            <p:nvPr/>
          </p:nvSpPr>
          <p:spPr bwMode="auto">
            <a:xfrm>
              <a:off x="8499475" y="3282951"/>
              <a:ext cx="442913" cy="3381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80"/>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8689975" y="3432176"/>
              <a:ext cx="252413" cy="188913"/>
            </a:xfrm>
            <a:custGeom>
              <a:avLst/>
              <a:gdLst>
                <a:gd name="T0" fmla="*/ 67 w 67"/>
                <a:gd name="T1" fmla="*/ 12 h 50"/>
                <a:gd name="T2" fmla="*/ 58 w 67"/>
                <a:gd name="T3" fmla="*/ 4 h 50"/>
                <a:gd name="T4" fmla="*/ 46 w 67"/>
                <a:gd name="T5" fmla="*/ 4 h 50"/>
                <a:gd name="T6" fmla="*/ 0 w 67"/>
                <a:gd name="T7" fmla="*/ 50 h 50"/>
                <a:gd name="T8" fmla="*/ 67 w 67"/>
                <a:gd name="T9" fmla="*/ 50 h 50"/>
                <a:gd name="T10" fmla="*/ 67 w 67"/>
                <a:gd name="T11" fmla="*/ 12 h 50"/>
              </a:gdLst>
              <a:ahLst/>
              <a:cxnLst>
                <a:cxn ang="0">
                  <a:pos x="T0" y="T1"/>
                </a:cxn>
                <a:cxn ang="0">
                  <a:pos x="T2" y="T3"/>
                </a:cxn>
                <a:cxn ang="0">
                  <a:pos x="T4" y="T5"/>
                </a:cxn>
                <a:cxn ang="0">
                  <a:pos x="T6" y="T7"/>
                </a:cxn>
                <a:cxn ang="0">
                  <a:pos x="T8" y="T9"/>
                </a:cxn>
                <a:cxn ang="0">
                  <a:pos x="T10" y="T11"/>
                </a:cxn>
              </a:cxnLst>
              <a:rect l="0" t="0" r="r" b="b"/>
              <a:pathLst>
                <a:path w="67" h="50">
                  <a:moveTo>
                    <a:pt x="67" y="12"/>
                  </a:moveTo>
                  <a:cubicBezTo>
                    <a:pt x="58" y="4"/>
                    <a:pt x="58" y="4"/>
                    <a:pt x="58" y="4"/>
                  </a:cubicBezTo>
                  <a:cubicBezTo>
                    <a:pt x="55" y="0"/>
                    <a:pt x="49" y="0"/>
                    <a:pt x="46" y="4"/>
                  </a:cubicBezTo>
                  <a:cubicBezTo>
                    <a:pt x="0" y="50"/>
                    <a:pt x="0" y="50"/>
                    <a:pt x="0" y="50"/>
                  </a:cubicBezTo>
                  <a:cubicBezTo>
                    <a:pt x="67" y="50"/>
                    <a:pt x="67" y="50"/>
                    <a:pt x="67" y="50"/>
                  </a:cubicBezTo>
                  <a:lnTo>
                    <a:pt x="67"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8589963" y="3473451"/>
              <a:ext cx="303213" cy="147638"/>
            </a:xfrm>
            <a:custGeom>
              <a:avLst/>
              <a:gdLst>
                <a:gd name="T0" fmla="*/ 81 w 81"/>
                <a:gd name="T1" fmla="*/ 39 h 39"/>
                <a:gd name="T2" fmla="*/ 45 w 81"/>
                <a:gd name="T3" fmla="*/ 3 h 39"/>
                <a:gd name="T4" fmla="*/ 36 w 81"/>
                <a:gd name="T5" fmla="*/ 3 h 39"/>
                <a:gd name="T6" fmla="*/ 0 w 81"/>
                <a:gd name="T7" fmla="*/ 39 h 39"/>
                <a:gd name="T8" fmla="*/ 81 w 81"/>
                <a:gd name="T9" fmla="*/ 39 h 39"/>
              </a:gdLst>
              <a:ahLst/>
              <a:cxnLst>
                <a:cxn ang="0">
                  <a:pos x="T0" y="T1"/>
                </a:cxn>
                <a:cxn ang="0">
                  <a:pos x="T2" y="T3"/>
                </a:cxn>
                <a:cxn ang="0">
                  <a:pos x="T4" y="T5"/>
                </a:cxn>
                <a:cxn ang="0">
                  <a:pos x="T6" y="T7"/>
                </a:cxn>
                <a:cxn ang="0">
                  <a:pos x="T8" y="T9"/>
                </a:cxn>
              </a:cxnLst>
              <a:rect l="0" t="0" r="r" b="b"/>
              <a:pathLst>
                <a:path w="81" h="39">
                  <a:moveTo>
                    <a:pt x="81" y="39"/>
                  </a:moveTo>
                  <a:cubicBezTo>
                    <a:pt x="45" y="3"/>
                    <a:pt x="45" y="3"/>
                    <a:pt x="45" y="3"/>
                  </a:cubicBezTo>
                  <a:cubicBezTo>
                    <a:pt x="43" y="0"/>
                    <a:pt x="38" y="0"/>
                    <a:pt x="36" y="3"/>
                  </a:cubicBezTo>
                  <a:cubicBezTo>
                    <a:pt x="0" y="39"/>
                    <a:pt x="0" y="39"/>
                    <a:pt x="0" y="39"/>
                  </a:cubicBezTo>
                  <a:lnTo>
                    <a:pt x="81"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8540750" y="3327401"/>
              <a:ext cx="206375" cy="128588"/>
            </a:xfrm>
            <a:custGeom>
              <a:avLst/>
              <a:gdLst>
                <a:gd name="T0" fmla="*/ 31 w 55"/>
                <a:gd name="T1" fmla="*/ 0 h 34"/>
                <a:gd name="T2" fmla="*/ 15 w 55"/>
                <a:gd name="T3" fmla="*/ 11 h 34"/>
                <a:gd name="T4" fmla="*/ 12 w 55"/>
                <a:gd name="T5" fmla="*/ 11 h 34"/>
                <a:gd name="T6" fmla="*/ 0 w 55"/>
                <a:gd name="T7" fmla="*/ 22 h 34"/>
                <a:gd name="T8" fmla="*/ 12 w 55"/>
                <a:gd name="T9" fmla="*/ 34 h 34"/>
                <a:gd name="T10" fmla="*/ 12 w 55"/>
                <a:gd name="T11" fmla="*/ 34 h 34"/>
                <a:gd name="T12" fmla="*/ 12 w 55"/>
                <a:gd name="T13" fmla="*/ 34 h 34"/>
                <a:gd name="T14" fmla="*/ 49 w 55"/>
                <a:gd name="T15" fmla="*/ 34 h 34"/>
                <a:gd name="T16" fmla="*/ 49 w 55"/>
                <a:gd name="T17" fmla="*/ 34 h 34"/>
                <a:gd name="T18" fmla="*/ 55 w 55"/>
                <a:gd name="T19" fmla="*/ 27 h 34"/>
                <a:gd name="T20" fmla="*/ 48 w 55"/>
                <a:gd name="T21" fmla="*/ 21 h 34"/>
                <a:gd name="T22" fmla="*/ 48 w 55"/>
                <a:gd name="T23" fmla="*/ 21 h 34"/>
                <a:gd name="T24" fmla="*/ 48 w 55"/>
                <a:gd name="T25" fmla="*/ 17 h 34"/>
                <a:gd name="T26" fmla="*/ 31 w 55"/>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34">
                  <a:moveTo>
                    <a:pt x="31" y="0"/>
                  </a:moveTo>
                  <a:cubicBezTo>
                    <a:pt x="24" y="0"/>
                    <a:pt x="18" y="4"/>
                    <a:pt x="15" y="11"/>
                  </a:cubicBezTo>
                  <a:cubicBezTo>
                    <a:pt x="14" y="11"/>
                    <a:pt x="13" y="11"/>
                    <a:pt x="12" y="11"/>
                  </a:cubicBezTo>
                  <a:cubicBezTo>
                    <a:pt x="5" y="11"/>
                    <a:pt x="0" y="16"/>
                    <a:pt x="0" y="22"/>
                  </a:cubicBezTo>
                  <a:cubicBezTo>
                    <a:pt x="0" y="28"/>
                    <a:pt x="5" y="34"/>
                    <a:pt x="12" y="34"/>
                  </a:cubicBezTo>
                  <a:cubicBezTo>
                    <a:pt x="12" y="34"/>
                    <a:pt x="12" y="34"/>
                    <a:pt x="12" y="34"/>
                  </a:cubicBezTo>
                  <a:cubicBezTo>
                    <a:pt x="12" y="34"/>
                    <a:pt x="12" y="34"/>
                    <a:pt x="12" y="34"/>
                  </a:cubicBezTo>
                  <a:cubicBezTo>
                    <a:pt x="49" y="34"/>
                    <a:pt x="49" y="34"/>
                    <a:pt x="49" y="34"/>
                  </a:cubicBezTo>
                  <a:cubicBezTo>
                    <a:pt x="49" y="34"/>
                    <a:pt x="49" y="34"/>
                    <a:pt x="49" y="34"/>
                  </a:cubicBezTo>
                  <a:cubicBezTo>
                    <a:pt x="52" y="33"/>
                    <a:pt x="55" y="31"/>
                    <a:pt x="55" y="27"/>
                  </a:cubicBezTo>
                  <a:cubicBezTo>
                    <a:pt x="55" y="24"/>
                    <a:pt x="52" y="21"/>
                    <a:pt x="48" y="21"/>
                  </a:cubicBezTo>
                  <a:cubicBezTo>
                    <a:pt x="48" y="21"/>
                    <a:pt x="48" y="21"/>
                    <a:pt x="48" y="21"/>
                  </a:cubicBezTo>
                  <a:cubicBezTo>
                    <a:pt x="48" y="20"/>
                    <a:pt x="48" y="18"/>
                    <a:pt x="48" y="17"/>
                  </a:cubicBezTo>
                  <a:cubicBezTo>
                    <a:pt x="48" y="7"/>
                    <a:pt x="41"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4"/>
            <p:cNvSpPr>
              <a:spLocks noChangeArrowheads="1"/>
            </p:cNvSpPr>
            <p:nvPr/>
          </p:nvSpPr>
          <p:spPr bwMode="auto">
            <a:xfrm>
              <a:off x="9159875" y="3719513"/>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5"/>
            <p:cNvSpPr>
              <a:spLocks noChangeArrowheads="1"/>
            </p:cNvSpPr>
            <p:nvPr/>
          </p:nvSpPr>
          <p:spPr bwMode="auto">
            <a:xfrm>
              <a:off x="9159875" y="3719513"/>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Rectangle 86"/>
            <p:cNvSpPr>
              <a:spLocks noChangeArrowheads="1"/>
            </p:cNvSpPr>
            <p:nvPr/>
          </p:nvSpPr>
          <p:spPr bwMode="auto">
            <a:xfrm>
              <a:off x="9193213" y="374967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7"/>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8"/>
            <p:cNvSpPr>
              <a:spLocks noChangeArrowheads="1"/>
            </p:cNvSpPr>
            <p:nvPr/>
          </p:nvSpPr>
          <p:spPr bwMode="auto">
            <a:xfrm>
              <a:off x="9193213" y="374967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9"/>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9340850" y="3865563"/>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9261475" y="389572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9228138" y="3783013"/>
              <a:ext cx="157163" cy="98425"/>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4"/>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Rectangle 93"/>
            <p:cNvSpPr>
              <a:spLocks noChangeArrowheads="1"/>
            </p:cNvSpPr>
            <p:nvPr/>
          </p:nvSpPr>
          <p:spPr bwMode="auto">
            <a:xfrm>
              <a:off x="9159875" y="3289301"/>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4"/>
            <p:cNvSpPr>
              <a:spLocks noChangeArrowheads="1"/>
            </p:cNvSpPr>
            <p:nvPr/>
          </p:nvSpPr>
          <p:spPr bwMode="auto">
            <a:xfrm>
              <a:off x="9159875" y="3289301"/>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Rectangle 95"/>
            <p:cNvSpPr>
              <a:spLocks noChangeArrowheads="1"/>
            </p:cNvSpPr>
            <p:nvPr/>
          </p:nvSpPr>
          <p:spPr bwMode="auto">
            <a:xfrm>
              <a:off x="9193213" y="332422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Rectangle 96"/>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7"/>
            <p:cNvSpPr>
              <a:spLocks noChangeArrowheads="1"/>
            </p:cNvSpPr>
            <p:nvPr/>
          </p:nvSpPr>
          <p:spPr bwMode="auto">
            <a:xfrm>
              <a:off x="9193213" y="332422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8"/>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340850" y="3440113"/>
              <a:ext cx="195263" cy="142875"/>
            </a:xfrm>
            <a:custGeom>
              <a:avLst/>
              <a:gdLst>
                <a:gd name="T0" fmla="*/ 52 w 52"/>
                <a:gd name="T1" fmla="*/ 9 h 38"/>
                <a:gd name="T2" fmla="*/ 45 w 52"/>
                <a:gd name="T3" fmla="*/ 2 h 38"/>
                <a:gd name="T4" fmla="*/ 36 w 52"/>
                <a:gd name="T5" fmla="*/ 2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2"/>
                    <a:pt x="45" y="2"/>
                    <a:pt x="45" y="2"/>
                  </a:cubicBezTo>
                  <a:cubicBezTo>
                    <a:pt x="43" y="0"/>
                    <a:pt x="38" y="0"/>
                    <a:pt x="36" y="2"/>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261475" y="347027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Freeform 101"/>
            <p:cNvSpPr>
              <a:spLocks/>
            </p:cNvSpPr>
            <p:nvPr/>
          </p:nvSpPr>
          <p:spPr bwMode="auto">
            <a:xfrm>
              <a:off x="9228138" y="3354388"/>
              <a:ext cx="157163" cy="101600"/>
            </a:xfrm>
            <a:custGeom>
              <a:avLst/>
              <a:gdLst>
                <a:gd name="T0" fmla="*/ 24 w 42"/>
                <a:gd name="T1" fmla="*/ 0 h 27"/>
                <a:gd name="T2" fmla="*/ 11 w 42"/>
                <a:gd name="T3" fmla="*/ 9 h 27"/>
                <a:gd name="T4" fmla="*/ 9 w 42"/>
                <a:gd name="T5" fmla="*/ 9 h 27"/>
                <a:gd name="T6" fmla="*/ 0 w 42"/>
                <a:gd name="T7" fmla="*/ 18 h 27"/>
                <a:gd name="T8" fmla="*/ 9 w 42"/>
                <a:gd name="T9" fmla="*/ 27 h 27"/>
                <a:gd name="T10" fmla="*/ 9 w 42"/>
                <a:gd name="T11" fmla="*/ 27 h 27"/>
                <a:gd name="T12" fmla="*/ 9 w 42"/>
                <a:gd name="T13" fmla="*/ 27 h 27"/>
                <a:gd name="T14" fmla="*/ 37 w 42"/>
                <a:gd name="T15" fmla="*/ 27 h 27"/>
                <a:gd name="T16" fmla="*/ 37 w 42"/>
                <a:gd name="T17" fmla="*/ 27 h 27"/>
                <a:gd name="T18" fmla="*/ 42 w 42"/>
                <a:gd name="T19" fmla="*/ 22 h 27"/>
                <a:gd name="T20" fmla="*/ 37 w 42"/>
                <a:gd name="T21" fmla="*/ 17 h 27"/>
                <a:gd name="T22" fmla="*/ 36 w 42"/>
                <a:gd name="T23" fmla="*/ 17 h 27"/>
                <a:gd name="T24" fmla="*/ 37 w 42"/>
                <a:gd name="T25" fmla="*/ 13 h 27"/>
                <a:gd name="T26" fmla="*/ 24 w 42"/>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7">
                  <a:moveTo>
                    <a:pt x="24" y="0"/>
                  </a:moveTo>
                  <a:cubicBezTo>
                    <a:pt x="18" y="0"/>
                    <a:pt x="13" y="4"/>
                    <a:pt x="11" y="9"/>
                  </a:cubicBezTo>
                  <a:cubicBezTo>
                    <a:pt x="11" y="9"/>
                    <a:pt x="10" y="9"/>
                    <a:pt x="9" y="9"/>
                  </a:cubicBezTo>
                  <a:cubicBezTo>
                    <a:pt x="4" y="9"/>
                    <a:pt x="0" y="13"/>
                    <a:pt x="0" y="18"/>
                  </a:cubicBezTo>
                  <a:cubicBezTo>
                    <a:pt x="0" y="23"/>
                    <a:pt x="4" y="27"/>
                    <a:pt x="9" y="27"/>
                  </a:cubicBezTo>
                  <a:cubicBezTo>
                    <a:pt x="9" y="27"/>
                    <a:pt x="9" y="27"/>
                    <a:pt x="9" y="27"/>
                  </a:cubicBezTo>
                  <a:cubicBezTo>
                    <a:pt x="9" y="27"/>
                    <a:pt x="9" y="27"/>
                    <a:pt x="9" y="27"/>
                  </a:cubicBezTo>
                  <a:cubicBezTo>
                    <a:pt x="37" y="27"/>
                    <a:pt x="37" y="27"/>
                    <a:pt x="37" y="27"/>
                  </a:cubicBezTo>
                  <a:cubicBezTo>
                    <a:pt x="37" y="27"/>
                    <a:pt x="37" y="27"/>
                    <a:pt x="37" y="27"/>
                  </a:cubicBezTo>
                  <a:cubicBezTo>
                    <a:pt x="40" y="26"/>
                    <a:pt x="42" y="24"/>
                    <a:pt x="42" y="22"/>
                  </a:cubicBezTo>
                  <a:cubicBezTo>
                    <a:pt x="42" y="19"/>
                    <a:pt x="39" y="17"/>
                    <a:pt x="37" y="17"/>
                  </a:cubicBezTo>
                  <a:cubicBezTo>
                    <a:pt x="36" y="17"/>
                    <a:pt x="36" y="17"/>
                    <a:pt x="36" y="17"/>
                  </a:cubicBezTo>
                  <a:cubicBezTo>
                    <a:pt x="36" y="16"/>
                    <a:pt x="37" y="15"/>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Rectangle 102"/>
            <p:cNvSpPr>
              <a:spLocks noChangeArrowheads="1"/>
            </p:cNvSpPr>
            <p:nvPr/>
          </p:nvSpPr>
          <p:spPr bwMode="auto">
            <a:xfrm>
              <a:off x="9159875" y="2860676"/>
              <a:ext cx="404813" cy="32702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Rectangle 103"/>
            <p:cNvSpPr>
              <a:spLocks noChangeArrowheads="1"/>
            </p:cNvSpPr>
            <p:nvPr/>
          </p:nvSpPr>
          <p:spPr bwMode="auto">
            <a:xfrm>
              <a:off x="9159875" y="2860676"/>
              <a:ext cx="404813"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Rectangle 104"/>
            <p:cNvSpPr>
              <a:spLocks noChangeArrowheads="1"/>
            </p:cNvSpPr>
            <p:nvPr/>
          </p:nvSpPr>
          <p:spPr bwMode="auto">
            <a:xfrm>
              <a:off x="9193213" y="2894013"/>
              <a:ext cx="342900" cy="260350"/>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Rectangle 105"/>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Rectangle 106"/>
            <p:cNvSpPr>
              <a:spLocks noChangeArrowheads="1"/>
            </p:cNvSpPr>
            <p:nvPr/>
          </p:nvSpPr>
          <p:spPr bwMode="auto">
            <a:xfrm>
              <a:off x="9193213" y="2894013"/>
              <a:ext cx="342900" cy="260350"/>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Freeform 108"/>
            <p:cNvSpPr>
              <a:spLocks/>
            </p:cNvSpPr>
            <p:nvPr/>
          </p:nvSpPr>
          <p:spPr bwMode="auto">
            <a:xfrm>
              <a:off x="9340850" y="3011488"/>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Freeform 109"/>
            <p:cNvSpPr>
              <a:spLocks/>
            </p:cNvSpPr>
            <p:nvPr/>
          </p:nvSpPr>
          <p:spPr bwMode="auto">
            <a:xfrm>
              <a:off x="9261475" y="3041651"/>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Freeform 110"/>
            <p:cNvSpPr>
              <a:spLocks/>
            </p:cNvSpPr>
            <p:nvPr/>
          </p:nvSpPr>
          <p:spPr bwMode="auto">
            <a:xfrm>
              <a:off x="9228138" y="2928938"/>
              <a:ext cx="157163" cy="96838"/>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3"/>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13" name="Title 2"/>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sync background processing</a:t>
            </a:r>
          </a:p>
        </p:txBody>
      </p:sp>
      <p:sp>
        <p:nvSpPr>
          <p:cNvPr id="114" name="Text Placeholder 3"/>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Mobile back ends</a:t>
            </a:r>
          </a:p>
        </p:txBody>
      </p:sp>
    </p:spTree>
    <p:extLst>
      <p:ext uri="{BB962C8B-B14F-4D97-AF65-F5344CB8AC3E}">
        <p14:creationId xmlns:p14="http://schemas.microsoft.com/office/powerpoint/2010/main" val="3412768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THENA.MIXSHAPE" val="|streamable=true|audioOnly=true|recordStart=0|recordEnd=19313|recordLength=19342|start=0|end=19313|audioFormat={00001610-0000-0010-8000-00AA00389B71}|audioRate=44100|muted=false|volume=0.8|fadeIn=0|fadeOut=0|videoFormat={34363248-0000-0010-8000-00AA00389B71}|videoRate=15|videoWidth=256|videoHeight=256"/>
</p:tagLst>
</file>

<file path=ppt/tags/tag13.xml><?xml version="1.0" encoding="utf-8"?>
<p:tagLst xmlns:a="http://schemas.openxmlformats.org/drawingml/2006/main" xmlns:r="http://schemas.openxmlformats.org/officeDocument/2006/relationships" xmlns:p="http://schemas.openxmlformats.org/presentationml/2006/main">
  <p:tag name="TIMING" val="|9.796|8.919001|19.84|14.045|25.866"/>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8.xml><?xml version="1.0" encoding="utf-8"?>
<p:tagLst xmlns:a="http://schemas.openxmlformats.org/drawingml/2006/main" xmlns:r="http://schemas.openxmlformats.org/officeDocument/2006/relationships" xmlns:p="http://schemas.openxmlformats.org/presentationml/2006/main">
  <p:tag name="TIMING" val="|2.8"/>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20.xml.rels><?xml version="1.0" encoding="UTF-8" standalone="yes"?>
<Relationships xmlns="http://schemas.openxmlformats.org/package/2006/relationships"><Relationship Id="rId1" Type="http://schemas.openxmlformats.org/officeDocument/2006/relationships/image" Target="../media/image42.png"/></Relationships>
</file>

<file path=ppt/theme/_rels/theme21.xml.rels><?xml version="1.0" encoding="UTF-8" standalone="yes"?>
<Relationships xmlns="http://schemas.openxmlformats.org/package/2006/relationships"><Relationship Id="rId1" Type="http://schemas.openxmlformats.org/officeDocument/2006/relationships/image" Target="../media/image42.pn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_WHITE TEMPLATE">
  <a:themeElements>
    <a:clrScheme name="BT - Dark blue - white back, blue, lime, green">
      <a:dk1>
        <a:srgbClr val="353535"/>
      </a:dk1>
      <a:lt1>
        <a:srgbClr val="FFFFFF"/>
      </a:lt1>
      <a:dk2>
        <a:srgbClr val="002050"/>
      </a:dk2>
      <a:lt2>
        <a:srgbClr val="EAEAEA"/>
      </a:lt2>
      <a:accent1>
        <a:srgbClr val="002050"/>
      </a:accent1>
      <a:accent2>
        <a:srgbClr val="0078D7"/>
      </a:accent2>
      <a:accent3>
        <a:srgbClr val="BAD80A"/>
      </a:accent3>
      <a:accent4>
        <a:srgbClr val="107C1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11.potx" id="{F917A2AF-B563-4FA1-80ED-3243B789F36E}" vid="{D700C360-4C7B-4D09-9AFB-E508669B1F38}"/>
    </a:ext>
  </a:extLst>
</a:theme>
</file>

<file path=ppt/theme/theme13.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Services_theme_16x9_073012">
  <a:themeElements>
    <a:clrScheme name="Cool-Blue">
      <a:dk1>
        <a:srgbClr val="000000"/>
      </a:dk1>
      <a:lt1>
        <a:srgbClr val="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BB31E1"/>
      </a:hlink>
      <a:folHlink>
        <a:srgbClr val="AB73D5"/>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3_Web Camps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1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2.xml><?xml version="1.0" encoding="utf-8"?>
<a:theme xmlns:a="http://schemas.openxmlformats.org/drawingml/2006/main" name="5-50173_Microsoft_Ready_Light_Template">
  <a:themeElements>
    <a:clrScheme name="Custom 11">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FFFFFF"/>
      </a:hlink>
      <a:folHlink>
        <a:srgbClr val="FFFFF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23.xml><?xml version="1.0" encoding="utf-8"?>
<a:theme xmlns:a="http://schemas.openxmlformats.org/drawingml/2006/main" name="2_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BLUE_3" id="{AA406B4D-A831-47DE-8EF8-0ACA555B7575}" vid="{79D59F0A-D1BD-437F-AFC1-585E33BB5F67}"/>
    </a:ext>
  </a:extLst>
</a:theme>
</file>

<file path=ppt/theme/theme24.xml><?xml version="1.0" encoding="utf-8"?>
<a:theme xmlns:a="http://schemas.openxmlformats.org/drawingml/2006/main" name="8_Office Theme">
  <a:themeElements>
    <a:clrScheme name="Custom 14">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5.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E Deck">
  <a:themeElements>
    <a:clrScheme name="Custom 8">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5.xml><?xml version="1.0" encoding="utf-8"?>
<a:theme xmlns:a="http://schemas.openxmlformats.org/drawingml/2006/main" name="2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6.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7.xml><?xml version="1.0" encoding="utf-8"?>
<a:theme xmlns:a="http://schemas.openxmlformats.org/drawingml/2006/main" name="3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8.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9.xml><?xml version="1.0" encoding="utf-8"?>
<a:theme xmlns:a="http://schemas.openxmlformats.org/drawingml/2006/main" name="1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15710</TotalTime>
  <Words>12734</Words>
  <Application>Microsoft Office PowerPoint</Application>
  <PresentationFormat>Widescreen</PresentationFormat>
  <Paragraphs>1967</Paragraphs>
  <Slides>143</Slides>
  <Notes>132</Notes>
  <HiddenSlides>57</HiddenSlides>
  <MMClips>1</MMClips>
  <ScaleCrop>false</ScaleCrop>
  <HeadingPairs>
    <vt:vector size="8" baseType="variant">
      <vt:variant>
        <vt:lpstr>Fonts Used</vt:lpstr>
      </vt:variant>
      <vt:variant>
        <vt:i4>20</vt:i4>
      </vt:variant>
      <vt:variant>
        <vt:lpstr>Theme</vt:lpstr>
      </vt:variant>
      <vt:variant>
        <vt:i4>25</vt:i4>
      </vt:variant>
      <vt:variant>
        <vt:lpstr>Embedded OLE Servers</vt:lpstr>
      </vt:variant>
      <vt:variant>
        <vt:i4>1</vt:i4>
      </vt:variant>
      <vt:variant>
        <vt:lpstr>Slide Titles</vt:lpstr>
      </vt:variant>
      <vt:variant>
        <vt:i4>143</vt:i4>
      </vt:variant>
    </vt:vector>
  </HeadingPairs>
  <TitlesOfParts>
    <vt:vector size="189" baseType="lpstr">
      <vt:lpstr>MS PGothic</vt:lpstr>
      <vt:lpstr>MS PGothic</vt:lpstr>
      <vt:lpstr>&amp;quot</vt:lpstr>
      <vt:lpstr>Arial</vt:lpstr>
      <vt:lpstr>Calibri</vt:lpstr>
      <vt:lpstr>Calibri Light</vt:lpstr>
      <vt:lpstr>Consolas</vt:lpstr>
      <vt:lpstr>Courier New</vt:lpstr>
      <vt:lpstr>Helvetica Neue</vt:lpstr>
      <vt:lpstr>Segoe</vt:lpstr>
      <vt:lpstr>Segoe Pro Light</vt:lpstr>
      <vt:lpstr>Segoe Semibold</vt:lpstr>
      <vt:lpstr>Segoe UI</vt:lpstr>
      <vt:lpstr>Segoe UI Black</vt:lpstr>
      <vt:lpstr>Segoe UI Light</vt:lpstr>
      <vt:lpstr>Segoe UI Semibold</vt:lpstr>
      <vt:lpstr>Segoe UI Semilight</vt:lpstr>
      <vt:lpstr>segoe-ui_normal</vt:lpstr>
      <vt:lpstr>segoe-ui_semibold</vt:lpstr>
      <vt:lpstr>Wingdings</vt:lpstr>
      <vt:lpstr>Office Theme</vt:lpstr>
      <vt:lpstr>1_Office Theme</vt:lpstr>
      <vt:lpstr>1_C+E Deck</vt:lpstr>
      <vt:lpstr>5-50113_Microsoft_Ready_Light_Template</vt:lpstr>
      <vt:lpstr>2_3-30810_Convergence_EMEA_Keynote_Template_Dark</vt:lpstr>
      <vt:lpstr>1_5-50113_Microsoft_Ready_Light_Template</vt:lpstr>
      <vt:lpstr>3_3-30810_Convergence_EMEA_Keynote_Template_Dark</vt:lpstr>
      <vt:lpstr>5-30721_Build_2016_Template_Light</vt:lpstr>
      <vt:lpstr>1_Azure_2015</vt:lpstr>
      <vt:lpstr>4_Office Theme</vt:lpstr>
      <vt:lpstr>5_Office Theme</vt:lpstr>
      <vt:lpstr>1_WHITE TEMPLATE</vt:lpstr>
      <vt:lpstr>6_Office Theme</vt:lpstr>
      <vt:lpstr>Services_theme_16x9_073012</vt:lpstr>
      <vt:lpstr>7_Office Theme</vt:lpstr>
      <vt:lpstr>2_Office Theme</vt:lpstr>
      <vt:lpstr>3_Office Theme</vt:lpstr>
      <vt:lpstr>13_Web Camps Template</vt:lpstr>
      <vt:lpstr>1_5-30660_TR21_BO_CT_Template</vt:lpstr>
      <vt:lpstr>1_MS1444_Windows Azure Template 16x9_r08a</vt:lpstr>
      <vt:lpstr>MS1444_Windows Azure Template 16x9_r08a</vt:lpstr>
      <vt:lpstr>5-50173_Microsoft_Ready_Light_Template</vt:lpstr>
      <vt:lpstr>2_COLOR TEMPLATE</vt:lpstr>
      <vt:lpstr>8_Office Theme</vt:lpstr>
      <vt:lpstr>1_3CMG_MarketResearch_template_White_16-9_internalUse</vt:lpstr>
      <vt:lpstr>think-cell Slide</vt:lpstr>
      <vt:lpstr>Hello! Instructor introdu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Exam 70-535 Certification Jump Start      Dave Burnison  Technology Solutions Professional  - Azure App Dev Dave.Burnison@Microsoft.com  </vt:lpstr>
      <vt:lpstr>Azure Compute</vt:lpstr>
      <vt:lpstr>Design Compute Infrastructure (20-25%)</vt:lpstr>
      <vt:lpstr>PowerPoint Presentation</vt:lpstr>
      <vt:lpstr>Azure Doc: Compute</vt:lpstr>
      <vt:lpstr>PowerPoint Presentation</vt:lpstr>
      <vt:lpstr>PowerPoint Presentation</vt:lpstr>
      <vt:lpstr>PowerPoint Presentation</vt:lpstr>
      <vt:lpstr>PowerPoint Presentation</vt:lpstr>
      <vt:lpstr>Compute</vt:lpstr>
      <vt:lpstr>Azure Doc: Compare Compute Options</vt:lpstr>
      <vt:lpstr>Azure Resource Manager (ARM) </vt:lpstr>
      <vt:lpstr>Azure Resource Manager Terminology</vt:lpstr>
      <vt:lpstr>Reusable ARM Templates</vt:lpstr>
      <vt:lpstr>PowerPoint Presentation</vt:lpstr>
      <vt:lpstr>PowerPoint Presentation</vt:lpstr>
      <vt:lpstr>PowerPoint Presentation</vt:lpstr>
      <vt:lpstr>Reusable ARM templates</vt:lpstr>
      <vt:lpstr>PowerPoint Presentation</vt:lpstr>
      <vt:lpstr>PowerPoint Presentation</vt:lpstr>
      <vt:lpstr>PowerPoint Presentation</vt:lpstr>
      <vt:lpstr>Introducing: The                   2017 VM Series…</vt:lpstr>
      <vt:lpstr>Azure VM Sizes</vt:lpstr>
      <vt:lpstr>VM Sizes</vt:lpstr>
      <vt:lpstr>VM Azure Compute Unit (ACU) </vt:lpstr>
      <vt:lpstr>The Fundamental Element of Azure</vt:lpstr>
      <vt:lpstr>The Fundamental Element of Azure</vt:lpstr>
      <vt:lpstr>VM Disks</vt:lpstr>
      <vt:lpstr>PowerPoint Presentation</vt:lpstr>
      <vt:lpstr>VM Recommendations</vt:lpstr>
      <vt:lpstr>High Availability &amp; Disaster Recovery in Azure</vt:lpstr>
      <vt:lpstr>Defining Disaster Recovery within Azure</vt:lpstr>
      <vt:lpstr>Understanding Azure VM Availability Single VM</vt:lpstr>
      <vt:lpstr>Understanding Azure VM Availability Single VM</vt:lpstr>
      <vt:lpstr>Defining High Availability 2 or more Azure VMs</vt:lpstr>
      <vt:lpstr>Availability Sets</vt:lpstr>
      <vt:lpstr>Availability Sets</vt:lpstr>
      <vt:lpstr>Availability Sets: How Do We Do It? Fault and Update Domains</vt:lpstr>
      <vt:lpstr>Virtual Machine Availability Sets Update Domains are honored by host OS updates</vt:lpstr>
      <vt:lpstr>PowerPoint Presentation</vt:lpstr>
      <vt:lpstr>Why VM Scale Sets?</vt:lpstr>
      <vt:lpstr>Autoscale with VM Scale Sets</vt:lpstr>
      <vt:lpstr>VM scale set app deployment models</vt:lpstr>
      <vt:lpstr>Azure Batch </vt:lpstr>
      <vt:lpstr>Create compute-intensive application</vt:lpstr>
      <vt:lpstr>WHAT IS HIGH PERFORMANCE COMPUTING?</vt:lpstr>
      <vt:lpstr>Cloud value for big compute</vt:lpstr>
      <vt:lpstr>Azure Batch Concepts</vt:lpstr>
      <vt:lpstr>PowerPoint Presentation</vt:lpstr>
      <vt:lpstr>PowerPoint Presentation</vt:lpstr>
      <vt:lpstr>Design microservices-based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ervices 101 </vt:lpstr>
      <vt:lpstr>PowerPoint Presentation</vt:lpstr>
      <vt:lpstr>PowerPoint Presentation</vt:lpstr>
      <vt:lpstr>PowerPoint Presentation</vt:lpstr>
      <vt:lpstr>Microsoft Azure Service Fabric A platform for reliable, hyperscale, microservice-based applications</vt:lpstr>
      <vt:lpstr>Service Fabric Microservices</vt:lpstr>
      <vt:lpstr>Azure Service Fabric</vt:lpstr>
      <vt:lpstr>Service type</vt:lpstr>
      <vt:lpstr>Application type</vt:lpstr>
      <vt:lpstr>Design web applications</vt:lpstr>
      <vt:lpstr>PowerPoint Presentation</vt:lpstr>
      <vt:lpstr>Azure App Service</vt:lpstr>
      <vt:lpstr>Basic</vt:lpstr>
      <vt:lpstr>Improved Scalability</vt:lpstr>
      <vt:lpstr>Multi-region</vt:lpstr>
      <vt:lpstr>Azure API Management</vt:lpstr>
      <vt:lpstr>Design solutions for serverless computing</vt:lpstr>
      <vt:lpstr>PowerPoint Presentation</vt:lpstr>
      <vt:lpstr>What is “serverless” and proposed Benefi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gration</vt:lpstr>
      <vt:lpstr>Azure Functions</vt:lpstr>
      <vt:lpstr>Azure Logic Apps</vt:lpstr>
      <vt:lpstr>PowerPoint Presentation</vt:lpstr>
      <vt:lpstr>Summarizing the options</vt:lpstr>
      <vt:lpstr>Questions?</vt:lpstr>
      <vt:lpstr>PowerPoint Presentation</vt:lpstr>
      <vt:lpstr>Appendix</vt:lpstr>
      <vt:lpstr>VMs – Supported Operating Systems</vt:lpstr>
      <vt:lpstr>VM Scaling</vt:lpstr>
      <vt:lpstr>Virtual Machine Scale Sets</vt:lpstr>
      <vt:lpstr>VM Disks</vt:lpstr>
      <vt:lpstr>VM Disks</vt:lpstr>
      <vt:lpstr>Exam Tip - Increase size of existing Disks</vt:lpstr>
      <vt:lpstr>ARM Templates</vt:lpstr>
      <vt:lpstr> Azure Resource Manager (ARM)</vt:lpstr>
      <vt:lpstr>Azure Resource Manager </vt:lpstr>
      <vt:lpstr>What is ARM?</vt:lpstr>
      <vt:lpstr>ARM Templates - Structure</vt:lpstr>
      <vt:lpstr>Template Deployment Mode</vt:lpstr>
      <vt:lpstr>PowerPoint Presentation</vt:lpstr>
      <vt:lpstr>ARM Templates - Parameters</vt:lpstr>
      <vt:lpstr>Re-use ARM Templates</vt:lpstr>
      <vt:lpstr>ARM Templates –Variables</vt:lpstr>
      <vt:lpstr>ARM Templates – Functions and Expressions</vt:lpstr>
      <vt:lpstr>ARM Templates - Dependencies</vt:lpstr>
      <vt:lpstr>ARM Templates Advanced Topics</vt:lpstr>
      <vt:lpstr>Deploy Templates</vt:lpstr>
      <vt:lpstr>Deploy Templates – Portal, Custom Template </vt:lpstr>
      <vt:lpstr>Deploy Templates – Portal, Quickstart </vt:lpstr>
      <vt:lpstr>Deploy Templates – Portal, from Account </vt:lpstr>
      <vt:lpstr>ARM Role Based Access Control</vt:lpstr>
      <vt:lpstr>Deploy Templates – Portal</vt:lpstr>
      <vt:lpstr>Deploy Templates - Powershell</vt:lpstr>
      <vt:lpstr>Deploy Templates - PowerShell</vt:lpstr>
      <vt:lpstr>Deploy resources with Resource Manager templates and Azure PowerShell</vt:lpstr>
      <vt:lpstr>Regional Availability</vt:lpstr>
      <vt:lpstr> Regions</vt:lpstr>
      <vt:lpstr>Regional Availability - Regions</vt:lpstr>
      <vt:lpstr>Regional Availability - Design</vt:lpstr>
      <vt:lpstr>Regional Availability - Design</vt:lpstr>
      <vt:lpstr>High Availabilit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ke Richter</dc:creator>
  <cp:lastModifiedBy>Mark Ingram</cp:lastModifiedBy>
  <cp:revision>219</cp:revision>
  <dcterms:created xsi:type="dcterms:W3CDTF">2017-06-01T19:54:22Z</dcterms:created>
  <dcterms:modified xsi:type="dcterms:W3CDTF">2018-06-04T16:14: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ashar@microsoft.com</vt:lpwstr>
  </property>
  <property fmtid="{D5CDD505-2E9C-101B-9397-08002B2CF9AE}" pid="6" name="MSIP_Label_f42aa342-8706-4288-bd11-ebb85995028c_SetDate">
    <vt:lpwstr>2017-09-27T14:18:41.4161639-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